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2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4" r:id="rId4"/>
    <p:sldMasterId id="2147483718" r:id="rId5"/>
  </p:sldMasterIdLst>
  <p:notesMasterIdLst>
    <p:notesMasterId r:id="rId23"/>
  </p:notesMasterIdLst>
  <p:handoutMasterIdLst>
    <p:handoutMasterId r:id="rId24"/>
  </p:handoutMasterIdLst>
  <p:sldIdLst>
    <p:sldId id="2147483632" r:id="rId6"/>
    <p:sldId id="1712" r:id="rId7"/>
    <p:sldId id="2147307785" r:id="rId8"/>
    <p:sldId id="2147480525" r:id="rId9"/>
    <p:sldId id="2147483639" r:id="rId10"/>
    <p:sldId id="1692" r:id="rId11"/>
    <p:sldId id="267" r:id="rId12"/>
    <p:sldId id="2147483642" r:id="rId13"/>
    <p:sldId id="2147483643" r:id="rId14"/>
    <p:sldId id="2147483645" r:id="rId15"/>
    <p:sldId id="2147483644" r:id="rId16"/>
    <p:sldId id="269" r:id="rId17"/>
    <p:sldId id="2147483646" r:id="rId18"/>
    <p:sldId id="2147483647" r:id="rId19"/>
    <p:sldId id="256" r:id="rId20"/>
    <p:sldId id="257" r:id="rId21"/>
    <p:sldId id="258" r:id="rId22"/>
  </p:sldIdLst>
  <p:sldSz cx="12188825" cy="6858000"/>
  <p:notesSz cx="6858000" cy="9313863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EFBBF88-A4E2-4B5C-92A0-612EF7209A50}">
          <p14:sldIdLst>
            <p14:sldId id="2147483632"/>
            <p14:sldId id="1712"/>
            <p14:sldId id="2147307785"/>
            <p14:sldId id="2147480525"/>
            <p14:sldId id="2147483639"/>
            <p14:sldId id="1692"/>
            <p14:sldId id="267"/>
            <p14:sldId id="2147483642"/>
            <p14:sldId id="2147483643"/>
            <p14:sldId id="2147483645"/>
            <p14:sldId id="2147483644"/>
            <p14:sldId id="269"/>
            <p14:sldId id="2147483646"/>
            <p14:sldId id="2147483647"/>
            <p14:sldId id="256"/>
            <p14:sldId id="257"/>
            <p14:sldId id="258"/>
          </p14:sldIdLst>
        </p14:section>
      </p14:sectionLst>
    </p:ex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5" pos="279">
          <p15:clr>
            <a:srgbClr val="A4A3A4"/>
          </p15:clr>
        </p15:guide>
        <p15:guide id="6" pos="7406">
          <p15:clr>
            <a:srgbClr val="A4A3A4"/>
          </p15:clr>
        </p15:guide>
        <p15:guide id="7" orient="horz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293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FE2"/>
    <a:srgbClr val="000484"/>
    <a:srgbClr val="CC99FF"/>
    <a:srgbClr val="F4DDBA"/>
    <a:srgbClr val="FFFFFF"/>
    <a:srgbClr val="0672BD"/>
    <a:srgbClr val="00004E"/>
    <a:srgbClr val="66BFFF"/>
    <a:srgbClr val="CCEAFF"/>
    <a:srgbClr val="E6F4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EC57A3B-3583-41A4-B0CD-00842E3EC5CF}" v="15" dt="2025-03-27T09:41:42.55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3" d="100"/>
          <a:sy n="63" d="100"/>
        </p:scale>
        <p:origin x="780" y="272"/>
      </p:cViewPr>
      <p:guideLst>
        <p:guide pos="3840"/>
        <p:guide pos="279"/>
        <p:guide pos="7406"/>
        <p:guide orient="horz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  <p:guide orient="horz" pos="293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aczyńska, Katarzyna" userId="ae208263-ee3b-4618-9cf3-261dd1e8808c" providerId="ADAL" clId="{CEC57A3B-3583-41A4-B0CD-00842E3EC5CF}"/>
    <pc:docChg chg="custSel addSld delSld modSld delMainMaster modSection">
      <pc:chgData name="Kaczyńska, Katarzyna" userId="ae208263-ee3b-4618-9cf3-261dd1e8808c" providerId="ADAL" clId="{CEC57A3B-3583-41A4-B0CD-00842E3EC5CF}" dt="2025-03-27T09:41:42.558" v="53"/>
      <pc:docMkLst>
        <pc:docMk/>
      </pc:docMkLst>
      <pc:sldChg chg="addSp delSp modSp new mod">
        <pc:chgData name="Kaczyńska, Katarzyna" userId="ae208263-ee3b-4618-9cf3-261dd1e8808c" providerId="ADAL" clId="{CEC57A3B-3583-41A4-B0CD-00842E3EC5CF}" dt="2025-03-27T09:41:14.952" v="51"/>
        <pc:sldMkLst>
          <pc:docMk/>
          <pc:sldMk cId="2569127100" sldId="256"/>
        </pc:sldMkLst>
        <pc:spChg chg="del">
          <ac:chgData name="Kaczyńska, Katarzyna" userId="ae208263-ee3b-4618-9cf3-261dd1e8808c" providerId="ADAL" clId="{CEC57A3B-3583-41A4-B0CD-00842E3EC5CF}" dt="2025-03-27T09:40:35.737" v="44" actId="478"/>
          <ac:spMkLst>
            <pc:docMk/>
            <pc:sldMk cId="2569127100" sldId="256"/>
            <ac:spMk id="2" creationId="{81F93716-5589-A853-B1F7-3C166F84C36C}"/>
          </ac:spMkLst>
        </pc:spChg>
        <pc:spChg chg="del">
          <ac:chgData name="Kaczyńska, Katarzyna" userId="ae208263-ee3b-4618-9cf3-261dd1e8808c" providerId="ADAL" clId="{CEC57A3B-3583-41A4-B0CD-00842E3EC5CF}" dt="2025-03-27T09:40:35.737" v="44" actId="478"/>
          <ac:spMkLst>
            <pc:docMk/>
            <pc:sldMk cId="2569127100" sldId="256"/>
            <ac:spMk id="3" creationId="{B3FC20B5-C754-815F-57CE-A858D86A302E}"/>
          </ac:spMkLst>
        </pc:spChg>
        <pc:spChg chg="del">
          <ac:chgData name="Kaczyńska, Katarzyna" userId="ae208263-ee3b-4618-9cf3-261dd1e8808c" providerId="ADAL" clId="{CEC57A3B-3583-41A4-B0CD-00842E3EC5CF}" dt="2025-03-27T09:40:35.737" v="44" actId="478"/>
          <ac:spMkLst>
            <pc:docMk/>
            <pc:sldMk cId="2569127100" sldId="256"/>
            <ac:spMk id="4" creationId="{12DC4E2F-C667-35C7-0F67-37C33EF8E187}"/>
          </ac:spMkLst>
        </pc:spChg>
        <pc:spChg chg="del">
          <ac:chgData name="Kaczyńska, Katarzyna" userId="ae208263-ee3b-4618-9cf3-261dd1e8808c" providerId="ADAL" clId="{CEC57A3B-3583-41A4-B0CD-00842E3EC5CF}" dt="2025-03-27T09:40:35.737" v="44" actId="478"/>
          <ac:spMkLst>
            <pc:docMk/>
            <pc:sldMk cId="2569127100" sldId="256"/>
            <ac:spMk id="5" creationId="{AC212308-DE93-B597-7E59-0877D1D6B239}"/>
          </ac:spMkLst>
        </pc:spChg>
        <pc:spChg chg="del">
          <ac:chgData name="Kaczyńska, Katarzyna" userId="ae208263-ee3b-4618-9cf3-261dd1e8808c" providerId="ADAL" clId="{CEC57A3B-3583-41A4-B0CD-00842E3EC5CF}" dt="2025-03-27T09:40:35.737" v="44" actId="478"/>
          <ac:spMkLst>
            <pc:docMk/>
            <pc:sldMk cId="2569127100" sldId="256"/>
            <ac:spMk id="6" creationId="{5F0DA7AD-B4B9-D154-8BCC-D46D92848BF2}"/>
          </ac:spMkLst>
        </pc:spChg>
        <pc:spChg chg="del">
          <ac:chgData name="Kaczyńska, Katarzyna" userId="ae208263-ee3b-4618-9cf3-261dd1e8808c" providerId="ADAL" clId="{CEC57A3B-3583-41A4-B0CD-00842E3EC5CF}" dt="2025-03-27T09:40:35.737" v="44" actId="478"/>
          <ac:spMkLst>
            <pc:docMk/>
            <pc:sldMk cId="2569127100" sldId="256"/>
            <ac:spMk id="7" creationId="{CB3834AD-382F-12BC-6A61-B8F036A7D36E}"/>
          </ac:spMkLst>
        </pc:spChg>
        <pc:spChg chg="del">
          <ac:chgData name="Kaczyńska, Katarzyna" userId="ae208263-ee3b-4618-9cf3-261dd1e8808c" providerId="ADAL" clId="{CEC57A3B-3583-41A4-B0CD-00842E3EC5CF}" dt="2025-03-27T09:40:35.737" v="44" actId="478"/>
          <ac:spMkLst>
            <pc:docMk/>
            <pc:sldMk cId="2569127100" sldId="256"/>
            <ac:spMk id="8" creationId="{4FBDD8B0-A42A-D7EB-B5E3-32963D9B8F01}"/>
          </ac:spMkLst>
        </pc:spChg>
        <pc:picChg chg="add mod">
          <ac:chgData name="Kaczyńska, Katarzyna" userId="ae208263-ee3b-4618-9cf3-261dd1e8808c" providerId="ADAL" clId="{CEC57A3B-3583-41A4-B0CD-00842E3EC5CF}" dt="2025-03-27T09:41:14.952" v="51"/>
          <ac:picMkLst>
            <pc:docMk/>
            <pc:sldMk cId="2569127100" sldId="256"/>
            <ac:picMk id="9" creationId="{5D533CA3-ACC1-7F74-B056-67084176DFA4}"/>
          </ac:picMkLst>
        </pc:picChg>
      </pc:sldChg>
      <pc:sldChg chg="del">
        <pc:chgData name="Kaczyńska, Katarzyna" userId="ae208263-ee3b-4618-9cf3-261dd1e8808c" providerId="ADAL" clId="{CEC57A3B-3583-41A4-B0CD-00842E3EC5CF}" dt="2025-03-27T09:35:30.706" v="10" actId="47"/>
        <pc:sldMkLst>
          <pc:docMk/>
          <pc:sldMk cId="2885707876" sldId="256"/>
        </pc:sldMkLst>
      </pc:sldChg>
      <pc:sldChg chg="add del">
        <pc:chgData name="Kaczyńska, Katarzyna" userId="ae208263-ee3b-4618-9cf3-261dd1e8808c" providerId="ADAL" clId="{CEC57A3B-3583-41A4-B0CD-00842E3EC5CF}" dt="2025-03-27T09:38:56.790" v="22" actId="47"/>
        <pc:sldMkLst>
          <pc:docMk/>
          <pc:sldMk cId="0" sldId="257"/>
        </pc:sldMkLst>
      </pc:sldChg>
      <pc:sldChg chg="addSp modSp">
        <pc:chgData name="Kaczyńska, Katarzyna" userId="ae208263-ee3b-4618-9cf3-261dd1e8808c" providerId="ADAL" clId="{CEC57A3B-3583-41A4-B0CD-00842E3EC5CF}" dt="2025-03-27T09:41:28.004" v="52"/>
        <pc:sldMkLst>
          <pc:docMk/>
          <pc:sldMk cId="649874713" sldId="257"/>
        </pc:sldMkLst>
        <pc:picChg chg="add mod">
          <ac:chgData name="Kaczyńska, Katarzyna" userId="ae208263-ee3b-4618-9cf3-261dd1e8808c" providerId="ADAL" clId="{CEC57A3B-3583-41A4-B0CD-00842E3EC5CF}" dt="2025-03-27T09:41:28.004" v="52"/>
          <ac:picMkLst>
            <pc:docMk/>
            <pc:sldMk cId="649874713" sldId="257"/>
            <ac:picMk id="2" creationId="{3EAA8B17-EB7A-253B-EE69-25682EC31D4E}"/>
          </ac:picMkLst>
        </pc:picChg>
      </pc:sldChg>
      <pc:sldChg chg="new del">
        <pc:chgData name="Kaczyńska, Katarzyna" userId="ae208263-ee3b-4618-9cf3-261dd1e8808c" providerId="ADAL" clId="{CEC57A3B-3583-41A4-B0CD-00842E3EC5CF}" dt="2025-03-27T09:40:37.990" v="45" actId="47"/>
        <pc:sldMkLst>
          <pc:docMk/>
          <pc:sldMk cId="3731079428" sldId="257"/>
        </pc:sldMkLst>
      </pc:sldChg>
      <pc:sldChg chg="add del">
        <pc:chgData name="Kaczyńska, Katarzyna" userId="ae208263-ee3b-4618-9cf3-261dd1e8808c" providerId="ADAL" clId="{CEC57A3B-3583-41A4-B0CD-00842E3EC5CF}" dt="2025-03-27T09:38:57.676" v="23" actId="47"/>
        <pc:sldMkLst>
          <pc:docMk/>
          <pc:sldMk cId="0" sldId="258"/>
        </pc:sldMkLst>
      </pc:sldChg>
      <pc:sldChg chg="new del">
        <pc:chgData name="Kaczyńska, Katarzyna" userId="ae208263-ee3b-4618-9cf3-261dd1e8808c" providerId="ADAL" clId="{CEC57A3B-3583-41A4-B0CD-00842E3EC5CF}" dt="2025-03-27T09:40:38.905" v="46" actId="47"/>
        <pc:sldMkLst>
          <pc:docMk/>
          <pc:sldMk cId="1248418164" sldId="258"/>
        </pc:sldMkLst>
      </pc:sldChg>
      <pc:sldChg chg="addSp modSp">
        <pc:chgData name="Kaczyńska, Katarzyna" userId="ae208263-ee3b-4618-9cf3-261dd1e8808c" providerId="ADAL" clId="{CEC57A3B-3583-41A4-B0CD-00842E3EC5CF}" dt="2025-03-27T09:41:42.558" v="53"/>
        <pc:sldMkLst>
          <pc:docMk/>
          <pc:sldMk cId="1995515791" sldId="258"/>
        </pc:sldMkLst>
        <pc:picChg chg="add mod">
          <ac:chgData name="Kaczyńska, Katarzyna" userId="ae208263-ee3b-4618-9cf3-261dd1e8808c" providerId="ADAL" clId="{CEC57A3B-3583-41A4-B0CD-00842E3EC5CF}" dt="2025-03-27T09:41:42.558" v="53"/>
          <ac:picMkLst>
            <pc:docMk/>
            <pc:sldMk cId="1995515791" sldId="258"/>
            <ac:picMk id="2" creationId="{7B3E2822-5C53-8861-88C0-C698378E7C6E}"/>
          </ac:picMkLst>
        </pc:picChg>
      </pc:sldChg>
      <pc:sldChg chg="add del">
        <pc:chgData name="Kaczyńska, Katarzyna" userId="ae208263-ee3b-4618-9cf3-261dd1e8808c" providerId="ADAL" clId="{CEC57A3B-3583-41A4-B0CD-00842E3EC5CF}" dt="2025-03-27T09:38:59.885" v="24" actId="47"/>
        <pc:sldMkLst>
          <pc:docMk/>
          <pc:sldMk cId="0" sldId="259"/>
        </pc:sldMkLst>
      </pc:sldChg>
      <pc:sldChg chg="add del">
        <pc:chgData name="Kaczyńska, Katarzyna" userId="ae208263-ee3b-4618-9cf3-261dd1e8808c" providerId="ADAL" clId="{CEC57A3B-3583-41A4-B0CD-00842E3EC5CF}" dt="2025-03-27T09:39:00.820" v="25" actId="47"/>
        <pc:sldMkLst>
          <pc:docMk/>
          <pc:sldMk cId="0" sldId="260"/>
        </pc:sldMkLst>
      </pc:sldChg>
      <pc:sldChg chg="add del">
        <pc:chgData name="Kaczyńska, Katarzyna" userId="ae208263-ee3b-4618-9cf3-261dd1e8808c" providerId="ADAL" clId="{CEC57A3B-3583-41A4-B0CD-00842E3EC5CF}" dt="2025-03-27T09:39:01.682" v="26" actId="47"/>
        <pc:sldMkLst>
          <pc:docMk/>
          <pc:sldMk cId="0" sldId="261"/>
        </pc:sldMkLst>
      </pc:sldChg>
      <pc:sldChg chg="del">
        <pc:chgData name="Kaczyńska, Katarzyna" userId="ae208263-ee3b-4618-9cf3-261dd1e8808c" providerId="ADAL" clId="{CEC57A3B-3583-41A4-B0CD-00842E3EC5CF}" dt="2025-03-27T09:35:29.136" v="7" actId="47"/>
        <pc:sldMkLst>
          <pc:docMk/>
          <pc:sldMk cId="2474588536" sldId="262"/>
        </pc:sldMkLst>
      </pc:sldChg>
      <pc:sldChg chg="del">
        <pc:chgData name="Kaczyńska, Katarzyna" userId="ae208263-ee3b-4618-9cf3-261dd1e8808c" providerId="ADAL" clId="{CEC57A3B-3583-41A4-B0CD-00842E3EC5CF}" dt="2025-03-27T09:35:29.445" v="8" actId="47"/>
        <pc:sldMkLst>
          <pc:docMk/>
          <pc:sldMk cId="3288831172" sldId="263"/>
        </pc:sldMkLst>
      </pc:sldChg>
      <pc:sldChg chg="del">
        <pc:chgData name="Kaczyńska, Katarzyna" userId="ae208263-ee3b-4618-9cf3-261dd1e8808c" providerId="ADAL" clId="{CEC57A3B-3583-41A4-B0CD-00842E3EC5CF}" dt="2025-03-27T09:35:30.152" v="9" actId="47"/>
        <pc:sldMkLst>
          <pc:docMk/>
          <pc:sldMk cId="3635923712" sldId="264"/>
        </pc:sldMkLst>
      </pc:sldChg>
      <pc:sldChg chg="del">
        <pc:chgData name="Kaczyńska, Katarzyna" userId="ae208263-ee3b-4618-9cf3-261dd1e8808c" providerId="ADAL" clId="{CEC57A3B-3583-41A4-B0CD-00842E3EC5CF}" dt="2025-03-27T09:35:28.902" v="6" actId="47"/>
        <pc:sldMkLst>
          <pc:docMk/>
          <pc:sldMk cId="2408689840" sldId="265"/>
        </pc:sldMkLst>
      </pc:sldChg>
      <pc:sldChg chg="del">
        <pc:chgData name="Kaczyńska, Katarzyna" userId="ae208263-ee3b-4618-9cf3-261dd1e8808c" providerId="ADAL" clId="{CEC57A3B-3583-41A4-B0CD-00842E3EC5CF}" dt="2025-03-27T09:35:31.350" v="11" actId="47"/>
        <pc:sldMkLst>
          <pc:docMk/>
          <pc:sldMk cId="3116237345" sldId="266"/>
        </pc:sldMkLst>
      </pc:sldChg>
      <pc:sldChg chg="del">
        <pc:chgData name="Kaczyńska, Katarzyna" userId="ae208263-ee3b-4618-9cf3-261dd1e8808c" providerId="ADAL" clId="{CEC57A3B-3583-41A4-B0CD-00842E3EC5CF}" dt="2025-03-27T09:35:32.839" v="12" actId="47"/>
        <pc:sldMkLst>
          <pc:docMk/>
          <pc:sldMk cId="2275693852" sldId="268"/>
        </pc:sldMkLst>
      </pc:sldChg>
      <pc:sldChg chg="modSp">
        <pc:chgData name="Kaczyńska, Katarzyna" userId="ae208263-ee3b-4618-9cf3-261dd1e8808c" providerId="ADAL" clId="{CEC57A3B-3583-41A4-B0CD-00842E3EC5CF}" dt="2025-03-27T09:37:59.406" v="19"/>
        <pc:sldMkLst>
          <pc:docMk/>
          <pc:sldMk cId="1164621091" sldId="269"/>
        </pc:sldMkLst>
        <pc:picChg chg="mod">
          <ac:chgData name="Kaczyńska, Katarzyna" userId="ae208263-ee3b-4618-9cf3-261dd1e8808c" providerId="ADAL" clId="{CEC57A3B-3583-41A4-B0CD-00842E3EC5CF}" dt="2025-03-27T09:37:59.406" v="19"/>
          <ac:picMkLst>
            <pc:docMk/>
            <pc:sldMk cId="1164621091" sldId="269"/>
            <ac:picMk id="4" creationId="{DB40B1AB-2D61-6363-BC91-D09281340266}"/>
          </ac:picMkLst>
        </pc:picChg>
      </pc:sldChg>
      <pc:sldChg chg="del">
        <pc:chgData name="Kaczyńska, Katarzyna" userId="ae208263-ee3b-4618-9cf3-261dd1e8808c" providerId="ADAL" clId="{CEC57A3B-3583-41A4-B0CD-00842E3EC5CF}" dt="2025-03-27T09:33:40.021" v="3" actId="47"/>
        <pc:sldMkLst>
          <pc:docMk/>
          <pc:sldMk cId="0" sldId="2147483646"/>
        </pc:sldMkLst>
      </pc:sldChg>
      <pc:sldChg chg="addSp delSp modSp new mod">
        <pc:chgData name="Kaczyńska, Katarzyna" userId="ae208263-ee3b-4618-9cf3-261dd1e8808c" providerId="ADAL" clId="{CEC57A3B-3583-41A4-B0CD-00842E3EC5CF}" dt="2025-03-27T09:40:48.287" v="48" actId="478"/>
        <pc:sldMkLst>
          <pc:docMk/>
          <pc:sldMk cId="4015670025" sldId="2147483646"/>
        </pc:sldMkLst>
        <pc:spChg chg="del">
          <ac:chgData name="Kaczyńska, Katarzyna" userId="ae208263-ee3b-4618-9cf3-261dd1e8808c" providerId="ADAL" clId="{CEC57A3B-3583-41A4-B0CD-00842E3EC5CF}" dt="2025-03-27T09:40:17.249" v="37" actId="478"/>
          <ac:spMkLst>
            <pc:docMk/>
            <pc:sldMk cId="4015670025" sldId="2147483646"/>
            <ac:spMk id="2" creationId="{5341A15D-AB67-AE48-0CB0-9B55205BFC32}"/>
          </ac:spMkLst>
        </pc:spChg>
        <pc:spChg chg="del">
          <ac:chgData name="Kaczyńska, Katarzyna" userId="ae208263-ee3b-4618-9cf3-261dd1e8808c" providerId="ADAL" clId="{CEC57A3B-3583-41A4-B0CD-00842E3EC5CF}" dt="2025-03-27T09:40:18.529" v="38" actId="478"/>
          <ac:spMkLst>
            <pc:docMk/>
            <pc:sldMk cId="4015670025" sldId="2147483646"/>
            <ac:spMk id="3" creationId="{6C62A316-CA60-1BF4-C386-DAD9240D7E5C}"/>
          </ac:spMkLst>
        </pc:spChg>
        <pc:spChg chg="del">
          <ac:chgData name="Kaczyńska, Katarzyna" userId="ae208263-ee3b-4618-9cf3-261dd1e8808c" providerId="ADAL" clId="{CEC57A3B-3583-41A4-B0CD-00842E3EC5CF}" dt="2025-03-27T09:40:14.533" v="34" actId="478"/>
          <ac:spMkLst>
            <pc:docMk/>
            <pc:sldMk cId="4015670025" sldId="2147483646"/>
            <ac:spMk id="4" creationId="{12EAAE90-03C0-BD80-2044-BA0C5644CDB7}"/>
          </ac:spMkLst>
        </pc:spChg>
        <pc:spChg chg="del">
          <ac:chgData name="Kaczyńska, Katarzyna" userId="ae208263-ee3b-4618-9cf3-261dd1e8808c" providerId="ADAL" clId="{CEC57A3B-3583-41A4-B0CD-00842E3EC5CF}" dt="2025-03-27T09:40:15.439" v="35" actId="478"/>
          <ac:spMkLst>
            <pc:docMk/>
            <pc:sldMk cId="4015670025" sldId="2147483646"/>
            <ac:spMk id="5" creationId="{B681635B-4B69-7CDB-5F72-CE3678D068F7}"/>
          </ac:spMkLst>
        </pc:spChg>
        <pc:spChg chg="del">
          <ac:chgData name="Kaczyńska, Katarzyna" userId="ae208263-ee3b-4618-9cf3-261dd1e8808c" providerId="ADAL" clId="{CEC57A3B-3583-41A4-B0CD-00842E3EC5CF}" dt="2025-03-27T09:40:16.223" v="36" actId="478"/>
          <ac:spMkLst>
            <pc:docMk/>
            <pc:sldMk cId="4015670025" sldId="2147483646"/>
            <ac:spMk id="6" creationId="{E0F0866D-766F-06E1-3081-48F767E54F6F}"/>
          </ac:spMkLst>
        </pc:spChg>
        <pc:spChg chg="del">
          <ac:chgData name="Kaczyńska, Katarzyna" userId="ae208263-ee3b-4618-9cf3-261dd1e8808c" providerId="ADAL" clId="{CEC57A3B-3583-41A4-B0CD-00842E3EC5CF}" dt="2025-03-27T09:40:48.287" v="48" actId="478"/>
          <ac:spMkLst>
            <pc:docMk/>
            <pc:sldMk cId="4015670025" sldId="2147483646"/>
            <ac:spMk id="7" creationId="{279A143C-1DA7-56F2-AD96-E42F728CCBA5}"/>
          </ac:spMkLst>
        </pc:spChg>
        <pc:spChg chg="del">
          <ac:chgData name="Kaczyńska, Katarzyna" userId="ae208263-ee3b-4618-9cf3-261dd1e8808c" providerId="ADAL" clId="{CEC57A3B-3583-41A4-B0CD-00842E3EC5CF}" dt="2025-03-27T09:40:46.954" v="47" actId="478"/>
          <ac:spMkLst>
            <pc:docMk/>
            <pc:sldMk cId="4015670025" sldId="2147483646"/>
            <ac:spMk id="8" creationId="{611FCA19-42B6-C4F5-C23E-700BA33CA37F}"/>
          </ac:spMkLst>
        </pc:spChg>
        <pc:picChg chg="add mod">
          <ac:chgData name="Kaczyńska, Katarzyna" userId="ae208263-ee3b-4618-9cf3-261dd1e8808c" providerId="ADAL" clId="{CEC57A3B-3583-41A4-B0CD-00842E3EC5CF}" dt="2025-03-27T09:39:40.580" v="32"/>
          <ac:picMkLst>
            <pc:docMk/>
            <pc:sldMk cId="4015670025" sldId="2147483646"/>
            <ac:picMk id="9" creationId="{1871840D-6B75-0F49-C689-C7C99FEAE632}"/>
          </ac:picMkLst>
        </pc:picChg>
      </pc:sldChg>
      <pc:sldChg chg="del">
        <pc:chgData name="Kaczyńska, Katarzyna" userId="ae208263-ee3b-4618-9cf3-261dd1e8808c" providerId="ADAL" clId="{CEC57A3B-3583-41A4-B0CD-00842E3EC5CF}" dt="2025-03-27T09:35:28.594" v="5" actId="47"/>
        <pc:sldMkLst>
          <pc:docMk/>
          <pc:sldMk cId="1038778724" sldId="2147483647"/>
        </pc:sldMkLst>
      </pc:sldChg>
      <pc:sldChg chg="addSp delSp modSp new mod">
        <pc:chgData name="Kaczyńska, Katarzyna" userId="ae208263-ee3b-4618-9cf3-261dd1e8808c" providerId="ADAL" clId="{CEC57A3B-3583-41A4-B0CD-00842E3EC5CF}" dt="2025-03-27T09:40:52.448" v="50" actId="478"/>
        <pc:sldMkLst>
          <pc:docMk/>
          <pc:sldMk cId="1763167791" sldId="2147483647"/>
        </pc:sldMkLst>
        <pc:spChg chg="del">
          <ac:chgData name="Kaczyńska, Katarzyna" userId="ae208263-ee3b-4618-9cf3-261dd1e8808c" providerId="ADAL" clId="{CEC57A3B-3583-41A4-B0CD-00842E3EC5CF}" dt="2025-03-27T09:40:28.262" v="42" actId="478"/>
          <ac:spMkLst>
            <pc:docMk/>
            <pc:sldMk cId="1763167791" sldId="2147483647"/>
            <ac:spMk id="2" creationId="{595EE3E4-2213-AECE-684D-B5FB24616BF2}"/>
          </ac:spMkLst>
        </pc:spChg>
        <pc:spChg chg="del">
          <ac:chgData name="Kaczyńska, Katarzyna" userId="ae208263-ee3b-4618-9cf3-261dd1e8808c" providerId="ADAL" clId="{CEC57A3B-3583-41A4-B0CD-00842E3EC5CF}" dt="2025-03-27T09:40:30.086" v="43" actId="478"/>
          <ac:spMkLst>
            <pc:docMk/>
            <pc:sldMk cId="1763167791" sldId="2147483647"/>
            <ac:spMk id="3" creationId="{3A0C35C5-00AC-AA97-C0D2-DD19F33E6EF2}"/>
          </ac:spMkLst>
        </pc:spChg>
        <pc:spChg chg="del">
          <ac:chgData name="Kaczyńska, Katarzyna" userId="ae208263-ee3b-4618-9cf3-261dd1e8808c" providerId="ADAL" clId="{CEC57A3B-3583-41A4-B0CD-00842E3EC5CF}" dt="2025-03-27T09:40:25.201" v="40" actId="478"/>
          <ac:spMkLst>
            <pc:docMk/>
            <pc:sldMk cId="1763167791" sldId="2147483647"/>
            <ac:spMk id="4" creationId="{74F0A751-A79B-F5EE-9133-2B10847AA40C}"/>
          </ac:spMkLst>
        </pc:spChg>
        <pc:spChg chg="del">
          <ac:chgData name="Kaczyńska, Katarzyna" userId="ae208263-ee3b-4618-9cf3-261dd1e8808c" providerId="ADAL" clId="{CEC57A3B-3583-41A4-B0CD-00842E3EC5CF}" dt="2025-03-27T09:40:23.999" v="39" actId="478"/>
          <ac:spMkLst>
            <pc:docMk/>
            <pc:sldMk cId="1763167791" sldId="2147483647"/>
            <ac:spMk id="5" creationId="{E14FC066-30AB-EE3D-6246-473FDBBBDBEE}"/>
          </ac:spMkLst>
        </pc:spChg>
        <pc:spChg chg="del">
          <ac:chgData name="Kaczyńska, Katarzyna" userId="ae208263-ee3b-4618-9cf3-261dd1e8808c" providerId="ADAL" clId="{CEC57A3B-3583-41A4-B0CD-00842E3EC5CF}" dt="2025-03-27T09:40:26.210" v="41" actId="478"/>
          <ac:spMkLst>
            <pc:docMk/>
            <pc:sldMk cId="1763167791" sldId="2147483647"/>
            <ac:spMk id="6" creationId="{BA61FBAF-FAF0-8101-C9B9-DCA3376C48D5}"/>
          </ac:spMkLst>
        </pc:spChg>
        <pc:spChg chg="del">
          <ac:chgData name="Kaczyńska, Katarzyna" userId="ae208263-ee3b-4618-9cf3-261dd1e8808c" providerId="ADAL" clId="{CEC57A3B-3583-41A4-B0CD-00842E3EC5CF}" dt="2025-03-27T09:40:52.448" v="50" actId="478"/>
          <ac:spMkLst>
            <pc:docMk/>
            <pc:sldMk cId="1763167791" sldId="2147483647"/>
            <ac:spMk id="7" creationId="{C91C0F9D-12AE-38F0-6B72-11A52D802357}"/>
          </ac:spMkLst>
        </pc:spChg>
        <pc:spChg chg="del">
          <ac:chgData name="Kaczyńska, Katarzyna" userId="ae208263-ee3b-4618-9cf3-261dd1e8808c" providerId="ADAL" clId="{CEC57A3B-3583-41A4-B0CD-00842E3EC5CF}" dt="2025-03-27T09:40:51.272" v="49" actId="478"/>
          <ac:spMkLst>
            <pc:docMk/>
            <pc:sldMk cId="1763167791" sldId="2147483647"/>
            <ac:spMk id="8" creationId="{08F8E4AE-8E94-5E05-BFAE-AA2E820BEC40}"/>
          </ac:spMkLst>
        </pc:spChg>
        <pc:picChg chg="add mod">
          <ac:chgData name="Kaczyńska, Katarzyna" userId="ae208263-ee3b-4618-9cf3-261dd1e8808c" providerId="ADAL" clId="{CEC57A3B-3583-41A4-B0CD-00842E3EC5CF}" dt="2025-03-27T09:40:03.500" v="33"/>
          <ac:picMkLst>
            <pc:docMk/>
            <pc:sldMk cId="1763167791" sldId="2147483647"/>
            <ac:picMk id="9" creationId="{7848E234-9A4A-F2FA-ED92-55085A21FFE7}"/>
          </ac:picMkLst>
        </pc:picChg>
      </pc:sldChg>
      <pc:sldMasterChg chg="delSldLayout">
        <pc:chgData name="Kaczyńska, Katarzyna" userId="ae208263-ee3b-4618-9cf3-261dd1e8808c" providerId="ADAL" clId="{CEC57A3B-3583-41A4-B0CD-00842E3EC5CF}" dt="2025-03-27T09:36:35.589" v="18" actId="47"/>
        <pc:sldMasterMkLst>
          <pc:docMk/>
          <pc:sldMasterMk cId="3813564844" sldId="2147483694"/>
        </pc:sldMasterMkLst>
        <pc:sldLayoutChg chg="del">
          <pc:chgData name="Kaczyńska, Katarzyna" userId="ae208263-ee3b-4618-9cf3-261dd1e8808c" providerId="ADAL" clId="{CEC57A3B-3583-41A4-B0CD-00842E3EC5CF}" dt="2025-03-27T09:36:35.589" v="18" actId="47"/>
          <pc:sldLayoutMkLst>
            <pc:docMk/>
            <pc:sldMasterMk cId="3813564844" sldId="2147483694"/>
            <pc:sldLayoutMk cId="3054831091" sldId="2147483784"/>
          </pc:sldLayoutMkLst>
        </pc:sldLayoutChg>
      </pc:sldMasterChg>
      <pc:sldMasterChg chg="del delSldLayout">
        <pc:chgData name="Kaczyńska, Katarzyna" userId="ae208263-ee3b-4618-9cf3-261dd1e8808c" providerId="ADAL" clId="{CEC57A3B-3583-41A4-B0CD-00842E3EC5CF}" dt="2025-03-27T09:39:01.682" v="26" actId="47"/>
        <pc:sldMasterMkLst>
          <pc:docMk/>
          <pc:sldMasterMk cId="1298110206" sldId="2147483784"/>
        </pc:sldMasterMkLst>
        <pc:sldLayoutChg chg="del">
          <pc:chgData name="Kaczyńska, Katarzyna" userId="ae208263-ee3b-4618-9cf3-261dd1e8808c" providerId="ADAL" clId="{CEC57A3B-3583-41A4-B0CD-00842E3EC5CF}" dt="2025-03-27T09:39:01.682" v="26" actId="47"/>
          <pc:sldLayoutMkLst>
            <pc:docMk/>
            <pc:sldMasterMk cId="1298110206" sldId="2147483784"/>
            <pc:sldLayoutMk cId="829896968" sldId="2147483785"/>
          </pc:sldLayoutMkLst>
        </pc:sldLayoutChg>
        <pc:sldLayoutChg chg="del">
          <pc:chgData name="Kaczyńska, Katarzyna" userId="ae208263-ee3b-4618-9cf3-261dd1e8808c" providerId="ADAL" clId="{CEC57A3B-3583-41A4-B0CD-00842E3EC5CF}" dt="2025-03-27T09:39:01.682" v="26" actId="47"/>
          <pc:sldLayoutMkLst>
            <pc:docMk/>
            <pc:sldMasterMk cId="1298110206" sldId="2147483784"/>
            <pc:sldLayoutMk cId="98718615" sldId="2147483786"/>
          </pc:sldLayoutMkLst>
        </pc:sldLayoutChg>
        <pc:sldLayoutChg chg="del">
          <pc:chgData name="Kaczyńska, Katarzyna" userId="ae208263-ee3b-4618-9cf3-261dd1e8808c" providerId="ADAL" clId="{CEC57A3B-3583-41A4-B0CD-00842E3EC5CF}" dt="2025-03-27T09:39:01.682" v="26" actId="47"/>
          <pc:sldLayoutMkLst>
            <pc:docMk/>
            <pc:sldMasterMk cId="1298110206" sldId="2147483784"/>
            <pc:sldLayoutMk cId="2846615015" sldId="2147483787"/>
          </pc:sldLayoutMkLst>
        </pc:sldLayoutChg>
        <pc:sldLayoutChg chg="del">
          <pc:chgData name="Kaczyńska, Katarzyna" userId="ae208263-ee3b-4618-9cf3-261dd1e8808c" providerId="ADAL" clId="{CEC57A3B-3583-41A4-B0CD-00842E3EC5CF}" dt="2025-03-27T09:39:01.682" v="26" actId="47"/>
          <pc:sldLayoutMkLst>
            <pc:docMk/>
            <pc:sldMasterMk cId="1298110206" sldId="2147483784"/>
            <pc:sldLayoutMk cId="2977495586" sldId="2147483788"/>
          </pc:sldLayoutMkLst>
        </pc:sldLayoutChg>
        <pc:sldLayoutChg chg="del">
          <pc:chgData name="Kaczyńska, Katarzyna" userId="ae208263-ee3b-4618-9cf3-261dd1e8808c" providerId="ADAL" clId="{CEC57A3B-3583-41A4-B0CD-00842E3EC5CF}" dt="2025-03-27T09:39:01.682" v="26" actId="47"/>
          <pc:sldLayoutMkLst>
            <pc:docMk/>
            <pc:sldMasterMk cId="1298110206" sldId="2147483784"/>
            <pc:sldLayoutMk cId="2556198687" sldId="2147483789"/>
          </pc:sldLayoutMkLst>
        </pc:sldLayoutChg>
      </pc:sldMasterChg>
      <pc:sldMasterChg chg="del delSldLayout">
        <pc:chgData name="Kaczyńska, Katarzyna" userId="ae208263-ee3b-4618-9cf3-261dd1e8808c" providerId="ADAL" clId="{CEC57A3B-3583-41A4-B0CD-00842E3EC5CF}" dt="2025-03-27T09:35:32.839" v="12" actId="47"/>
        <pc:sldMasterMkLst>
          <pc:docMk/>
          <pc:sldMasterMk cId="1535525761" sldId="2147483784"/>
        </pc:sldMasterMkLst>
        <pc:sldLayoutChg chg="del">
          <pc:chgData name="Kaczyńska, Katarzyna" userId="ae208263-ee3b-4618-9cf3-261dd1e8808c" providerId="ADAL" clId="{CEC57A3B-3583-41A4-B0CD-00842E3EC5CF}" dt="2025-03-27T09:35:32.839" v="12" actId="47"/>
          <pc:sldLayoutMkLst>
            <pc:docMk/>
            <pc:sldMasterMk cId="1535525761" sldId="2147483784"/>
            <pc:sldLayoutMk cId="2778623010" sldId="2147483785"/>
          </pc:sldLayoutMkLst>
        </pc:sldLayoutChg>
        <pc:sldLayoutChg chg="del">
          <pc:chgData name="Kaczyńska, Katarzyna" userId="ae208263-ee3b-4618-9cf3-261dd1e8808c" providerId="ADAL" clId="{CEC57A3B-3583-41A4-B0CD-00842E3EC5CF}" dt="2025-03-27T09:35:32.839" v="12" actId="47"/>
          <pc:sldLayoutMkLst>
            <pc:docMk/>
            <pc:sldMasterMk cId="1535525761" sldId="2147483784"/>
            <pc:sldLayoutMk cId="3260092806" sldId="2147483786"/>
          </pc:sldLayoutMkLst>
        </pc:sldLayoutChg>
        <pc:sldLayoutChg chg="del">
          <pc:chgData name="Kaczyńska, Katarzyna" userId="ae208263-ee3b-4618-9cf3-261dd1e8808c" providerId="ADAL" clId="{CEC57A3B-3583-41A4-B0CD-00842E3EC5CF}" dt="2025-03-27T09:35:32.839" v="12" actId="47"/>
          <pc:sldLayoutMkLst>
            <pc:docMk/>
            <pc:sldMasterMk cId="1535525761" sldId="2147483784"/>
            <pc:sldLayoutMk cId="1062162093" sldId="2147483787"/>
          </pc:sldLayoutMkLst>
        </pc:sldLayoutChg>
        <pc:sldLayoutChg chg="del">
          <pc:chgData name="Kaczyńska, Katarzyna" userId="ae208263-ee3b-4618-9cf3-261dd1e8808c" providerId="ADAL" clId="{CEC57A3B-3583-41A4-B0CD-00842E3EC5CF}" dt="2025-03-27T09:35:32.839" v="12" actId="47"/>
          <pc:sldLayoutMkLst>
            <pc:docMk/>
            <pc:sldMasterMk cId="1535525761" sldId="2147483784"/>
            <pc:sldLayoutMk cId="3102086231" sldId="2147483788"/>
          </pc:sldLayoutMkLst>
        </pc:sldLayoutChg>
        <pc:sldLayoutChg chg="del">
          <pc:chgData name="Kaczyńska, Katarzyna" userId="ae208263-ee3b-4618-9cf3-261dd1e8808c" providerId="ADAL" clId="{CEC57A3B-3583-41A4-B0CD-00842E3EC5CF}" dt="2025-03-27T09:35:32.839" v="12" actId="47"/>
          <pc:sldLayoutMkLst>
            <pc:docMk/>
            <pc:sldMasterMk cId="1535525761" sldId="2147483784"/>
            <pc:sldLayoutMk cId="3337776584" sldId="2147483789"/>
          </pc:sldLayoutMkLst>
        </pc:sldLayoutChg>
      </pc:sldMasterChg>
    </pc:docChg>
  </pc:docChgLst>
  <pc:docChgLst>
    <pc:chgData name="Kaczyńska, Katarzyna" userId="ae208263-ee3b-4618-9cf3-261dd1e8808c" providerId="ADAL" clId="{E7A7AFBA-C336-4520-9A16-8F8A56D1F352}"/>
    <pc:docChg chg="custSel addSld delSld modSld">
      <pc:chgData name="Kaczyńska, Katarzyna" userId="ae208263-ee3b-4618-9cf3-261dd1e8808c" providerId="ADAL" clId="{E7A7AFBA-C336-4520-9A16-8F8A56D1F352}" dt="2025-03-25T16:03:12.656" v="70"/>
      <pc:docMkLst>
        <pc:docMk/>
      </pc:docMkLst>
      <pc:sldChg chg="add del">
        <pc:chgData name="Kaczyńska, Katarzyna" userId="ae208263-ee3b-4618-9cf3-261dd1e8808c" providerId="ADAL" clId="{E7A7AFBA-C336-4520-9A16-8F8A56D1F352}" dt="2025-03-25T16:03:12.656" v="70"/>
        <pc:sldMkLst>
          <pc:docMk/>
          <pc:sldMk cId="0" sldId="257"/>
        </pc:sldMkLst>
      </pc:sldChg>
      <pc:sldChg chg="add del">
        <pc:chgData name="Kaczyńska, Katarzyna" userId="ae208263-ee3b-4618-9cf3-261dd1e8808c" providerId="ADAL" clId="{E7A7AFBA-C336-4520-9A16-8F8A56D1F352}" dt="2025-03-25T16:03:12.656" v="70"/>
        <pc:sldMkLst>
          <pc:docMk/>
          <pc:sldMk cId="0" sldId="258"/>
        </pc:sldMkLst>
      </pc:sldChg>
      <pc:sldChg chg="add del">
        <pc:chgData name="Kaczyńska, Katarzyna" userId="ae208263-ee3b-4618-9cf3-261dd1e8808c" providerId="ADAL" clId="{E7A7AFBA-C336-4520-9A16-8F8A56D1F352}" dt="2025-03-25T16:03:12.656" v="70"/>
        <pc:sldMkLst>
          <pc:docMk/>
          <pc:sldMk cId="0" sldId="259"/>
        </pc:sldMkLst>
      </pc:sldChg>
      <pc:sldChg chg="add del">
        <pc:chgData name="Kaczyńska, Katarzyna" userId="ae208263-ee3b-4618-9cf3-261dd1e8808c" providerId="ADAL" clId="{E7A7AFBA-C336-4520-9A16-8F8A56D1F352}" dt="2025-03-25T16:03:12.656" v="70"/>
        <pc:sldMkLst>
          <pc:docMk/>
          <pc:sldMk cId="0" sldId="261"/>
        </pc:sldMkLst>
      </pc:sldChg>
      <pc:sldChg chg="addSp delSp modSp mod">
        <pc:chgData name="Kaczyńska, Katarzyna" userId="ae208263-ee3b-4618-9cf3-261dd1e8808c" providerId="ADAL" clId="{E7A7AFBA-C336-4520-9A16-8F8A56D1F352}" dt="2025-03-18T17:49:26.849" v="68" actId="20577"/>
        <pc:sldMkLst>
          <pc:docMk/>
          <pc:sldMk cId="2506973914" sldId="2147483632"/>
        </pc:sldMkLst>
        <pc:spChg chg="mod">
          <ac:chgData name="Kaczyńska, Katarzyna" userId="ae208263-ee3b-4618-9cf3-261dd1e8808c" providerId="ADAL" clId="{E7A7AFBA-C336-4520-9A16-8F8A56D1F352}" dt="2025-03-18T17:45:46.132" v="33" actId="1076"/>
          <ac:spMkLst>
            <pc:docMk/>
            <pc:sldMk cId="2506973914" sldId="2147483632"/>
            <ac:spMk id="3" creationId="{3A93B22F-073C-C38D-3019-E715DABBF04E}"/>
          </ac:spMkLst>
        </pc:spChg>
        <pc:spChg chg="add mod">
          <ac:chgData name="Kaczyńska, Katarzyna" userId="ae208263-ee3b-4618-9cf3-261dd1e8808c" providerId="ADAL" clId="{E7A7AFBA-C336-4520-9A16-8F8A56D1F352}" dt="2025-03-18T17:49:26.849" v="68" actId="20577"/>
          <ac:spMkLst>
            <pc:docMk/>
            <pc:sldMk cId="2506973914" sldId="2147483632"/>
            <ac:spMk id="4" creationId="{D5D20DE2-BAB5-31F1-58A6-25E31DBD0006}"/>
          </ac:spMkLst>
        </pc:spChg>
        <pc:spChg chg="add mod">
          <ac:chgData name="Kaczyńska, Katarzyna" userId="ae208263-ee3b-4618-9cf3-261dd1e8808c" providerId="ADAL" clId="{E7A7AFBA-C336-4520-9A16-8F8A56D1F352}" dt="2025-03-18T17:45:04.468" v="20" actId="1076"/>
          <ac:spMkLst>
            <pc:docMk/>
            <pc:sldMk cId="2506973914" sldId="2147483632"/>
            <ac:spMk id="13" creationId="{7AD00471-BD6D-6559-EA08-91CD38F3CFA7}"/>
          </ac:spMkLst>
        </pc:spChg>
        <pc:picChg chg="add mod">
          <ac:chgData name="Kaczyńska, Katarzyna" userId="ae208263-ee3b-4618-9cf3-261dd1e8808c" providerId="ADAL" clId="{E7A7AFBA-C336-4520-9A16-8F8A56D1F352}" dt="2025-03-18T17:45:48.874" v="34" actId="1076"/>
          <ac:picMkLst>
            <pc:docMk/>
            <pc:sldMk cId="2506973914" sldId="2147483632"/>
            <ac:picMk id="18" creationId="{151E6897-62E8-1F23-1F18-528D8A084853}"/>
          </ac:picMkLst>
        </pc:picChg>
      </pc:sldChg>
      <pc:sldChg chg="add del">
        <pc:chgData name="Kaczyńska, Katarzyna" userId="ae208263-ee3b-4618-9cf3-261dd1e8808c" providerId="ADAL" clId="{E7A7AFBA-C336-4520-9A16-8F8A56D1F352}" dt="2025-03-25T16:03:12.656" v="70"/>
        <pc:sldMkLst>
          <pc:docMk/>
          <pc:sldMk cId="0" sldId="2147483646"/>
        </pc:sldMkLst>
      </pc:sldChg>
    </pc:docChg>
  </pc:docChgLst>
  <pc:docChgLst>
    <pc:chgData name="Walecka, Iwona" userId="4149cbe0-6e59-4428-8049-4aac2a9c1584" providerId="ADAL" clId="{CCC34445-0E8D-4B7A-BD91-5AF1647E4EF9}"/>
    <pc:docChg chg="undo custSel addSld delSld modSld modMainMaster modSection">
      <pc:chgData name="Walecka, Iwona" userId="4149cbe0-6e59-4428-8049-4aac2a9c1584" providerId="ADAL" clId="{CCC34445-0E8D-4B7A-BD91-5AF1647E4EF9}" dt="2025-03-25T16:33:47.740" v="71" actId="47"/>
      <pc:docMkLst>
        <pc:docMk/>
      </pc:docMkLst>
      <pc:sldChg chg="del">
        <pc:chgData name="Walecka, Iwona" userId="4149cbe0-6e59-4428-8049-4aac2a9c1584" providerId="ADAL" clId="{CCC34445-0E8D-4B7A-BD91-5AF1647E4EF9}" dt="2025-03-25T16:33:47.740" v="71" actId="47"/>
        <pc:sldMkLst>
          <pc:docMk/>
          <pc:sldMk cId="3318798160" sldId="260"/>
        </pc:sldMkLst>
      </pc:sldChg>
      <pc:sldChg chg="modSp mod">
        <pc:chgData name="Walecka, Iwona" userId="4149cbe0-6e59-4428-8049-4aac2a9c1584" providerId="ADAL" clId="{CCC34445-0E8D-4B7A-BD91-5AF1647E4EF9}" dt="2025-03-25T16:29:18.996" v="40" actId="1076"/>
        <pc:sldMkLst>
          <pc:docMk/>
          <pc:sldMk cId="804599806" sldId="267"/>
        </pc:sldMkLst>
        <pc:spChg chg="mod">
          <ac:chgData name="Walecka, Iwona" userId="4149cbe0-6e59-4428-8049-4aac2a9c1584" providerId="ADAL" clId="{CCC34445-0E8D-4B7A-BD91-5AF1647E4EF9}" dt="2025-03-25T16:29:18.996" v="40" actId="1076"/>
          <ac:spMkLst>
            <pc:docMk/>
            <pc:sldMk cId="804599806" sldId="267"/>
            <ac:spMk id="22" creationId="{4191FE81-B4D9-CCA7-DB94-72F84656984F}"/>
          </ac:spMkLst>
        </pc:spChg>
      </pc:sldChg>
      <pc:sldChg chg="addSp delSp modSp add mod">
        <pc:chgData name="Walecka, Iwona" userId="4149cbe0-6e59-4428-8049-4aac2a9c1584" providerId="ADAL" clId="{CCC34445-0E8D-4B7A-BD91-5AF1647E4EF9}" dt="2025-03-25T16:33:35.772" v="70" actId="1076"/>
        <pc:sldMkLst>
          <pc:docMk/>
          <pc:sldMk cId="1164621091" sldId="269"/>
        </pc:sldMkLst>
        <pc:picChg chg="add mod">
          <ac:chgData name="Walecka, Iwona" userId="4149cbe0-6e59-4428-8049-4aac2a9c1584" providerId="ADAL" clId="{CCC34445-0E8D-4B7A-BD91-5AF1647E4EF9}" dt="2025-03-25T16:33:35.772" v="70" actId="1076"/>
          <ac:picMkLst>
            <pc:docMk/>
            <pc:sldMk cId="1164621091" sldId="269"/>
            <ac:picMk id="5" creationId="{240D8FA7-C348-BD48-E71E-25BA1C534C46}"/>
          </ac:picMkLst>
        </pc:picChg>
      </pc:sldChg>
      <pc:sldChg chg="addSp modSp mod">
        <pc:chgData name="Walecka, Iwona" userId="4149cbe0-6e59-4428-8049-4aac2a9c1584" providerId="ADAL" clId="{CCC34445-0E8D-4B7A-BD91-5AF1647E4EF9}" dt="2025-03-25T16:29:02.095" v="38" actId="1076"/>
        <pc:sldMkLst>
          <pc:docMk/>
          <pc:sldMk cId="0" sldId="1692"/>
        </pc:sldMkLst>
        <pc:spChg chg="mod">
          <ac:chgData name="Walecka, Iwona" userId="4149cbe0-6e59-4428-8049-4aac2a9c1584" providerId="ADAL" clId="{CCC34445-0E8D-4B7A-BD91-5AF1647E4EF9}" dt="2025-03-25T16:29:02.095" v="38" actId="1076"/>
          <ac:spMkLst>
            <pc:docMk/>
            <pc:sldMk cId="0" sldId="1692"/>
            <ac:spMk id="28" creationId="{475A1B73-BC94-E66E-1483-B46082CB7CF3}"/>
          </ac:spMkLst>
        </pc:spChg>
        <pc:picChg chg="add mod">
          <ac:chgData name="Walecka, Iwona" userId="4149cbe0-6e59-4428-8049-4aac2a9c1584" providerId="ADAL" clId="{CCC34445-0E8D-4B7A-BD91-5AF1647E4EF9}" dt="2025-03-25T16:24:46.283" v="14"/>
          <ac:picMkLst>
            <pc:docMk/>
            <pc:sldMk cId="0" sldId="1692"/>
            <ac:picMk id="3" creationId="{6DCFE300-160A-765F-F16A-D45528CC7609}"/>
          </ac:picMkLst>
        </pc:picChg>
      </pc:sldChg>
      <pc:sldChg chg="addSp modSp mod">
        <pc:chgData name="Walecka, Iwona" userId="4149cbe0-6e59-4428-8049-4aac2a9c1584" providerId="ADAL" clId="{CCC34445-0E8D-4B7A-BD91-5AF1647E4EF9}" dt="2025-03-25T16:28:20.269" v="29" actId="1076"/>
        <pc:sldMkLst>
          <pc:docMk/>
          <pc:sldMk cId="0" sldId="1712"/>
        </pc:sldMkLst>
        <pc:spChg chg="mod">
          <ac:chgData name="Walecka, Iwona" userId="4149cbe0-6e59-4428-8049-4aac2a9c1584" providerId="ADAL" clId="{CCC34445-0E8D-4B7A-BD91-5AF1647E4EF9}" dt="2025-03-25T16:28:20.269" v="29" actId="1076"/>
          <ac:spMkLst>
            <pc:docMk/>
            <pc:sldMk cId="0" sldId="1712"/>
            <ac:spMk id="6" creationId="{442AC4AC-6A2D-490F-6DDD-6D8ECEBB16B2}"/>
          </ac:spMkLst>
        </pc:spChg>
        <pc:picChg chg="add mod">
          <ac:chgData name="Walecka, Iwona" userId="4149cbe0-6e59-4428-8049-4aac2a9c1584" providerId="ADAL" clId="{CCC34445-0E8D-4B7A-BD91-5AF1647E4EF9}" dt="2025-03-25T16:23:42.054" v="5" actId="1076"/>
          <ac:picMkLst>
            <pc:docMk/>
            <pc:sldMk cId="0" sldId="1712"/>
            <ac:picMk id="4" creationId="{B4119856-102D-B412-A10A-77159A07502F}"/>
          </ac:picMkLst>
        </pc:picChg>
      </pc:sldChg>
      <pc:sldChg chg="addSp delSp modSp mod">
        <pc:chgData name="Walecka, Iwona" userId="4149cbe0-6e59-4428-8049-4aac2a9c1584" providerId="ADAL" clId="{CCC34445-0E8D-4B7A-BD91-5AF1647E4EF9}" dt="2025-03-25T16:26:43.454" v="20" actId="478"/>
        <pc:sldMkLst>
          <pc:docMk/>
          <pc:sldMk cId="1889128139" sldId="2147307785"/>
        </pc:sldMkLst>
        <pc:picChg chg="add mod">
          <ac:chgData name="Walecka, Iwona" userId="4149cbe0-6e59-4428-8049-4aac2a9c1584" providerId="ADAL" clId="{CCC34445-0E8D-4B7A-BD91-5AF1647E4EF9}" dt="2025-03-25T16:24:29.390" v="11"/>
          <ac:picMkLst>
            <pc:docMk/>
            <pc:sldMk cId="1889128139" sldId="2147307785"/>
            <ac:picMk id="59" creationId="{99E477CF-2807-2E26-368A-D1C2B18BCD5C}"/>
          </ac:picMkLst>
        </pc:picChg>
      </pc:sldChg>
      <pc:sldChg chg="addSp modSp mod">
        <pc:chgData name="Walecka, Iwona" userId="4149cbe0-6e59-4428-8049-4aac2a9c1584" providerId="ADAL" clId="{CCC34445-0E8D-4B7A-BD91-5AF1647E4EF9}" dt="2025-03-25T16:24:38.760" v="13" actId="1076"/>
        <pc:sldMkLst>
          <pc:docMk/>
          <pc:sldMk cId="4282290144" sldId="2147480525"/>
        </pc:sldMkLst>
        <pc:picChg chg="add mod">
          <ac:chgData name="Walecka, Iwona" userId="4149cbe0-6e59-4428-8049-4aac2a9c1584" providerId="ADAL" clId="{CCC34445-0E8D-4B7A-BD91-5AF1647E4EF9}" dt="2025-03-25T16:24:38.760" v="13" actId="1076"/>
          <ac:picMkLst>
            <pc:docMk/>
            <pc:sldMk cId="4282290144" sldId="2147480525"/>
            <ac:picMk id="2" creationId="{B571CECF-1D20-A8FB-39EC-5C7C0CF1493D}"/>
          </ac:picMkLst>
        </pc:picChg>
      </pc:sldChg>
      <pc:sldChg chg="addSp modSp mod">
        <pc:chgData name="Walecka, Iwona" userId="4149cbe0-6e59-4428-8049-4aac2a9c1584" providerId="ADAL" clId="{CCC34445-0E8D-4B7A-BD91-5AF1647E4EF9}" dt="2025-03-25T16:27:37.641" v="21" actId="1076"/>
        <pc:sldMkLst>
          <pc:docMk/>
          <pc:sldMk cId="2506973914" sldId="2147483632"/>
        </pc:sldMkLst>
        <pc:spChg chg="mod">
          <ac:chgData name="Walecka, Iwona" userId="4149cbe0-6e59-4428-8049-4aac2a9c1584" providerId="ADAL" clId="{CCC34445-0E8D-4B7A-BD91-5AF1647E4EF9}" dt="2025-03-25T16:27:37.641" v="21" actId="1076"/>
          <ac:spMkLst>
            <pc:docMk/>
            <pc:sldMk cId="2506973914" sldId="2147483632"/>
            <ac:spMk id="4" creationId="{D5D20DE2-BAB5-31F1-58A6-25E31DBD0006}"/>
          </ac:spMkLst>
        </pc:spChg>
        <pc:picChg chg="add mod">
          <ac:chgData name="Walecka, Iwona" userId="4149cbe0-6e59-4428-8049-4aac2a9c1584" providerId="ADAL" clId="{CCC34445-0E8D-4B7A-BD91-5AF1647E4EF9}" dt="2025-03-25T16:22:50.135" v="1" actId="1076"/>
          <ac:picMkLst>
            <pc:docMk/>
            <pc:sldMk cId="2506973914" sldId="2147483632"/>
            <ac:picMk id="5" creationId="{402850BE-DDFB-2AE5-61A0-EA7271716118}"/>
          </ac:picMkLst>
        </pc:picChg>
      </pc:sldChg>
      <pc:sldChg chg="modSp mod">
        <pc:chgData name="Walecka, Iwona" userId="4149cbe0-6e59-4428-8049-4aac2a9c1584" providerId="ADAL" clId="{CCC34445-0E8D-4B7A-BD91-5AF1647E4EF9}" dt="2025-03-25T16:28:51.689" v="36" actId="1076"/>
        <pc:sldMkLst>
          <pc:docMk/>
          <pc:sldMk cId="3918961597" sldId="2147483639"/>
        </pc:sldMkLst>
        <pc:spChg chg="mod">
          <ac:chgData name="Walecka, Iwona" userId="4149cbe0-6e59-4428-8049-4aac2a9c1584" providerId="ADAL" clId="{CCC34445-0E8D-4B7A-BD91-5AF1647E4EF9}" dt="2025-03-25T16:28:51.689" v="36" actId="1076"/>
          <ac:spMkLst>
            <pc:docMk/>
            <pc:sldMk cId="3918961597" sldId="2147483639"/>
            <ac:spMk id="8" creationId="{723DE7CD-9037-BA12-C634-233616B324A7}"/>
          </ac:spMkLst>
        </pc:spChg>
        <pc:picChg chg="mod">
          <ac:chgData name="Walecka, Iwona" userId="4149cbe0-6e59-4428-8049-4aac2a9c1584" providerId="ADAL" clId="{CCC34445-0E8D-4B7A-BD91-5AF1647E4EF9}" dt="2025-03-25T16:27:54.040" v="25" actId="1076"/>
          <ac:picMkLst>
            <pc:docMk/>
            <pc:sldMk cId="3918961597" sldId="2147483639"/>
            <ac:picMk id="7" creationId="{2B88DBB4-B875-3192-8EA0-C9783EEF497B}"/>
          </ac:picMkLst>
        </pc:picChg>
      </pc:sldChg>
      <pc:sldChg chg="addSp delSp modSp mod">
        <pc:chgData name="Walecka, Iwona" userId="4149cbe0-6e59-4428-8049-4aac2a9c1584" providerId="ADAL" clId="{CCC34445-0E8D-4B7A-BD91-5AF1647E4EF9}" dt="2025-03-25T16:29:36.841" v="44" actId="1076"/>
        <pc:sldMkLst>
          <pc:docMk/>
          <pc:sldMk cId="3095097546" sldId="2147483642"/>
        </pc:sldMkLst>
        <pc:spChg chg="add mod">
          <ac:chgData name="Walecka, Iwona" userId="4149cbe0-6e59-4428-8049-4aac2a9c1584" providerId="ADAL" clId="{CCC34445-0E8D-4B7A-BD91-5AF1647E4EF9}" dt="2025-03-25T16:29:36.841" v="44" actId="1076"/>
          <ac:spMkLst>
            <pc:docMk/>
            <pc:sldMk cId="3095097546" sldId="2147483642"/>
            <ac:spMk id="5" creationId="{F2F415EB-E3FF-438F-67B4-1421F9AE9261}"/>
          </ac:spMkLst>
        </pc:spChg>
        <pc:picChg chg="add mod">
          <ac:chgData name="Walecka, Iwona" userId="4149cbe0-6e59-4428-8049-4aac2a9c1584" providerId="ADAL" clId="{CCC34445-0E8D-4B7A-BD91-5AF1647E4EF9}" dt="2025-03-25T16:24:54.636" v="15"/>
          <ac:picMkLst>
            <pc:docMk/>
            <pc:sldMk cId="3095097546" sldId="2147483642"/>
            <ac:picMk id="4" creationId="{B9588E50-927B-41B6-295D-42C36E7915F5}"/>
          </ac:picMkLst>
        </pc:picChg>
      </pc:sldChg>
      <pc:sldChg chg="addSp modSp mod">
        <pc:chgData name="Walecka, Iwona" userId="4149cbe0-6e59-4428-8049-4aac2a9c1584" providerId="ADAL" clId="{CCC34445-0E8D-4B7A-BD91-5AF1647E4EF9}" dt="2025-03-25T16:29:52.478" v="47" actId="20577"/>
        <pc:sldMkLst>
          <pc:docMk/>
          <pc:sldMk cId="3910962817" sldId="2147483643"/>
        </pc:sldMkLst>
        <pc:spChg chg="mod">
          <ac:chgData name="Walecka, Iwona" userId="4149cbe0-6e59-4428-8049-4aac2a9c1584" providerId="ADAL" clId="{CCC34445-0E8D-4B7A-BD91-5AF1647E4EF9}" dt="2025-03-25T16:29:52.478" v="47" actId="20577"/>
          <ac:spMkLst>
            <pc:docMk/>
            <pc:sldMk cId="3910962817" sldId="2147483643"/>
            <ac:spMk id="4" creationId="{EAC598EE-1F60-EFDF-F259-502DA57ADD70}"/>
          </ac:spMkLst>
        </pc:spChg>
        <pc:picChg chg="add mod">
          <ac:chgData name="Walecka, Iwona" userId="4149cbe0-6e59-4428-8049-4aac2a9c1584" providerId="ADAL" clId="{CCC34445-0E8D-4B7A-BD91-5AF1647E4EF9}" dt="2025-03-25T16:24:58.307" v="16"/>
          <ac:picMkLst>
            <pc:docMk/>
            <pc:sldMk cId="3910962817" sldId="2147483643"/>
            <ac:picMk id="5" creationId="{31F30997-C2A1-DC9E-A204-F7F0F72DD39D}"/>
          </ac:picMkLst>
        </pc:picChg>
      </pc:sldChg>
      <pc:sldChg chg="addSp delSp modSp mod">
        <pc:chgData name="Walecka, Iwona" userId="4149cbe0-6e59-4428-8049-4aac2a9c1584" providerId="ADAL" clId="{CCC34445-0E8D-4B7A-BD91-5AF1647E4EF9}" dt="2025-03-25T16:32:27.820" v="63" actId="14100"/>
        <pc:sldMkLst>
          <pc:docMk/>
          <pc:sldMk cId="1260855524" sldId="2147483644"/>
        </pc:sldMkLst>
        <pc:spChg chg="mod">
          <ac:chgData name="Walecka, Iwona" userId="4149cbe0-6e59-4428-8049-4aac2a9c1584" providerId="ADAL" clId="{CCC34445-0E8D-4B7A-BD91-5AF1647E4EF9}" dt="2025-03-25T16:32:06.181" v="58" actId="1076"/>
          <ac:spMkLst>
            <pc:docMk/>
            <pc:sldMk cId="1260855524" sldId="2147483644"/>
            <ac:spMk id="2" creationId="{6E2F1E49-3D26-A907-326B-FB56AAB9B71E}"/>
          </ac:spMkLst>
        </pc:spChg>
        <pc:spChg chg="mod">
          <ac:chgData name="Walecka, Iwona" userId="4149cbe0-6e59-4428-8049-4aac2a9c1584" providerId="ADAL" clId="{CCC34445-0E8D-4B7A-BD91-5AF1647E4EF9}" dt="2025-03-25T16:32:16.207" v="60" actId="1076"/>
          <ac:spMkLst>
            <pc:docMk/>
            <pc:sldMk cId="1260855524" sldId="2147483644"/>
            <ac:spMk id="3" creationId="{5ADC3FA4-6CC0-5513-EEF3-E9778B49DE08}"/>
          </ac:spMkLst>
        </pc:spChg>
        <pc:picChg chg="add mod">
          <ac:chgData name="Walecka, Iwona" userId="4149cbe0-6e59-4428-8049-4aac2a9c1584" providerId="ADAL" clId="{CCC34445-0E8D-4B7A-BD91-5AF1647E4EF9}" dt="2025-03-25T16:32:27.820" v="63" actId="14100"/>
          <ac:picMkLst>
            <pc:docMk/>
            <pc:sldMk cId="1260855524" sldId="2147483644"/>
            <ac:picMk id="6" creationId="{BAF199C9-F848-1087-8258-32A43DE15FF1}"/>
          </ac:picMkLst>
        </pc:picChg>
      </pc:sldChg>
      <pc:sldChg chg="addSp delSp modSp mod">
        <pc:chgData name="Walecka, Iwona" userId="4149cbe0-6e59-4428-8049-4aac2a9c1584" providerId="ADAL" clId="{CCC34445-0E8D-4B7A-BD91-5AF1647E4EF9}" dt="2025-03-25T16:30:10.347" v="51" actId="1076"/>
        <pc:sldMkLst>
          <pc:docMk/>
          <pc:sldMk cId="958012339" sldId="2147483645"/>
        </pc:sldMkLst>
        <pc:spChg chg="add mod">
          <ac:chgData name="Walecka, Iwona" userId="4149cbe0-6e59-4428-8049-4aac2a9c1584" providerId="ADAL" clId="{CCC34445-0E8D-4B7A-BD91-5AF1647E4EF9}" dt="2025-03-25T16:30:10.347" v="51" actId="1076"/>
          <ac:spMkLst>
            <pc:docMk/>
            <pc:sldMk cId="958012339" sldId="2147483645"/>
            <ac:spMk id="7" creationId="{B6C99FA8-1E44-F539-293A-2FAE0289A599}"/>
          </ac:spMkLst>
        </pc:spChg>
        <pc:picChg chg="add mod">
          <ac:chgData name="Walecka, Iwona" userId="4149cbe0-6e59-4428-8049-4aac2a9c1584" providerId="ADAL" clId="{CCC34445-0E8D-4B7A-BD91-5AF1647E4EF9}" dt="2025-03-25T16:25:01.863" v="17"/>
          <ac:picMkLst>
            <pc:docMk/>
            <pc:sldMk cId="958012339" sldId="2147483645"/>
            <ac:picMk id="2" creationId="{4334758E-E922-DB55-010B-65CC5F104705}"/>
          </ac:picMkLst>
        </pc:picChg>
      </pc:sldChg>
      <pc:sldMasterChg chg="modSldLayout">
        <pc:chgData name="Walecka, Iwona" userId="4149cbe0-6e59-4428-8049-4aac2a9c1584" providerId="ADAL" clId="{CCC34445-0E8D-4B7A-BD91-5AF1647E4EF9}" dt="2025-03-25T16:23:29.666" v="2"/>
        <pc:sldMasterMkLst>
          <pc:docMk/>
          <pc:sldMasterMk cId="3813564844" sldId="2147483694"/>
        </pc:sldMasterMkLst>
        <pc:sldLayoutChg chg="setBg">
          <pc:chgData name="Walecka, Iwona" userId="4149cbe0-6e59-4428-8049-4aac2a9c1584" providerId="ADAL" clId="{CCC34445-0E8D-4B7A-BD91-5AF1647E4EF9}" dt="2025-03-25T16:23:29.666" v="2"/>
          <pc:sldLayoutMkLst>
            <pc:docMk/>
            <pc:sldMasterMk cId="3813564844" sldId="2147483694"/>
            <pc:sldLayoutMk cId="3648014345" sldId="2147483695"/>
          </pc:sldLayoutMkLst>
        </pc:sldLayoutChg>
        <pc:sldLayoutChg chg="setBg">
          <pc:chgData name="Walecka, Iwona" userId="4149cbe0-6e59-4428-8049-4aac2a9c1584" providerId="ADAL" clId="{CCC34445-0E8D-4B7A-BD91-5AF1647E4EF9}" dt="2025-03-25T16:23:29.666" v="2"/>
          <pc:sldLayoutMkLst>
            <pc:docMk/>
            <pc:sldMasterMk cId="3813564844" sldId="2147483694"/>
            <pc:sldLayoutMk cId="2262600779" sldId="2147483696"/>
          </pc:sldLayoutMkLst>
        </pc:sldLayoutChg>
        <pc:sldLayoutChg chg="setBg">
          <pc:chgData name="Walecka, Iwona" userId="4149cbe0-6e59-4428-8049-4aac2a9c1584" providerId="ADAL" clId="{CCC34445-0E8D-4B7A-BD91-5AF1647E4EF9}" dt="2025-03-25T16:23:29.666" v="2"/>
          <pc:sldLayoutMkLst>
            <pc:docMk/>
            <pc:sldMasterMk cId="3813564844" sldId="2147483694"/>
            <pc:sldLayoutMk cId="2041949181" sldId="2147483707"/>
          </pc:sldLayoutMkLst>
        </pc:sldLayoutChg>
        <pc:sldLayoutChg chg="setBg">
          <pc:chgData name="Walecka, Iwona" userId="4149cbe0-6e59-4428-8049-4aac2a9c1584" providerId="ADAL" clId="{CCC34445-0E8D-4B7A-BD91-5AF1647E4EF9}" dt="2025-03-25T16:23:29.666" v="2"/>
          <pc:sldLayoutMkLst>
            <pc:docMk/>
            <pc:sldMasterMk cId="3813564844" sldId="2147483694"/>
            <pc:sldLayoutMk cId="2280291970" sldId="2147483709"/>
          </pc:sldLayoutMkLst>
        </pc:sldLayoutChg>
        <pc:sldLayoutChg chg="setBg">
          <pc:chgData name="Walecka, Iwona" userId="4149cbe0-6e59-4428-8049-4aac2a9c1584" providerId="ADAL" clId="{CCC34445-0E8D-4B7A-BD91-5AF1647E4EF9}" dt="2025-03-25T16:23:29.666" v="2"/>
          <pc:sldLayoutMkLst>
            <pc:docMk/>
            <pc:sldMasterMk cId="3813564844" sldId="2147483694"/>
            <pc:sldLayoutMk cId="857831804" sldId="2147483713"/>
          </pc:sldLayoutMkLst>
        </pc:sldLayoutChg>
      </pc:sldMasterChg>
      <pc:sldMasterChg chg="modSldLayout">
        <pc:chgData name="Walecka, Iwona" userId="4149cbe0-6e59-4428-8049-4aac2a9c1584" providerId="ADAL" clId="{CCC34445-0E8D-4B7A-BD91-5AF1647E4EF9}" dt="2025-03-25T16:23:29.666" v="2"/>
        <pc:sldMasterMkLst>
          <pc:docMk/>
          <pc:sldMasterMk cId="1535525761" sldId="2147483784"/>
        </pc:sldMasterMkLst>
        <pc:sldLayoutChg chg="setBg">
          <pc:chgData name="Walecka, Iwona" userId="4149cbe0-6e59-4428-8049-4aac2a9c1584" providerId="ADAL" clId="{CCC34445-0E8D-4B7A-BD91-5AF1647E4EF9}" dt="2025-03-25T16:23:29.666" v="2"/>
          <pc:sldLayoutMkLst>
            <pc:docMk/>
            <pc:sldMasterMk cId="1535525761" sldId="2147483784"/>
            <pc:sldLayoutMk cId="3260092806" sldId="2147483786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2248766574632865E-2"/>
          <c:y val="0.13461657730191753"/>
          <c:w val="0.97550246685073427"/>
          <c:h val="0.7679103307905257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8EC-4868-9E6F-864891852909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N=</a:t>
                    </a:r>
                    <a:fld id="{D81594FE-6E7A-4DEC-9D2A-86B26809135B}" type="VALUE">
                      <a:rPr lang="en-US" smtClean="0"/>
                      <a:pPr/>
                      <a:t>[WARTOŚĆ]</a:t>
                    </a:fld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E8EC-4868-9E6F-864891852909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N=6,009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E8EC-4868-9E6F-864891852909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N=</a:t>
                    </a:r>
                    <a:fld id="{18642172-1AC1-44A8-B471-5CB11A169E33}" type="VALUE">
                      <a:rPr lang="en-US" smtClean="0"/>
                      <a:pPr/>
                      <a:t>[WARTOŚĆ]</a:t>
                    </a:fld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E8EC-4868-9E6F-864891852909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N=</a:t>
                    </a:r>
                    <a:fld id="{94063BFF-DF9F-45B4-BFFF-F00C936D900A}" type="VALUE">
                      <a:rPr lang="en-US" smtClean="0"/>
                      <a:pPr/>
                      <a:t>[WARTOŚĆ]</a:t>
                    </a:fld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E8EC-4868-9E6F-864891852909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sz="1800" b="1" i="0" u="none" strike="noStrike" kern="1200" baseline="0">
                        <a:solidFill>
                          <a:srgbClr val="000000"/>
                        </a:solidFill>
                      </a:rPr>
                      <a:t>N=</a:t>
                    </a:r>
                    <a:fld id="{776D7A2C-8BB1-4803-B4C6-1C60849F28B1}" type="VALUE">
                      <a:rPr lang="en-US" smtClean="0"/>
                      <a:pPr/>
                      <a:t>[WARTOŚĆ]</a:t>
                    </a:fld>
                    <a:endParaRPr lang="en-US" sz="1800" b="1" i="0" u="none" strike="noStrike" kern="1200" baseline="0">
                      <a:solidFill>
                        <a:srgbClr val="000000"/>
                      </a:solidFill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E8EC-4868-9E6F-864891852909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 sz="1800" b="1" i="0" u="none" strike="noStrike" kern="1200" baseline="0">
                        <a:solidFill>
                          <a:srgbClr val="000000"/>
                        </a:solidFill>
                      </a:rPr>
                      <a:t>N=</a:t>
                    </a:r>
                    <a:fld id="{6A77BF4D-6663-4AFD-844A-035373E56491}" type="VALUE">
                      <a:rPr lang="en-US" smtClean="0"/>
                      <a:pPr/>
                      <a:t>[WARTOŚĆ]</a:t>
                    </a:fld>
                    <a:endParaRPr lang="en-US" sz="1800" b="1" i="0" u="none" strike="noStrike" kern="1200" baseline="0">
                      <a:solidFill>
                        <a:srgbClr val="000000"/>
                      </a:solidFill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E8EC-4868-9E6F-864891852909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 sz="1800" b="1" i="0" u="none" strike="noStrike" kern="1200" baseline="0">
                        <a:solidFill>
                          <a:srgbClr val="000000"/>
                        </a:solidFill>
                      </a:rPr>
                      <a:t>N=</a:t>
                    </a:r>
                    <a:fld id="{632649E6-88D1-4518-99C8-591F6B8CCDE2}" type="VALUE">
                      <a:rPr lang="en-US" smtClean="0"/>
                      <a:pPr/>
                      <a:t>[WARTOŚĆ]</a:t>
                    </a:fld>
                    <a:endParaRPr lang="en-US" sz="1800" b="1" i="0" u="none" strike="noStrike" kern="1200" baseline="0">
                      <a:solidFill>
                        <a:srgbClr val="000000"/>
                      </a:solidFill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E8EC-4868-9E6F-864891852909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 sz="1800" b="1" i="0" u="none" strike="noStrike" kern="1200" baseline="0">
                        <a:solidFill>
                          <a:srgbClr val="000000"/>
                        </a:solidFill>
                      </a:rPr>
                      <a:t>N=</a:t>
                    </a:r>
                    <a:fld id="{2AC2D0ED-1A1E-404F-B065-990DD44C7638}" type="VALUE">
                      <a:rPr lang="en-US" smtClean="0"/>
                      <a:pPr/>
                      <a:t>[WARTOŚĆ]</a:t>
                    </a:fld>
                    <a:endParaRPr lang="en-US" sz="1800" b="1" i="0" u="none" strike="noStrike" kern="1200" baseline="0">
                      <a:solidFill>
                        <a:srgbClr val="000000"/>
                      </a:solidFill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E8EC-4868-9E6F-864891852909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ECOS</c:v>
                </c:pt>
                <c:pt idx="1">
                  <c:v>PATRO Children</c:v>
                </c:pt>
                <c:pt idx="2">
                  <c:v>Nordinet IOS</c:v>
                </c:pt>
                <c:pt idx="3">
                  <c:v>ANSWER</c:v>
                </c:pt>
                <c:pt idx="4">
                  <c:v>GeNeSIS</c:v>
                </c:pt>
                <c:pt idx="5">
                  <c:v>SAGhE</c:v>
                </c:pt>
                <c:pt idx="6">
                  <c:v>NCGS</c:v>
                </c:pt>
                <c:pt idx="7">
                  <c:v>KIGS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2420</c:v>
                </c:pt>
                <c:pt idx="1">
                  <c:v>6009</c:v>
                </c:pt>
                <c:pt idx="2">
                  <c:v>17995</c:v>
                </c:pt>
                <c:pt idx="3">
                  <c:v>20204</c:v>
                </c:pt>
                <c:pt idx="4">
                  <c:v>22845</c:v>
                </c:pt>
                <c:pt idx="5">
                  <c:v>24232</c:v>
                </c:pt>
                <c:pt idx="6">
                  <c:v>65205</c:v>
                </c:pt>
                <c:pt idx="7">
                  <c:v>838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8EC-4868-9E6F-86489185290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62"/>
        <c:overlap val="-36"/>
        <c:axId val="2105002175"/>
        <c:axId val="1051197551"/>
      </c:barChart>
      <c:catAx>
        <c:axId val="210500217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51197551"/>
        <c:crosses val="autoZero"/>
        <c:auto val="1"/>
        <c:lblAlgn val="ctr"/>
        <c:lblOffset val="100"/>
        <c:noMultiLvlLbl val="0"/>
      </c:catAx>
      <c:valAx>
        <c:axId val="1051197551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10500217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FC16798-2960-49F6-AA9D-1A9F68FE9F1E}" type="doc">
      <dgm:prSet loTypeId="urn:microsoft.com/office/officeart/2005/8/layout/default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AB4C0989-5898-4359-8996-12AFB5000351}">
      <dgm:prSet/>
      <dgm:spPr/>
      <dgm:t>
        <a:bodyPr/>
        <a:lstStyle/>
        <a:p>
          <a:r>
            <a:rPr lang="pl-PL"/>
            <a:t>Niedostateczne wydzielanie hormonu wzrostu</a:t>
          </a:r>
          <a:endParaRPr lang="en-US"/>
        </a:p>
      </dgm:t>
    </dgm:pt>
    <dgm:pt modelId="{0BEDF33E-041B-421F-BC6E-AE442ABEF127}" type="parTrans" cxnId="{E85B37CD-DF7B-4436-9506-96794D3405F6}">
      <dgm:prSet/>
      <dgm:spPr/>
      <dgm:t>
        <a:bodyPr/>
        <a:lstStyle/>
        <a:p>
          <a:endParaRPr lang="en-US"/>
        </a:p>
      </dgm:t>
    </dgm:pt>
    <dgm:pt modelId="{883C39F0-978E-4065-BB15-98E5A78C8689}" type="sibTrans" cxnId="{E85B37CD-DF7B-4436-9506-96794D3405F6}">
      <dgm:prSet/>
      <dgm:spPr/>
      <dgm:t>
        <a:bodyPr/>
        <a:lstStyle/>
        <a:p>
          <a:endParaRPr lang="en-US"/>
        </a:p>
      </dgm:t>
    </dgm:pt>
    <dgm:pt modelId="{04A76E07-44F1-47AB-BEB8-5B8D8A40BCAA}">
      <dgm:prSet/>
      <dgm:spPr/>
      <dgm:t>
        <a:bodyPr/>
        <a:lstStyle/>
        <a:p>
          <a:r>
            <a:rPr lang="pl-PL"/>
            <a:t>Dziewczynki z zespołem Turnera (ZT)</a:t>
          </a:r>
          <a:endParaRPr lang="en-US"/>
        </a:p>
      </dgm:t>
    </dgm:pt>
    <dgm:pt modelId="{C498AB23-14A0-4F32-91DE-61DBEA47651E}" type="parTrans" cxnId="{39DD9FDE-F2BE-4287-845F-7AFD3DA9705D}">
      <dgm:prSet/>
      <dgm:spPr/>
      <dgm:t>
        <a:bodyPr/>
        <a:lstStyle/>
        <a:p>
          <a:endParaRPr lang="en-US"/>
        </a:p>
      </dgm:t>
    </dgm:pt>
    <dgm:pt modelId="{73AE6461-3CA6-43E8-88E2-8C064AAF8B23}" type="sibTrans" cxnId="{39DD9FDE-F2BE-4287-845F-7AFD3DA9705D}">
      <dgm:prSet/>
      <dgm:spPr/>
      <dgm:t>
        <a:bodyPr/>
        <a:lstStyle/>
        <a:p>
          <a:endParaRPr lang="en-US"/>
        </a:p>
      </dgm:t>
    </dgm:pt>
    <dgm:pt modelId="{E1004DD6-A1A2-4A81-986D-1133AF18912A}">
      <dgm:prSet/>
      <dgm:spPr/>
      <dgm:t>
        <a:bodyPr/>
        <a:lstStyle/>
        <a:p>
          <a:r>
            <a:rPr lang="pl-PL"/>
            <a:t>Niskorosłość w następstwie SGA lub IUGR</a:t>
          </a:r>
          <a:endParaRPr lang="en-US"/>
        </a:p>
      </dgm:t>
    </dgm:pt>
    <dgm:pt modelId="{66BAC7FD-3DBC-42B9-8780-78FE8C79E9A5}" type="parTrans" cxnId="{1E9942FB-17B9-4DDF-AC3B-8659DD73F0FB}">
      <dgm:prSet/>
      <dgm:spPr/>
      <dgm:t>
        <a:bodyPr/>
        <a:lstStyle/>
        <a:p>
          <a:endParaRPr lang="en-US"/>
        </a:p>
      </dgm:t>
    </dgm:pt>
    <dgm:pt modelId="{F83ADBFF-C8F7-454F-A424-DC618F3876B0}" type="sibTrans" cxnId="{1E9942FB-17B9-4DDF-AC3B-8659DD73F0FB}">
      <dgm:prSet/>
      <dgm:spPr/>
      <dgm:t>
        <a:bodyPr/>
        <a:lstStyle/>
        <a:p>
          <a:endParaRPr lang="en-US"/>
        </a:p>
      </dgm:t>
    </dgm:pt>
    <dgm:pt modelId="{FCE0055C-D41E-45B7-BDB8-9E0798A46113}">
      <dgm:prSet/>
      <dgm:spPr/>
      <dgm:t>
        <a:bodyPr/>
        <a:lstStyle/>
        <a:p>
          <a:r>
            <a:rPr lang="pl-PL"/>
            <a:t>Dzieci z przewlekłą niewydolnością nerek (PNN)</a:t>
          </a:r>
          <a:endParaRPr lang="en-US"/>
        </a:p>
      </dgm:t>
    </dgm:pt>
    <dgm:pt modelId="{D7684C11-6A85-40E2-BF4F-A50E2289E93E}" type="parTrans" cxnId="{577BBBB5-0EF3-48D0-B681-55D779F9810C}">
      <dgm:prSet/>
      <dgm:spPr/>
      <dgm:t>
        <a:bodyPr/>
        <a:lstStyle/>
        <a:p>
          <a:endParaRPr lang="en-US"/>
        </a:p>
      </dgm:t>
    </dgm:pt>
    <dgm:pt modelId="{AFACBA15-34CC-4452-8870-937DA5CCE294}" type="sibTrans" cxnId="{577BBBB5-0EF3-48D0-B681-55D779F9810C}">
      <dgm:prSet/>
      <dgm:spPr/>
      <dgm:t>
        <a:bodyPr/>
        <a:lstStyle/>
        <a:p>
          <a:endParaRPr lang="en-US"/>
        </a:p>
      </dgm:t>
    </dgm:pt>
    <dgm:pt modelId="{09B960E0-B472-44DA-B3D2-CF0BBB2E73BD}">
      <dgm:prSet/>
      <dgm:spPr/>
      <dgm:t>
        <a:bodyPr/>
        <a:lstStyle/>
        <a:p>
          <a:r>
            <a:rPr lang="pl-PL"/>
            <a:t>Zespołu </a:t>
          </a:r>
          <a:r>
            <a:rPr lang="pl-PL" err="1"/>
            <a:t>Prader</a:t>
          </a:r>
          <a:r>
            <a:rPr lang="pl-PL"/>
            <a:t>-Willi (PWS)</a:t>
          </a:r>
          <a:endParaRPr lang="en-US"/>
        </a:p>
      </dgm:t>
    </dgm:pt>
    <dgm:pt modelId="{67B4CE21-B8A5-4DF1-85E5-F2F8B23F850D}" type="parTrans" cxnId="{419C4287-87FE-480F-B483-DD7365742F67}">
      <dgm:prSet/>
      <dgm:spPr/>
      <dgm:t>
        <a:bodyPr/>
        <a:lstStyle/>
        <a:p>
          <a:endParaRPr lang="pl-PL"/>
        </a:p>
      </dgm:t>
    </dgm:pt>
    <dgm:pt modelId="{1D43DA1B-4DEF-471F-B0E1-9D610D97C1F7}" type="sibTrans" cxnId="{419C4287-87FE-480F-B483-DD7365742F67}">
      <dgm:prSet/>
      <dgm:spPr/>
      <dgm:t>
        <a:bodyPr/>
        <a:lstStyle/>
        <a:p>
          <a:endParaRPr lang="pl-PL"/>
        </a:p>
      </dgm:t>
    </dgm:pt>
    <dgm:pt modelId="{462758D8-5E50-4F09-8370-226CCF736131}" type="pres">
      <dgm:prSet presAssocID="{AFC16798-2960-49F6-AA9D-1A9F68FE9F1E}" presName="diagram" presStyleCnt="0">
        <dgm:presLayoutVars>
          <dgm:dir/>
          <dgm:resizeHandles val="exact"/>
        </dgm:presLayoutVars>
      </dgm:prSet>
      <dgm:spPr/>
    </dgm:pt>
    <dgm:pt modelId="{7F9F3694-5626-4642-8250-350F7817236F}" type="pres">
      <dgm:prSet presAssocID="{AB4C0989-5898-4359-8996-12AFB5000351}" presName="node" presStyleLbl="node1" presStyleIdx="0" presStyleCnt="5">
        <dgm:presLayoutVars>
          <dgm:bulletEnabled val="1"/>
        </dgm:presLayoutVars>
      </dgm:prSet>
      <dgm:spPr/>
    </dgm:pt>
    <dgm:pt modelId="{D6E1412D-8A08-4726-9E25-B251BF27A23E}" type="pres">
      <dgm:prSet presAssocID="{883C39F0-978E-4065-BB15-98E5A78C8689}" presName="sibTrans" presStyleCnt="0"/>
      <dgm:spPr/>
    </dgm:pt>
    <dgm:pt modelId="{62AD35E5-E613-4A22-A4CB-DCF892628DF4}" type="pres">
      <dgm:prSet presAssocID="{09B960E0-B472-44DA-B3D2-CF0BBB2E73BD}" presName="node" presStyleLbl="node1" presStyleIdx="1" presStyleCnt="5">
        <dgm:presLayoutVars>
          <dgm:bulletEnabled val="1"/>
        </dgm:presLayoutVars>
      </dgm:prSet>
      <dgm:spPr/>
    </dgm:pt>
    <dgm:pt modelId="{B7082681-CB11-4AB9-BB9F-340608C9D835}" type="pres">
      <dgm:prSet presAssocID="{1D43DA1B-4DEF-471F-B0E1-9D610D97C1F7}" presName="sibTrans" presStyleCnt="0"/>
      <dgm:spPr/>
    </dgm:pt>
    <dgm:pt modelId="{D02F3111-7538-4030-81D3-8068B2162534}" type="pres">
      <dgm:prSet presAssocID="{04A76E07-44F1-47AB-BEB8-5B8D8A40BCAA}" presName="node" presStyleLbl="node1" presStyleIdx="2" presStyleCnt="5">
        <dgm:presLayoutVars>
          <dgm:bulletEnabled val="1"/>
        </dgm:presLayoutVars>
      </dgm:prSet>
      <dgm:spPr/>
    </dgm:pt>
    <dgm:pt modelId="{60BFB1E6-E411-47D0-BE47-608D53BC2A46}" type="pres">
      <dgm:prSet presAssocID="{73AE6461-3CA6-43E8-88E2-8C064AAF8B23}" presName="sibTrans" presStyleCnt="0"/>
      <dgm:spPr/>
    </dgm:pt>
    <dgm:pt modelId="{C8C34213-0FB8-4795-B674-C91D238B8DE5}" type="pres">
      <dgm:prSet presAssocID="{E1004DD6-A1A2-4A81-986D-1133AF18912A}" presName="node" presStyleLbl="node1" presStyleIdx="3" presStyleCnt="5">
        <dgm:presLayoutVars>
          <dgm:bulletEnabled val="1"/>
        </dgm:presLayoutVars>
      </dgm:prSet>
      <dgm:spPr/>
    </dgm:pt>
    <dgm:pt modelId="{EAEC912B-306D-42BF-A9EB-31DCB7E64CE2}" type="pres">
      <dgm:prSet presAssocID="{F83ADBFF-C8F7-454F-A424-DC618F3876B0}" presName="sibTrans" presStyleCnt="0"/>
      <dgm:spPr/>
    </dgm:pt>
    <dgm:pt modelId="{00168ACE-B1C0-4474-A835-34666E163B2D}" type="pres">
      <dgm:prSet presAssocID="{FCE0055C-D41E-45B7-BDB8-9E0798A46113}" presName="node" presStyleLbl="node1" presStyleIdx="4" presStyleCnt="5">
        <dgm:presLayoutVars>
          <dgm:bulletEnabled val="1"/>
        </dgm:presLayoutVars>
      </dgm:prSet>
      <dgm:spPr/>
    </dgm:pt>
  </dgm:ptLst>
  <dgm:cxnLst>
    <dgm:cxn modelId="{9D504002-A9EA-442B-80FD-B7EE6965494F}" type="presOf" srcId="{AB4C0989-5898-4359-8996-12AFB5000351}" destId="{7F9F3694-5626-4642-8250-350F7817236F}" srcOrd="0" destOrd="0" presId="urn:microsoft.com/office/officeart/2005/8/layout/default"/>
    <dgm:cxn modelId="{F8B1E95D-3338-4DFF-8AB4-7FCC759AFC0C}" type="presOf" srcId="{E1004DD6-A1A2-4A81-986D-1133AF18912A}" destId="{C8C34213-0FB8-4795-B674-C91D238B8DE5}" srcOrd="0" destOrd="0" presId="urn:microsoft.com/office/officeart/2005/8/layout/default"/>
    <dgm:cxn modelId="{2F89EA76-DBB9-4320-B3F6-7F56D77A4287}" type="presOf" srcId="{09B960E0-B472-44DA-B3D2-CF0BBB2E73BD}" destId="{62AD35E5-E613-4A22-A4CB-DCF892628DF4}" srcOrd="0" destOrd="0" presId="urn:microsoft.com/office/officeart/2005/8/layout/default"/>
    <dgm:cxn modelId="{419C4287-87FE-480F-B483-DD7365742F67}" srcId="{AFC16798-2960-49F6-AA9D-1A9F68FE9F1E}" destId="{09B960E0-B472-44DA-B3D2-CF0BBB2E73BD}" srcOrd="1" destOrd="0" parTransId="{67B4CE21-B8A5-4DF1-85E5-F2F8B23F850D}" sibTransId="{1D43DA1B-4DEF-471F-B0E1-9D610D97C1F7}"/>
    <dgm:cxn modelId="{75AED388-8764-4D8C-9538-3029DCF5387F}" type="presOf" srcId="{FCE0055C-D41E-45B7-BDB8-9E0798A46113}" destId="{00168ACE-B1C0-4474-A835-34666E163B2D}" srcOrd="0" destOrd="0" presId="urn:microsoft.com/office/officeart/2005/8/layout/default"/>
    <dgm:cxn modelId="{ACE4B5A7-E534-42A9-8122-38FD58531821}" type="presOf" srcId="{04A76E07-44F1-47AB-BEB8-5B8D8A40BCAA}" destId="{D02F3111-7538-4030-81D3-8068B2162534}" srcOrd="0" destOrd="0" presId="urn:microsoft.com/office/officeart/2005/8/layout/default"/>
    <dgm:cxn modelId="{577BBBB5-0EF3-48D0-B681-55D779F9810C}" srcId="{AFC16798-2960-49F6-AA9D-1A9F68FE9F1E}" destId="{FCE0055C-D41E-45B7-BDB8-9E0798A46113}" srcOrd="4" destOrd="0" parTransId="{D7684C11-6A85-40E2-BF4F-A50E2289E93E}" sibTransId="{AFACBA15-34CC-4452-8870-937DA5CCE294}"/>
    <dgm:cxn modelId="{E85B37CD-DF7B-4436-9506-96794D3405F6}" srcId="{AFC16798-2960-49F6-AA9D-1A9F68FE9F1E}" destId="{AB4C0989-5898-4359-8996-12AFB5000351}" srcOrd="0" destOrd="0" parTransId="{0BEDF33E-041B-421F-BC6E-AE442ABEF127}" sibTransId="{883C39F0-978E-4065-BB15-98E5A78C8689}"/>
    <dgm:cxn modelId="{39DD9FDE-F2BE-4287-845F-7AFD3DA9705D}" srcId="{AFC16798-2960-49F6-AA9D-1A9F68FE9F1E}" destId="{04A76E07-44F1-47AB-BEB8-5B8D8A40BCAA}" srcOrd="2" destOrd="0" parTransId="{C498AB23-14A0-4F32-91DE-61DBEA47651E}" sibTransId="{73AE6461-3CA6-43E8-88E2-8C064AAF8B23}"/>
    <dgm:cxn modelId="{5D6603E0-2BEB-43B9-BFE5-3C4ACA5B1906}" type="presOf" srcId="{AFC16798-2960-49F6-AA9D-1A9F68FE9F1E}" destId="{462758D8-5E50-4F09-8370-226CCF736131}" srcOrd="0" destOrd="0" presId="urn:microsoft.com/office/officeart/2005/8/layout/default"/>
    <dgm:cxn modelId="{1E9942FB-17B9-4DDF-AC3B-8659DD73F0FB}" srcId="{AFC16798-2960-49F6-AA9D-1A9F68FE9F1E}" destId="{E1004DD6-A1A2-4A81-986D-1133AF18912A}" srcOrd="3" destOrd="0" parTransId="{66BAC7FD-3DBC-42B9-8780-78FE8C79E9A5}" sibTransId="{F83ADBFF-C8F7-454F-A424-DC618F3876B0}"/>
    <dgm:cxn modelId="{54E38B7F-D55A-49B1-9472-F10F8C5268A9}" type="presParOf" srcId="{462758D8-5E50-4F09-8370-226CCF736131}" destId="{7F9F3694-5626-4642-8250-350F7817236F}" srcOrd="0" destOrd="0" presId="urn:microsoft.com/office/officeart/2005/8/layout/default"/>
    <dgm:cxn modelId="{3E03803F-46EE-46C5-8ED3-FDB5F6F1090A}" type="presParOf" srcId="{462758D8-5E50-4F09-8370-226CCF736131}" destId="{D6E1412D-8A08-4726-9E25-B251BF27A23E}" srcOrd="1" destOrd="0" presId="urn:microsoft.com/office/officeart/2005/8/layout/default"/>
    <dgm:cxn modelId="{A17E6A4B-E07F-4EFA-98CD-B20BE6424E5C}" type="presParOf" srcId="{462758D8-5E50-4F09-8370-226CCF736131}" destId="{62AD35E5-E613-4A22-A4CB-DCF892628DF4}" srcOrd="2" destOrd="0" presId="urn:microsoft.com/office/officeart/2005/8/layout/default"/>
    <dgm:cxn modelId="{BC2B7A8A-730C-4196-9E52-D30A2AF62218}" type="presParOf" srcId="{462758D8-5E50-4F09-8370-226CCF736131}" destId="{B7082681-CB11-4AB9-BB9F-340608C9D835}" srcOrd="3" destOrd="0" presId="urn:microsoft.com/office/officeart/2005/8/layout/default"/>
    <dgm:cxn modelId="{CAFD139A-05D7-4041-899D-2F791CC54B10}" type="presParOf" srcId="{462758D8-5E50-4F09-8370-226CCF736131}" destId="{D02F3111-7538-4030-81D3-8068B2162534}" srcOrd="4" destOrd="0" presId="urn:microsoft.com/office/officeart/2005/8/layout/default"/>
    <dgm:cxn modelId="{6D332D63-941C-40A2-A670-EA8422202EAD}" type="presParOf" srcId="{462758D8-5E50-4F09-8370-226CCF736131}" destId="{60BFB1E6-E411-47D0-BE47-608D53BC2A46}" srcOrd="5" destOrd="0" presId="urn:microsoft.com/office/officeart/2005/8/layout/default"/>
    <dgm:cxn modelId="{07CC8A1E-F2EA-4B7A-9FAE-157638CA0914}" type="presParOf" srcId="{462758D8-5E50-4F09-8370-226CCF736131}" destId="{C8C34213-0FB8-4795-B674-C91D238B8DE5}" srcOrd="6" destOrd="0" presId="urn:microsoft.com/office/officeart/2005/8/layout/default"/>
    <dgm:cxn modelId="{7985635E-050F-4A2B-9BF3-12C7C9A024D7}" type="presParOf" srcId="{462758D8-5E50-4F09-8370-226CCF736131}" destId="{EAEC912B-306D-42BF-A9EB-31DCB7E64CE2}" srcOrd="7" destOrd="0" presId="urn:microsoft.com/office/officeart/2005/8/layout/default"/>
    <dgm:cxn modelId="{BAC0C527-181D-426F-A767-32EF7C465683}" type="presParOf" srcId="{462758D8-5E50-4F09-8370-226CCF736131}" destId="{00168ACE-B1C0-4474-A835-34666E163B2D}" srcOrd="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FC16798-2960-49F6-AA9D-1A9F68FE9F1E}" type="doc">
      <dgm:prSet loTypeId="urn:microsoft.com/office/officeart/2005/8/layout/default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AB4C0989-5898-4359-8996-12AFB5000351}">
      <dgm:prSet custT="1"/>
      <dgm:spPr/>
      <dgm:t>
        <a:bodyPr/>
        <a:lstStyle/>
        <a:p>
          <a:r>
            <a:rPr lang="pl-PL" sz="2000"/>
            <a:t>Pacjenci dorośli oraz młodzież po zakończeniu terapii promującej wzrastanie</a:t>
          </a:r>
          <a:endParaRPr lang="en-US" sz="2000"/>
        </a:p>
      </dgm:t>
    </dgm:pt>
    <dgm:pt modelId="{883C39F0-978E-4065-BB15-98E5A78C8689}" type="sibTrans" cxnId="{E85B37CD-DF7B-4436-9506-96794D3405F6}">
      <dgm:prSet/>
      <dgm:spPr/>
      <dgm:t>
        <a:bodyPr/>
        <a:lstStyle/>
        <a:p>
          <a:endParaRPr lang="en-US"/>
        </a:p>
      </dgm:t>
    </dgm:pt>
    <dgm:pt modelId="{0BEDF33E-041B-421F-BC6E-AE442ABEF127}" type="parTrans" cxnId="{E85B37CD-DF7B-4436-9506-96794D3405F6}">
      <dgm:prSet/>
      <dgm:spPr/>
      <dgm:t>
        <a:bodyPr/>
        <a:lstStyle/>
        <a:p>
          <a:endParaRPr lang="en-US"/>
        </a:p>
      </dgm:t>
    </dgm:pt>
    <dgm:pt modelId="{462758D8-5E50-4F09-8370-226CCF736131}" type="pres">
      <dgm:prSet presAssocID="{AFC16798-2960-49F6-AA9D-1A9F68FE9F1E}" presName="diagram" presStyleCnt="0">
        <dgm:presLayoutVars>
          <dgm:dir/>
          <dgm:resizeHandles val="exact"/>
        </dgm:presLayoutVars>
      </dgm:prSet>
      <dgm:spPr/>
    </dgm:pt>
    <dgm:pt modelId="{7F9F3694-5626-4642-8250-350F7817236F}" type="pres">
      <dgm:prSet presAssocID="{AB4C0989-5898-4359-8996-12AFB5000351}" presName="node" presStyleLbl="node1" presStyleIdx="0" presStyleCnt="1" custLinFactNeighborX="4586" custLinFactNeighborY="9875">
        <dgm:presLayoutVars>
          <dgm:bulletEnabled val="1"/>
        </dgm:presLayoutVars>
      </dgm:prSet>
      <dgm:spPr/>
    </dgm:pt>
  </dgm:ptLst>
  <dgm:cxnLst>
    <dgm:cxn modelId="{9D504002-A9EA-442B-80FD-B7EE6965494F}" type="presOf" srcId="{AB4C0989-5898-4359-8996-12AFB5000351}" destId="{7F9F3694-5626-4642-8250-350F7817236F}" srcOrd="0" destOrd="0" presId="urn:microsoft.com/office/officeart/2005/8/layout/default"/>
    <dgm:cxn modelId="{E85B37CD-DF7B-4436-9506-96794D3405F6}" srcId="{AFC16798-2960-49F6-AA9D-1A9F68FE9F1E}" destId="{AB4C0989-5898-4359-8996-12AFB5000351}" srcOrd="0" destOrd="0" parTransId="{0BEDF33E-041B-421F-BC6E-AE442ABEF127}" sibTransId="{883C39F0-978E-4065-BB15-98E5A78C8689}"/>
    <dgm:cxn modelId="{5D6603E0-2BEB-43B9-BFE5-3C4ACA5B1906}" type="presOf" srcId="{AFC16798-2960-49F6-AA9D-1A9F68FE9F1E}" destId="{462758D8-5E50-4F09-8370-226CCF736131}" srcOrd="0" destOrd="0" presId="urn:microsoft.com/office/officeart/2005/8/layout/default"/>
    <dgm:cxn modelId="{54E38B7F-D55A-49B1-9472-F10F8C5268A9}" type="presParOf" srcId="{462758D8-5E50-4F09-8370-226CCF736131}" destId="{7F9F3694-5626-4642-8250-350F7817236F}" srcOrd="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F9F3694-5626-4642-8250-350F7817236F}">
      <dsp:nvSpPr>
        <dsp:cNvPr id="0" name=""/>
        <dsp:cNvSpPr/>
      </dsp:nvSpPr>
      <dsp:spPr>
        <a:xfrm>
          <a:off x="3859" y="256530"/>
          <a:ext cx="2089604" cy="1253762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000" kern="1200"/>
            <a:t>Niedostateczne wydzielanie hormonu wzrostu</a:t>
          </a:r>
          <a:endParaRPr lang="en-US" sz="2000" kern="1200"/>
        </a:p>
      </dsp:txBody>
      <dsp:txXfrm>
        <a:off x="3859" y="256530"/>
        <a:ext cx="2089604" cy="1253762"/>
      </dsp:txXfrm>
    </dsp:sp>
    <dsp:sp modelId="{62AD35E5-E613-4A22-A4CB-DCF892628DF4}">
      <dsp:nvSpPr>
        <dsp:cNvPr id="0" name=""/>
        <dsp:cNvSpPr/>
      </dsp:nvSpPr>
      <dsp:spPr>
        <a:xfrm>
          <a:off x="2302424" y="256530"/>
          <a:ext cx="2089604" cy="1253762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000" kern="1200"/>
            <a:t>Zespołu </a:t>
          </a:r>
          <a:r>
            <a:rPr lang="pl-PL" sz="2000" kern="1200" err="1"/>
            <a:t>Prader</a:t>
          </a:r>
          <a:r>
            <a:rPr lang="pl-PL" sz="2000" kern="1200"/>
            <a:t>-Willi (PWS)</a:t>
          </a:r>
          <a:endParaRPr lang="en-US" sz="2000" kern="1200"/>
        </a:p>
      </dsp:txBody>
      <dsp:txXfrm>
        <a:off x="2302424" y="256530"/>
        <a:ext cx="2089604" cy="1253762"/>
      </dsp:txXfrm>
    </dsp:sp>
    <dsp:sp modelId="{D02F3111-7538-4030-81D3-8068B2162534}">
      <dsp:nvSpPr>
        <dsp:cNvPr id="0" name=""/>
        <dsp:cNvSpPr/>
      </dsp:nvSpPr>
      <dsp:spPr>
        <a:xfrm>
          <a:off x="4600989" y="256530"/>
          <a:ext cx="2089604" cy="1253762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000" kern="1200"/>
            <a:t>Dziewczynki z zespołem Turnera (ZT)</a:t>
          </a:r>
          <a:endParaRPr lang="en-US" sz="2000" kern="1200"/>
        </a:p>
      </dsp:txBody>
      <dsp:txXfrm>
        <a:off x="4600989" y="256530"/>
        <a:ext cx="2089604" cy="1253762"/>
      </dsp:txXfrm>
    </dsp:sp>
    <dsp:sp modelId="{C8C34213-0FB8-4795-B674-C91D238B8DE5}">
      <dsp:nvSpPr>
        <dsp:cNvPr id="0" name=""/>
        <dsp:cNvSpPr/>
      </dsp:nvSpPr>
      <dsp:spPr>
        <a:xfrm>
          <a:off x="6899554" y="256530"/>
          <a:ext cx="2089604" cy="1253762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000" kern="1200"/>
            <a:t>Niskorosłość w następstwie SGA lub IUGR</a:t>
          </a:r>
          <a:endParaRPr lang="en-US" sz="2000" kern="1200"/>
        </a:p>
      </dsp:txBody>
      <dsp:txXfrm>
        <a:off x="6899554" y="256530"/>
        <a:ext cx="2089604" cy="1253762"/>
      </dsp:txXfrm>
    </dsp:sp>
    <dsp:sp modelId="{00168ACE-B1C0-4474-A835-34666E163B2D}">
      <dsp:nvSpPr>
        <dsp:cNvPr id="0" name=""/>
        <dsp:cNvSpPr/>
      </dsp:nvSpPr>
      <dsp:spPr>
        <a:xfrm>
          <a:off x="9198119" y="256530"/>
          <a:ext cx="2089604" cy="1253762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000" kern="1200"/>
            <a:t>Dzieci z przewlekłą niewydolnością nerek (PNN)</a:t>
          </a:r>
          <a:endParaRPr lang="en-US" sz="2000" kern="1200"/>
        </a:p>
      </dsp:txBody>
      <dsp:txXfrm>
        <a:off x="9198119" y="256530"/>
        <a:ext cx="2089604" cy="125376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F9F3694-5626-4642-8250-350F7817236F}">
      <dsp:nvSpPr>
        <dsp:cNvPr id="0" name=""/>
        <dsp:cNvSpPr/>
      </dsp:nvSpPr>
      <dsp:spPr>
        <a:xfrm>
          <a:off x="4308716" y="308"/>
          <a:ext cx="2944192" cy="1766515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000" kern="1200"/>
            <a:t>Pacjenci dorośli oraz młodzież po zakończeniu terapii promującej wzrastanie</a:t>
          </a:r>
          <a:endParaRPr lang="en-US" sz="2000" kern="1200"/>
        </a:p>
      </dsp:txBody>
      <dsp:txXfrm>
        <a:off x="4308716" y="308"/>
        <a:ext cx="2944192" cy="176651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5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0D53B4-B4FE-442B-BCF3-9023F49641CC}" type="datetimeFigureOut">
              <a:rPr lang="en-US" sz="1050" smtClean="0"/>
              <a:t>3/27/2025</a:t>
            </a:fld>
            <a:endParaRPr lang="en-US" sz="105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6553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5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846553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E3EEC0-60C9-482C-B113-4433E60F7642}" type="slidenum">
              <a:rPr lang="en-US" sz="1050" smtClean="0"/>
              <a:t>‹#›</a:t>
            </a:fld>
            <a:endParaRPr lang="en-US" sz="1050"/>
          </a:p>
        </p:txBody>
      </p:sp>
    </p:spTree>
    <p:extLst>
      <p:ext uri="{BB962C8B-B14F-4D97-AF65-F5344CB8AC3E}">
        <p14:creationId xmlns:p14="http://schemas.microsoft.com/office/powerpoint/2010/main" val="126256042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36588" y="327025"/>
            <a:ext cx="5584825" cy="31432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1" y="9031307"/>
            <a:ext cx="6856413" cy="2809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5F8523C-8729-40F0-9536-D6C4CA3AD2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1"/>
          <p:cNvSpPr>
            <a:spLocks noGrp="1"/>
          </p:cNvSpPr>
          <p:nvPr>
            <p:ph type="body" sz="quarter" idx="3"/>
          </p:nvPr>
        </p:nvSpPr>
        <p:spPr>
          <a:xfrm>
            <a:off x="685800" y="3677035"/>
            <a:ext cx="5486400" cy="523904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48429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174625" indent="-174625" algn="l" defTabSz="914400" rtl="0" eaLnBrk="1" latinLnBrk="0" hangingPunct="1">
      <a:lnSpc>
        <a:spcPct val="90000"/>
      </a:lnSpc>
      <a:spcBef>
        <a:spcPts val="1200"/>
      </a:spcBef>
      <a:buClrTx/>
      <a:buSzPct val="100000"/>
      <a:buFont typeface="Arial" panose="020B0604020202020204" pitchFamily="34" charset="0"/>
      <a:buChar char="•"/>
      <a:tabLst/>
      <a:defRPr lang="en-US" sz="1200" kern="1200" dirty="0" smtClean="0">
        <a:solidFill>
          <a:schemeClr val="tx1"/>
        </a:solidFill>
        <a:effectLst/>
        <a:latin typeface="+mn-lt"/>
        <a:ea typeface="+mn-ea"/>
        <a:cs typeface="+mn-cs"/>
      </a:defRPr>
    </a:lvl1pPr>
    <a:lvl2pPr marL="339725" indent="-114300" algn="l" defTabSz="914400" rtl="0" eaLnBrk="1" latinLnBrk="0" hangingPunct="1">
      <a:lnSpc>
        <a:spcPct val="90000"/>
      </a:lnSpc>
      <a:spcBef>
        <a:spcPts val="600"/>
      </a:spcBef>
      <a:buClrTx/>
      <a:buFont typeface="Arial" panose="020B0604020202020204" pitchFamily="34" charset="0"/>
      <a:buChar char="•"/>
      <a:defRPr lang="en-US" sz="1100" kern="1200" dirty="0" smtClean="0">
        <a:solidFill>
          <a:schemeClr val="tx1"/>
        </a:solidFill>
        <a:effectLst/>
        <a:latin typeface="+mn-lt"/>
        <a:ea typeface="+mn-ea"/>
        <a:cs typeface="+mn-cs"/>
      </a:defRPr>
    </a:lvl2pPr>
    <a:lvl3pPr marL="517525" indent="-119063" algn="l" defTabSz="914400" rtl="0" eaLnBrk="1" latinLnBrk="0" hangingPunct="1">
      <a:lnSpc>
        <a:spcPct val="90000"/>
      </a:lnSpc>
      <a:spcBef>
        <a:spcPts val="300"/>
      </a:spcBef>
      <a:buClrTx/>
      <a:buFont typeface="Arial" panose="020B0604020202020204" pitchFamily="34" charset="0"/>
      <a:buChar char="•"/>
      <a:defRPr lang="en-US" sz="1000" kern="1200" dirty="0" smtClean="0">
        <a:solidFill>
          <a:schemeClr val="tx1"/>
        </a:solidFill>
        <a:effectLst/>
        <a:latin typeface="+mn-lt"/>
        <a:ea typeface="+mn-ea"/>
        <a:cs typeface="+mn-cs"/>
      </a:defRPr>
    </a:lvl3pPr>
    <a:lvl4pPr marL="682625" indent="-114300" algn="l" defTabSz="914400" rtl="0" eaLnBrk="1" latinLnBrk="0" hangingPunct="1">
      <a:lnSpc>
        <a:spcPct val="90000"/>
      </a:lnSpc>
      <a:spcBef>
        <a:spcPts val="200"/>
      </a:spcBef>
      <a:buClrTx/>
      <a:buFont typeface="Arial" panose="020B0604020202020204" pitchFamily="34" charset="0"/>
      <a:buChar char="•"/>
      <a:defRPr lang="en-US" sz="900" kern="1200" dirty="0" smtClean="0">
        <a:solidFill>
          <a:schemeClr val="tx1"/>
        </a:solidFill>
        <a:effectLst/>
        <a:latin typeface="+mn-lt"/>
        <a:ea typeface="+mn-ea"/>
        <a:cs typeface="+mn-cs"/>
      </a:defRPr>
    </a:lvl4pPr>
    <a:lvl5pPr marL="860425" indent="-114300" algn="l" defTabSz="914400" rtl="0" eaLnBrk="1" latinLnBrk="0" hangingPunct="1">
      <a:lnSpc>
        <a:spcPct val="90000"/>
      </a:lnSpc>
      <a:spcBef>
        <a:spcPts val="100"/>
      </a:spcBef>
      <a:buClrTx/>
      <a:buSzPct val="100000"/>
      <a:buFont typeface="Arial" panose="020B0604020202020204" pitchFamily="34" charset="0"/>
      <a:buChar char="•"/>
      <a:defRPr lang="en-US" sz="800" kern="1200" dirty="0">
        <a:solidFill>
          <a:schemeClr val="tx1"/>
        </a:solidFill>
        <a:effectLst/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990397BB-F117-799D-A0E2-9FC12F591C1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F618AF43-0E9C-AA42-157F-89C0A101B36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buNone/>
            </a:pPr>
            <a:endParaRPr lang="pl-PL" sz="1200" b="0" i="0">
              <a:solidFill>
                <a:srgbClr val="111111"/>
              </a:solidFill>
              <a:effectLst/>
              <a:latin typeface="-apple-system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E252561-97FC-4422-5CF5-17D9598D34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CD9BB1-553A-4280-B031-AA08092A6889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38000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pl-PL"/>
          </a:p>
          <a:p>
            <a:pPr marL="0" indent="0"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99595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58990D-1CF0-7660-7C8D-887654C07A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2398682-1D3D-2C96-FE2E-3E3FD721B4A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014AAA6-6695-97BD-2F9B-204E9D5571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6F70B4-7F0E-80A0-9EF1-F38E096D07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94485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B6C30B-432A-8C70-82FA-E866820A99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7642DE7-FAB4-815B-61D6-C9D750BA745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CA2672D-4C30-48C0-62A6-9B5CA1A877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355BD9-F36E-EFC5-9992-60DBB1753F6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28562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94C174-50D8-5499-EA21-081CD0C82F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3DC3ED5-ACEF-18EE-C002-CCF18325F89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7BAA5A7-07F3-777B-07A2-ADD28BE50B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8D27FB-E294-26C8-EB51-3915A5D9569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59520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5EC0E1-119D-B775-3E05-538F547EC4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76E78D7-B3CD-C63A-BA83-4ED5FBC680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D42F326-0C07-7529-B014-7366678EFEB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2DACBE-B10C-B6DD-C3CB-46567BE442A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49061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6.emf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slide" Target="../slides/slide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slide" Target="../slides/slide5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png"/><Relationship Id="rId4" Type="http://schemas.openxmlformats.org/officeDocument/2006/relationships/image" Target="../media/image15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slide" Target="../slides/slide12.xml"/><Relationship Id="rId4" Type="http://schemas.openxmlformats.org/officeDocument/2006/relationships/slide" Target="../slides/slide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slide" Target="../slides/slide12.xml"/><Relationship Id="rId4" Type="http://schemas.openxmlformats.org/officeDocument/2006/relationships/slide" Target="../slides/slide5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png"/><Relationship Id="rId4" Type="http://schemas.openxmlformats.org/officeDocument/2006/relationships/image" Target="../media/image15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slide" Target="../slides/slide12.xml"/><Relationship Id="rId4" Type="http://schemas.openxmlformats.org/officeDocument/2006/relationships/slide" Target="../slides/slide5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slide" Target="../slides/slide12.xml"/><Relationship Id="rId4" Type="http://schemas.openxmlformats.org/officeDocument/2006/relationships/slide" Target="../slides/slide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png"/><Relationship Id="rId4" Type="http://schemas.openxmlformats.org/officeDocument/2006/relationships/image" Target="../media/image15.sv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slide" Target="../slides/slide12.xml"/><Relationship Id="rId4" Type="http://schemas.openxmlformats.org/officeDocument/2006/relationships/slide" Target="../slides/slide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slide" Target="../slides/slide12.xml"/><Relationship Id="rId4" Type="http://schemas.openxmlformats.org/officeDocument/2006/relationships/slide" Target="../slides/slide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png"/><Relationship Id="rId4" Type="http://schemas.openxmlformats.org/officeDocument/2006/relationships/image" Target="../media/image15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slide" Target="../slides/slide12.xml"/><Relationship Id="rId4" Type="http://schemas.openxmlformats.org/officeDocument/2006/relationships/slide" Target="../slides/slide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slide" Target="../slides/slide12.xml"/><Relationship Id="rId4" Type="http://schemas.openxmlformats.org/officeDocument/2006/relationships/slide" Target="../slides/slide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png"/><Relationship Id="rId4" Type="http://schemas.openxmlformats.org/officeDocument/2006/relationships/image" Target="../media/image15.sv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slide" Target="../slides/slide12.xml"/><Relationship Id="rId4" Type="http://schemas.openxmlformats.org/officeDocument/2006/relationships/slide" Target="../slides/slide5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slide" Target="../slides/slide12.xml"/><Relationship Id="rId4" Type="http://schemas.openxmlformats.org/officeDocument/2006/relationships/slide" Target="../slides/slide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png"/><Relationship Id="rId4" Type="http://schemas.openxmlformats.org/officeDocument/2006/relationships/image" Target="../media/image15.sv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slide" Target="../slides/slide12.xml"/><Relationship Id="rId4" Type="http://schemas.openxmlformats.org/officeDocument/2006/relationships/slide" Target="../slides/slide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slide" Target="../slides/slide12.xml"/><Relationship Id="rId4" Type="http://schemas.openxmlformats.org/officeDocument/2006/relationships/slide" Target="../slides/slide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png"/><Relationship Id="rId4" Type="http://schemas.openxmlformats.org/officeDocument/2006/relationships/image" Target="../media/image15.sv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slide" Target="../slides/slide12.xml"/><Relationship Id="rId4" Type="http://schemas.openxmlformats.org/officeDocument/2006/relationships/slide" Target="../slides/slide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slide" Target="../slides/slide12.xml"/><Relationship Id="rId4" Type="http://schemas.openxmlformats.org/officeDocument/2006/relationships/slide" Target="../slides/slide5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png"/><Relationship Id="rId4" Type="http://schemas.openxmlformats.org/officeDocument/2006/relationships/image" Target="../media/image15.sv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slide" Target="../slides/slide12.xml"/><Relationship Id="rId4" Type="http://schemas.openxmlformats.org/officeDocument/2006/relationships/slide" Target="../slides/slide5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slide" Target="../slides/slide12.xml"/><Relationship Id="rId4" Type="http://schemas.openxmlformats.org/officeDocument/2006/relationships/slide" Target="../slides/slide5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png"/><Relationship Id="rId4" Type="http://schemas.openxmlformats.org/officeDocument/2006/relationships/image" Target="../media/image15.sv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slide" Target="../slides/slide5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slide" Target="../slides/slide5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png"/><Relationship Id="rId4" Type="http://schemas.openxmlformats.org/officeDocument/2006/relationships/image" Target="../media/image15.sv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slide" Target="../slides/slide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slide" Target="../slides/slide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png"/><Relationship Id="rId4" Type="http://schemas.openxmlformats.org/officeDocument/2006/relationships/image" Target="../media/image15.sv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slide" Target="../slides/slide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3D wave in pink and blue&#10;&#10;Description automatically generated">
            <a:extLst>
              <a:ext uri="{FF2B5EF4-FFF2-40B4-BE49-F238E27FC236}">
                <a16:creationId xmlns:a16="http://schemas.microsoft.com/office/drawing/2014/main" id="{B203190B-62DF-BD24-C671-EE555E220A8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893"/>
            <a:ext cx="12190296" cy="685704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AB86E2D-6F15-4F13-C1C6-2F4A77C9F08D}"/>
              </a:ext>
            </a:extLst>
          </p:cNvPr>
          <p:cNvSpPr/>
          <p:nvPr userDrawn="1"/>
        </p:nvSpPr>
        <p:spPr>
          <a:xfrm>
            <a:off x="0" y="0"/>
            <a:ext cx="5082988" cy="6858000"/>
          </a:xfrm>
          <a:prstGeom prst="rect">
            <a:avLst/>
          </a:prstGeom>
          <a:solidFill>
            <a:schemeClr val="bg1">
              <a:alpha val="6971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49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48057" y="923544"/>
            <a:ext cx="4233672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399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48057" y="3849624"/>
            <a:ext cx="4233672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799">
                <a:solidFill>
                  <a:schemeClr val="tx1"/>
                </a:solidFill>
                <a:latin typeface="+mn-lt"/>
              </a:defRPr>
            </a:lvl1pPr>
            <a:lvl2pPr marL="399930" indent="0">
              <a:buNone/>
              <a:defRPr/>
            </a:lvl2pPr>
            <a:lvl3pPr marL="742727" indent="0">
              <a:buNone/>
              <a:defRPr/>
            </a:lvl3pPr>
            <a:lvl4pPr marL="1095046" indent="0">
              <a:buNone/>
              <a:defRPr/>
            </a:lvl4pPr>
            <a:lvl5pPr marL="136960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1"/>
          </p:nvPr>
        </p:nvSpPr>
        <p:spPr bwMode="gray">
          <a:xfrm>
            <a:off x="448057" y="4974336"/>
            <a:ext cx="4233672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1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36" tIns="121836" rIns="121836" bIns="121836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6"/>
          </a:p>
        </p:txBody>
      </p:sp>
      <p:sp>
        <p:nvSpPr>
          <p:cNvPr id="55" name="Slide Number Placeholder 5">
            <a:extLst>
              <a:ext uri="{FF2B5EF4-FFF2-40B4-BE49-F238E27FC236}">
                <a16:creationId xmlns:a16="http://schemas.microsoft.com/office/drawing/2014/main" id="{F466006E-96B1-4AD4-A9B9-84F544D50C4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56" name="Google Shape;52;p7">
            <a:extLst>
              <a:ext uri="{FF2B5EF4-FFF2-40B4-BE49-F238E27FC236}">
                <a16:creationId xmlns:a16="http://schemas.microsoft.com/office/drawing/2014/main" id="{AFCE843F-1B48-4C3C-93F6-0D539F7C7FBC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rgbClr val="A1AAB1"/>
                </a:solidFill>
              </a:rPr>
              <a:t>Confidential</a:t>
            </a:r>
            <a:endParaRPr sz="800" b="1">
              <a:solidFill>
                <a:srgbClr val="A1AAB1"/>
              </a:solidFill>
            </a:endParaRPr>
          </a:p>
        </p:txBody>
      </p:sp>
      <p:sp>
        <p:nvSpPr>
          <p:cNvPr id="57" name="Text Placeholder 3">
            <a:extLst>
              <a:ext uri="{FF2B5EF4-FFF2-40B4-BE49-F238E27FC236}">
                <a16:creationId xmlns:a16="http://schemas.microsoft.com/office/drawing/2014/main" id="{70E02DB8-7DF9-4D61-B849-4927B0A5751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>
                <a:solidFill>
                  <a:srgbClr val="0000C9"/>
                </a:solidFill>
              </a:rPr>
              <a:t>Breakthroughs that change patients’ lives</a:t>
            </a:r>
          </a:p>
        </p:txBody>
      </p:sp>
      <p:pic>
        <p:nvPicPr>
          <p:cNvPr id="58" name="Google Shape;53;p7">
            <a:extLst>
              <a:ext uri="{FF2B5EF4-FFF2-40B4-BE49-F238E27FC236}">
                <a16:creationId xmlns:a16="http://schemas.microsoft.com/office/drawing/2014/main" id="{CB49B02A-070A-482A-AACD-303DFF77F18F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4"/>
            <a:ext cx="914400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480143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7" y="236829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6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3383280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64FB57-BAFB-4669-B9D9-AAA93D307B4A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057" y="447141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D80B37F4-BA1F-4599-9BF4-169E2382E79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056" y="391363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143789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7" y="236829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6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8F3BDE-5536-412E-9331-650A7E2E8AB3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057" y="447141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6466D6BA-4968-4105-B0D7-E7BD687A80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056" y="391402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70E3D72-4322-4600-80EE-32F1EA906711}"/>
              </a:ext>
            </a:extLst>
          </p:cNvPr>
          <p:cNvSpPr>
            <a:spLocks noGrp="1"/>
          </p:cNvSpPr>
          <p:nvPr>
            <p:ph idx="22"/>
          </p:nvPr>
        </p:nvSpPr>
        <p:spPr bwMode="gray">
          <a:xfrm>
            <a:off x="6262957" y="447141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FA8F5A1-9096-48CF-8981-DA7C92908DC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62957" y="391402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174808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l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599"/>
            </a:lvl1pPr>
            <a:lvl2pPr marL="461824" indent="-233293">
              <a:defRPr sz="3199"/>
            </a:lvl2pPr>
            <a:lvl3pPr marL="737967" indent="-225357">
              <a:defRPr sz="2799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307309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ld Statem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448055" y="1801368"/>
            <a:ext cx="11292840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599">
                <a:solidFill>
                  <a:schemeClr val="bg1"/>
                </a:solidFill>
              </a:defRPr>
            </a:lvl1pPr>
            <a:lvl2pPr marL="461824" indent="-233293">
              <a:defRPr sz="3199">
                <a:solidFill>
                  <a:schemeClr val="bg1"/>
                </a:solidFill>
              </a:defRPr>
            </a:lvl2pPr>
            <a:lvl3pPr marL="737967" indent="-225357">
              <a:defRPr sz="2799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Google Shape;311;p30">
            <a:extLst>
              <a:ext uri="{FF2B5EF4-FFF2-40B4-BE49-F238E27FC236}">
                <a16:creationId xmlns:a16="http://schemas.microsoft.com/office/drawing/2014/main" id="{90C4AA53-0CE6-42BF-A73D-4ABB5CCDDA5E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66" b="1866"/>
          <a:stretch/>
        </p:blipFill>
        <p:spPr bwMode="invGray">
          <a:xfrm>
            <a:off x="446798" y="6346664"/>
            <a:ext cx="914400" cy="37181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F4F9877C-A82F-4B6B-BD9C-066CF647CE7A}"/>
              </a:ext>
            </a:extLst>
          </p:cNvPr>
          <p:cNvGrpSpPr/>
          <p:nvPr userDrawn="1"/>
        </p:nvGrpSpPr>
        <p:grpSpPr bwMode="black">
          <a:xfrm>
            <a:off x="446799" y="326296"/>
            <a:ext cx="587631" cy="45600"/>
            <a:chOff x="616542" y="591197"/>
            <a:chExt cx="587631" cy="45600"/>
          </a:xfrm>
          <a:solidFill>
            <a:schemeClr val="bg1"/>
          </a:solidFill>
        </p:grpSpPr>
        <p:sp>
          <p:nvSpPr>
            <p:cNvPr id="6" name="Google Shape;17;p2">
              <a:extLst>
                <a:ext uri="{FF2B5EF4-FFF2-40B4-BE49-F238E27FC236}">
                  <a16:creationId xmlns:a16="http://schemas.microsoft.com/office/drawing/2014/main" id="{E37A9FAD-22CF-483D-BFEE-A660FD0A10AC}"/>
                </a:ext>
              </a:extLst>
            </p:cNvPr>
            <p:cNvSpPr/>
            <p:nvPr userDrawn="1"/>
          </p:nvSpPr>
          <p:spPr bwMode="black">
            <a:xfrm>
              <a:off x="616542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6"/>
            </a:p>
          </p:txBody>
        </p:sp>
        <p:sp>
          <p:nvSpPr>
            <p:cNvPr id="7" name="Google Shape;18;p2">
              <a:extLst>
                <a:ext uri="{FF2B5EF4-FFF2-40B4-BE49-F238E27FC236}">
                  <a16:creationId xmlns:a16="http://schemas.microsoft.com/office/drawing/2014/main" id="{03F89CAE-CCC7-471C-BADA-2585024AD7C1}"/>
                </a:ext>
              </a:extLst>
            </p:cNvPr>
            <p:cNvSpPr/>
            <p:nvPr userDrawn="1"/>
          </p:nvSpPr>
          <p:spPr bwMode="black">
            <a:xfrm>
              <a:off x="910250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6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904B2BB-C8F1-419C-B295-DA30917AB8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sz="8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00AEBF66-5FB7-44F3-9514-9E7517B063CF}"/>
              </a:ext>
            </a:extLst>
          </p:cNvPr>
          <p:cNvSpPr txBox="1"/>
          <p:nvPr userDrawn="1"/>
        </p:nvSpPr>
        <p:spPr bwMode="auto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bg1"/>
                </a:solidFill>
              </a:rPr>
              <a:t>Confidential</a:t>
            </a:r>
            <a:endParaRPr sz="800" b="1">
              <a:solidFill>
                <a:schemeClr val="bg1"/>
              </a:solidFill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D3DC3BA-3E54-47E4-A501-F4F0AEBBDF35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1">
                <a:solidFill>
                  <a:schemeClr val="bg1"/>
                </a:solidFill>
              </a:rPr>
              <a:t>Business Group</a:t>
            </a:r>
            <a:r>
              <a:rPr lang="en-US" sz="800" b="0">
                <a:solidFill>
                  <a:schemeClr val="bg1"/>
                </a:solidFill>
              </a:rPr>
              <a:t>  Business Subgrou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419491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ent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8010D9A-45C6-7B54-6CD4-7C60828105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159127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010D9A-45C6-7B54-6CD4-7C6082810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AC2EEF2-59E6-D992-E14D-9163981F06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830" y="184151"/>
            <a:ext cx="11055645" cy="673100"/>
          </a:xfrm>
        </p:spPr>
        <p:txBody>
          <a:bodyPr vert="horz" lIns="0" rIns="0" anchor="b">
            <a:normAutofit/>
          </a:bodyPr>
          <a:lstStyle>
            <a:lvl1pPr rtl="0">
              <a:defRPr sz="2798" b="1"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4E4553-2F4C-EFDA-B0A3-15DB6FB48B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1830" y="1543053"/>
            <a:ext cx="11055645" cy="4633913"/>
          </a:xfrm>
        </p:spPr>
        <p:txBody>
          <a:bodyPr lIns="0" rIns="0">
            <a:normAutofit/>
          </a:bodyPr>
          <a:lstStyle>
            <a:lvl1pPr marL="0" indent="0" rtl="0">
              <a:buClr>
                <a:srgbClr val="0095FF"/>
              </a:buClr>
              <a:buFontTx/>
              <a:buNone/>
              <a:defRPr sz="160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rtl="0">
              <a:buClrTx/>
              <a:defRPr sz="140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rtl="0">
              <a:buClrTx/>
              <a:defRPr sz="120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rtl="0">
              <a:buClrTx/>
              <a:defRPr sz="110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rtl="0">
              <a:buClrTx/>
              <a:defRPr sz="110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3E8C410-6FF6-E4B9-93D4-6C6160662DD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1830" y="857252"/>
            <a:ext cx="11055645" cy="466724"/>
          </a:xfrm>
        </p:spPr>
        <p:txBody>
          <a:bodyPr lIns="0" rIns="0">
            <a:noAutofit/>
          </a:bodyPr>
          <a:lstStyle>
            <a:lvl1pPr marL="0" indent="0" rtl="0">
              <a:buFontTx/>
              <a:buNone/>
              <a:defRPr sz="1798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456926" indent="0">
              <a:buFontTx/>
              <a:buNone/>
              <a:defRPr/>
            </a:lvl2pPr>
            <a:lvl3pPr marL="913852" indent="0">
              <a:buFontTx/>
              <a:buNone/>
              <a:defRPr/>
            </a:lvl3pPr>
            <a:lvl4pPr marL="1370778" indent="0">
              <a:buFontTx/>
              <a:buNone/>
              <a:defRPr/>
            </a:lvl4pPr>
            <a:lvl5pPr marL="1827703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16CCB9E-1235-443A-9197-D575E1EA5A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1829" y="68734"/>
            <a:ext cx="5380224" cy="230832"/>
          </a:xfrm>
        </p:spPr>
        <p:txBody>
          <a:bodyPr lIns="0" rIns="0">
            <a:spAutoFit/>
          </a:bodyPr>
          <a:lstStyle>
            <a:lvl1pPr marL="0" indent="0" rtl="0">
              <a:buNone/>
              <a:defRPr sz="100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456926" indent="0">
              <a:buNone/>
              <a:defRPr sz="1000"/>
            </a:lvl2pPr>
            <a:lvl3pPr marL="913852" indent="0">
              <a:buNone/>
              <a:defRPr sz="10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C9CD3ED-552E-E0FC-8839-3802A354C30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242765" y="6490304"/>
            <a:ext cx="3700122" cy="297750"/>
          </a:xfrm>
          <a:prstGeom prst="rect">
            <a:avLst/>
          </a:prstGeom>
        </p:spPr>
        <p:txBody>
          <a:bodyPr wrap="square" lIns="45684" tIns="45684" rIns="45684" bIns="45684" rtlCol="0">
            <a:spAutoFit/>
          </a:bodyPr>
          <a:lstStyle/>
          <a:p>
            <a:pPr marL="0" indent="0" algn="ctr" rtl="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</a:pPr>
            <a:r>
              <a:rPr lang="en-US" sz="600">
                <a:solidFill>
                  <a:srgbClr val="5F5F5F"/>
                </a:solidFill>
              </a:rPr>
              <a:t>DRAFT – SUBJECT TO FURTHER REVIEW. </a:t>
            </a:r>
          </a:p>
          <a:p>
            <a:pPr marL="0" indent="0" algn="ctr" rtl="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</a:pPr>
            <a:r>
              <a:rPr lang="en-US" sz="600">
                <a:solidFill>
                  <a:srgbClr val="5F5F5F"/>
                </a:solidFill>
              </a:rPr>
              <a:t>PFIZER CONFIDENTIAL &amp; PROPRIETARY. INTERNAL USE ONLY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BA40210-DEA8-6101-7387-9451FC0EF60B}"/>
              </a:ext>
            </a:extLst>
          </p:cNvPr>
          <p:cNvSpPr txBox="1"/>
          <p:nvPr userDrawn="1"/>
        </p:nvSpPr>
        <p:spPr>
          <a:xfrm>
            <a:off x="10658720" y="6490304"/>
            <a:ext cx="958755" cy="204134"/>
          </a:xfrm>
          <a:prstGeom prst="rect">
            <a:avLst/>
          </a:prstGeom>
        </p:spPr>
        <p:txBody>
          <a:bodyPr wrap="square" lIns="45684" tIns="45684" rIns="45684" bIns="45684" rtlCol="0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600">
                <a:solidFill>
                  <a:srgbClr val="5F5F5F"/>
                </a:solidFill>
              </a:defRPr>
            </a:lvl1pPr>
          </a:lstStyle>
          <a:p>
            <a:pPr lvl="0" algn="r" rtl="0"/>
            <a:fld id="{EBA3B0A3-947B-4A5B-9887-42FDB79F04D2}" type="slidenum">
              <a:rPr lang="en-US" sz="800" noProof="0" smtClean="0"/>
              <a:pPr lvl="0" algn="r" rtl="0"/>
              <a:t>‹#›</a:t>
            </a:fld>
            <a:endParaRPr lang="en-US" sz="800" noProof="0"/>
          </a:p>
        </p:txBody>
      </p:sp>
    </p:spTree>
    <p:extLst>
      <p:ext uri="{BB962C8B-B14F-4D97-AF65-F5344CB8AC3E}">
        <p14:creationId xmlns:p14="http://schemas.microsoft.com/office/powerpoint/2010/main" val="41802614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6">
            <a:extLst>
              <a:ext uri="{FF2B5EF4-FFF2-40B4-BE49-F238E27FC236}">
                <a16:creationId xmlns:a16="http://schemas.microsoft.com/office/drawing/2014/main" id="{E124F571-6FC4-F49D-EACA-C6A78832D0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0246" y="615429"/>
            <a:ext cx="9184408" cy="381160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196" b="1" kern="1200" spc="-25" dirty="0">
                <a:solidFill>
                  <a:schemeClr val="bg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Slide Number Placeholder 13">
            <a:extLst>
              <a:ext uri="{FF2B5EF4-FFF2-40B4-BE49-F238E27FC236}">
                <a16:creationId xmlns:a16="http://schemas.microsoft.com/office/drawing/2014/main" id="{91BD0C0B-A98D-5936-804D-A5476E8CF14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36116" y="6515104"/>
            <a:ext cx="1143238" cy="15388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fizer Diatype Medium" panose="020B0504040202060203" pitchFamily="34" charset="0"/>
              </a:defRPr>
            </a:lvl1pPr>
          </a:lstStyle>
          <a:p>
            <a:fld id="{2B39012A-6F33-204B-8224-A57BEFB0AAD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4CEA907-6F56-E6DB-B767-45FE06E4969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2121" y="6408420"/>
            <a:ext cx="727940" cy="29718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BD7A029-15D9-FE7B-FD83-A16805E7FA0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8882035" y="6519449"/>
            <a:ext cx="2356996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rtl="0"/>
            <a:r>
              <a:rPr lang="en-US" sz="700" b="0" i="0" kern="1200">
                <a:solidFill>
                  <a:schemeClr val="bg1"/>
                </a:solidFill>
                <a:latin typeface="Pfizer Diatype Medium" panose="020B0504040202060203" pitchFamily="34" charset="0"/>
                <a:ea typeface="+mn-ea"/>
                <a:cs typeface="+mn-cs"/>
              </a:rPr>
              <a:t>Pfizer 2024 | 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228029197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7B24C56-920F-2B18-DB34-7C7F9032B7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Pfizer Diatype Medium" panose="020B0504040202060203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6">
            <a:extLst>
              <a:ext uri="{FF2B5EF4-FFF2-40B4-BE49-F238E27FC236}">
                <a16:creationId xmlns:a16="http://schemas.microsoft.com/office/drawing/2014/main" id="{489E405B-0B26-17CF-37C3-F54FFF4BE8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0245" y="615429"/>
            <a:ext cx="10998772" cy="46615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en-US" sz="2697" b="1" kern="1200" spc="-25" dirty="0">
                <a:solidFill>
                  <a:schemeClr val="accent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Headline Here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9ED763F9-86FB-50D0-2494-390619CE80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006" y="1043047"/>
            <a:ext cx="10998664" cy="45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798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1pPr>
            <a:lvl2pPr>
              <a:defRPr lang="en-US" sz="1798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798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798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798" b="0" kern="1200" spc="-25" dirty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FBE6B15-71EC-73AC-3FD6-04E249DBDF2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80005" y="5926784"/>
            <a:ext cx="10998664" cy="347472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228462" indent="-228462" algn="l" defTabSz="913852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21" algn="r"/>
                <a:tab pos="228462" algn="l"/>
              </a:tabLst>
              <a:defRPr lang="en-US" sz="950" kern="1200" dirty="0">
                <a:solidFill>
                  <a:srgbClr val="02005E"/>
                </a:solidFill>
                <a:latin typeface="Pfizer Diatype" panose="020B0504040202060203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9687209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7B24C56-920F-2B18-DB34-7C7F9032B7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Pfizer Diatype Medium" panose="020B0504040202060203" pitchFamily="34" charset="0"/>
              </a:defRPr>
            </a:lvl1pPr>
          </a:lstStyle>
          <a:p>
            <a:endParaRPr lang="en-US"/>
          </a:p>
          <a:p>
            <a:endParaRPr lang="en-US"/>
          </a:p>
        </p:txBody>
      </p:sp>
      <p:sp>
        <p:nvSpPr>
          <p:cNvPr id="9" name="Title 6">
            <a:extLst>
              <a:ext uri="{FF2B5EF4-FFF2-40B4-BE49-F238E27FC236}">
                <a16:creationId xmlns:a16="http://schemas.microsoft.com/office/drawing/2014/main" id="{489E405B-0B26-17CF-37C3-F54FFF4BE8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0245" y="615429"/>
            <a:ext cx="10998772" cy="46615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en-US" sz="2697" b="1" kern="1200" spc="-25" dirty="0">
                <a:solidFill>
                  <a:schemeClr val="accent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Headline Here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9ED763F9-86FB-50D0-2494-390619CE80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006" y="1043047"/>
            <a:ext cx="10998664" cy="45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798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1pPr>
            <a:lvl2pPr>
              <a:defRPr lang="en-US" sz="1798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798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798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798" b="0" kern="1200" spc="-25" dirty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FBE6B15-71EC-73AC-3FD6-04E249DBDF2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80005" y="5926784"/>
            <a:ext cx="10998664" cy="347472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228462" indent="-228462" algn="l" defTabSz="913852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21" algn="r"/>
                <a:tab pos="228462" algn="l"/>
              </a:tabLst>
              <a:defRPr lang="en-US" sz="950" kern="1200" dirty="0">
                <a:solidFill>
                  <a:srgbClr val="02005E"/>
                </a:solidFill>
                <a:latin typeface="Pfizer Diatype" panose="020B0504040202060203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10398830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7B24C56-920F-2B18-DB34-7C7F9032B7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Pfizer Diatype Medium" panose="020B0504040202060203" pitchFamily="34" charset="0"/>
              </a:defRPr>
            </a:lvl1pPr>
          </a:lstStyle>
          <a:p>
            <a:fld id="{2B39012A-6F33-204B-8224-A57BEFB0AAD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6">
            <a:extLst>
              <a:ext uri="{FF2B5EF4-FFF2-40B4-BE49-F238E27FC236}">
                <a16:creationId xmlns:a16="http://schemas.microsoft.com/office/drawing/2014/main" id="{489E405B-0B26-17CF-37C3-F54FFF4BE8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0245" y="615429"/>
            <a:ext cx="10998772" cy="46615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en-US" sz="2697" b="1" kern="1200" spc="-25" dirty="0">
                <a:solidFill>
                  <a:schemeClr val="accent1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Headline Here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9ED763F9-86FB-50D0-2494-390619CE80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006" y="1043047"/>
            <a:ext cx="10998664" cy="45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798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1pPr>
            <a:lvl2pPr>
              <a:defRPr lang="en-US" sz="1798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798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798" b="0" kern="1200" spc="-25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798" b="0" kern="1200" spc="-25" dirty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FBE6B15-71EC-73AC-3FD6-04E249DBDF2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80005" y="5926784"/>
            <a:ext cx="10998664" cy="347472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228462" indent="-228462" algn="l" defTabSz="913852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21" algn="r"/>
                <a:tab pos="228462" algn="l"/>
              </a:tabLst>
              <a:defRPr lang="en-US" sz="950" kern="1200" dirty="0">
                <a:solidFill>
                  <a:srgbClr val="02005E"/>
                </a:solidFill>
                <a:latin typeface="Pfizer Diatype" panose="020B0504040202060203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324355829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resentation Title with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77BB5660-0ACC-420C-FE42-E4567F70BFD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88825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Pfizer Diatype" panose="020B0504040202060203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9431BDA7-408E-5430-44C0-841A25EDBB9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23429" y="5953479"/>
            <a:ext cx="4870571" cy="422078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lang="en-US" sz="1998" kern="1200" spc="-50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1pPr>
            <a:lvl2pPr>
              <a:defRPr lang="en-US" sz="1798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798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798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798" kern="1200" spc="-50" dirty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Date Her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53931F2-C551-2AD4-7B6A-9581E89422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2122" y="5761669"/>
            <a:ext cx="1442271" cy="589788"/>
          </a:xfrm>
          <a:prstGeom prst="rect">
            <a:avLst/>
          </a:prstGeom>
        </p:spPr>
      </p:pic>
      <p:sp>
        <p:nvSpPr>
          <p:cNvPr id="3" name="Title 6">
            <a:extLst>
              <a:ext uri="{FF2B5EF4-FFF2-40B4-BE49-F238E27FC236}">
                <a16:creationId xmlns:a16="http://schemas.microsoft.com/office/drawing/2014/main" id="{47779D81-C5B7-9D06-E85C-734849E79E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5658" y="648878"/>
            <a:ext cx="9184408" cy="2436565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US" sz="7196" b="1" kern="1200" spc="-25" dirty="0">
                <a:solidFill>
                  <a:srgbClr val="0000CA"/>
                </a:solidFill>
                <a:latin typeface="Pfizer Tomorrow" panose="02010503040201060303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Presentation Nam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5CB0D16B-5D71-98DD-1BB3-47FCB31844C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7953" y="3226917"/>
            <a:ext cx="4870571" cy="13492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798" kern="1200" spc="-50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1pPr>
            <a:lvl2pPr>
              <a:defRPr lang="en-US" sz="1798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>
              <a:defRPr lang="en-US" sz="1798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>
              <a:defRPr lang="en-US" sz="1798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>
              <a:defRPr lang="en-US" sz="1798" kern="1200" spc="-50" dirty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36C1915-A948-27F3-421D-7A432528F01F}"/>
              </a:ext>
            </a:extLst>
          </p:cNvPr>
          <p:cNvSpPr txBox="1"/>
          <p:nvPr userDrawn="1"/>
        </p:nvSpPr>
        <p:spPr>
          <a:xfrm>
            <a:off x="9318802" y="6519449"/>
            <a:ext cx="2356996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rtl="0"/>
            <a:r>
              <a:rPr lang="en-US" sz="700" b="0" i="0" kern="1200">
                <a:solidFill>
                  <a:schemeClr val="bg1">
                    <a:lumMod val="50000"/>
                  </a:schemeClr>
                </a:solidFill>
                <a:latin typeface="Pfizer Diatype Medium" panose="020B0504040202060203" pitchFamily="34" charset="0"/>
                <a:ea typeface="+mn-ea"/>
                <a:cs typeface="+mn-cs"/>
              </a:rPr>
              <a:t>Pfizer 2024 | 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8578318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D97F1A1-594A-886D-93B9-8DBC4B0A0D8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1" y="893"/>
            <a:ext cx="12188825" cy="6856212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C45E3F6-C501-965F-3AA1-0CE5E45A8C8B}"/>
              </a:ext>
            </a:extLst>
          </p:cNvPr>
          <p:cNvSpPr/>
          <p:nvPr userDrawn="1"/>
        </p:nvSpPr>
        <p:spPr>
          <a:xfrm>
            <a:off x="0" y="0"/>
            <a:ext cx="5082988" cy="6858000"/>
          </a:xfrm>
          <a:prstGeom prst="rect">
            <a:avLst/>
          </a:prstGeom>
          <a:solidFill>
            <a:schemeClr val="bg1">
              <a:alpha val="6971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057" y="4215384"/>
            <a:ext cx="4233672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799">
                <a:solidFill>
                  <a:schemeClr val="tx1"/>
                </a:solidFill>
                <a:latin typeface="+mn-lt"/>
              </a:defRPr>
            </a:lvl1pPr>
            <a:lvl2pPr marL="399930" indent="0">
              <a:buNone/>
              <a:defRPr/>
            </a:lvl2pPr>
            <a:lvl3pPr marL="742727" indent="0">
              <a:buNone/>
              <a:defRPr/>
            </a:lvl3pPr>
            <a:lvl4pPr marL="1095046" indent="0">
              <a:buNone/>
              <a:defRPr/>
            </a:lvl4pPr>
            <a:lvl5pPr marL="136960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057" y="2560320"/>
            <a:ext cx="4233672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799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36" tIns="121836" rIns="121836" bIns="121836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6"/>
          </a:p>
        </p:txBody>
      </p: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BE63A6E2-6A45-48C5-AAB5-635C131502E0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4"/>
            <a:ext cx="914400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rgbClr val="A1AAB1"/>
                </a:solidFill>
              </a:rPr>
              <a:t>Confidential</a:t>
            </a:r>
            <a:endParaRPr sz="800" b="1">
              <a:solidFill>
                <a:srgbClr val="A1AAB1"/>
              </a:solidFill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73288A9-E236-4EC3-9C85-F698E18DFB6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>
                <a:solidFill>
                  <a:srgbClr val="0000C9"/>
                </a:solidFill>
              </a:rPr>
              <a:t>Breakthroughs that change patients’ liv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626007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8AA868-8872-43E4-8C98-D34DABD1FD38}" type="datetimeFigureOut">
              <a:rPr lang="pl-PL" smtClean="0"/>
              <a:t>27.03.2025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C6C3F-668B-4AF5-BFA9-0F657EB068D6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02759708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2336F4CE-8DA3-F07B-B991-365A446CA2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3603" y="1122363"/>
            <a:ext cx="9141619" cy="2387600"/>
          </a:xfrm>
        </p:spPr>
        <p:txBody>
          <a:bodyPr anchor="b"/>
          <a:lstStyle>
            <a:lvl1pPr algn="ctr">
              <a:defRPr sz="5998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7B921E2E-2E36-15F4-D57A-B2D4A4B30DA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3603" y="3602038"/>
            <a:ext cx="9141619" cy="1655762"/>
          </a:xfrm>
        </p:spPr>
        <p:txBody>
          <a:bodyPr/>
          <a:lstStyle>
            <a:lvl1pPr marL="0" indent="0" algn="ctr">
              <a:buNone/>
              <a:defRPr sz="23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pl-PL"/>
              <a:t>Kliknij, aby edytować styl wzorca podtytułu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A039FB7B-968A-09E1-7726-88ADE6A5C3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749AFD-C944-48E1-BB5C-490A9AFC402B}" type="datetimeFigureOut">
              <a:rPr lang="pl-PL" smtClean="0"/>
              <a:t>27.03.2025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C5772131-10D5-689E-1E4A-5A9EF33D06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91603382-A74E-BB2F-10B8-2619C1E598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BDC660-343A-45BD-BA71-1D7854C3DEDE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797540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83045-6CB7-4C88-8A4E-57AB94F2948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7373FB9-336B-4823-A4F3-D036E71CE9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441" y="6319838"/>
            <a:ext cx="10406527" cy="347662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/>
            </a:lvl1pPr>
            <a:lvl2pPr marL="457063" indent="0">
              <a:buNone/>
              <a:defRPr sz="1000"/>
            </a:lvl2pPr>
            <a:lvl3pPr marL="914126" indent="0">
              <a:buNone/>
              <a:defRPr sz="10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</a:lstStyle>
          <a:p>
            <a:pPr lvl="0"/>
            <a:r>
              <a:rPr lang="en-US"/>
              <a:t>Click to edit Footnotes/References</a:t>
            </a:r>
          </a:p>
        </p:txBody>
      </p:sp>
    </p:spTree>
    <p:extLst>
      <p:ext uri="{BB962C8B-B14F-4D97-AF65-F5344CB8AC3E}">
        <p14:creationId xmlns:p14="http://schemas.microsoft.com/office/powerpoint/2010/main" val="3075681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Main Title -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F8D24EE8-203B-4B25-B048-6B6091790D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82578" y="6345913"/>
            <a:ext cx="638115" cy="37091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0BF000D-E145-4361-AF4E-127D78E92A9E}"/>
              </a:ext>
            </a:extLst>
          </p:cNvPr>
          <p:cNvSpPr/>
          <p:nvPr userDrawn="1"/>
        </p:nvSpPr>
        <p:spPr>
          <a:xfrm>
            <a:off x="-1" y="0"/>
            <a:ext cx="12188826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BEFA03DD-64D9-4B47-80B5-1AF32901A741}"/>
              </a:ext>
            </a:extLst>
          </p:cNvPr>
          <p:cNvSpPr/>
          <p:nvPr userDrawn="1"/>
        </p:nvSpPr>
        <p:spPr>
          <a:xfrm>
            <a:off x="0" y="141677"/>
            <a:ext cx="324007" cy="6853150"/>
          </a:xfrm>
          <a:custGeom>
            <a:avLst/>
            <a:gdLst>
              <a:gd name="connsiteX0" fmla="*/ 0 w 324091"/>
              <a:gd name="connsiteY0" fmla="*/ 6807430 h 6853150"/>
              <a:gd name="connsiteX1" fmla="*/ 81776 w 324091"/>
              <a:gd name="connsiteY1" fmla="*/ 6807430 h 6853150"/>
              <a:gd name="connsiteX2" fmla="*/ 104636 w 324091"/>
              <a:gd name="connsiteY2" fmla="*/ 6830290 h 6853150"/>
              <a:gd name="connsiteX3" fmla="*/ 104635 w 324091"/>
              <a:gd name="connsiteY3" fmla="*/ 6830290 h 6853150"/>
              <a:gd name="connsiteX4" fmla="*/ 81775 w 324091"/>
              <a:gd name="connsiteY4" fmla="*/ 6853150 h 6853150"/>
              <a:gd name="connsiteX5" fmla="*/ 0 w 324091"/>
              <a:gd name="connsiteY5" fmla="*/ 6853150 h 6853150"/>
              <a:gd name="connsiteX6" fmla="*/ 0 w 324091"/>
              <a:gd name="connsiteY6" fmla="*/ 6653902 h 6853150"/>
              <a:gd name="connsiteX7" fmla="*/ 173216 w 324091"/>
              <a:gd name="connsiteY7" fmla="*/ 6653902 h 6853150"/>
              <a:gd name="connsiteX8" fmla="*/ 196076 w 324091"/>
              <a:gd name="connsiteY8" fmla="*/ 6676762 h 6853150"/>
              <a:gd name="connsiteX9" fmla="*/ 196075 w 324091"/>
              <a:gd name="connsiteY9" fmla="*/ 6676762 h 6853150"/>
              <a:gd name="connsiteX10" fmla="*/ 173215 w 324091"/>
              <a:gd name="connsiteY10" fmla="*/ 6699622 h 6853150"/>
              <a:gd name="connsiteX11" fmla="*/ 0 w 324091"/>
              <a:gd name="connsiteY11" fmla="*/ 6699622 h 6853150"/>
              <a:gd name="connsiteX12" fmla="*/ 0 w 324091"/>
              <a:gd name="connsiteY12" fmla="*/ 6500374 h 6853150"/>
              <a:gd name="connsiteX13" fmla="*/ 81776 w 324091"/>
              <a:gd name="connsiteY13" fmla="*/ 6500374 h 6853150"/>
              <a:gd name="connsiteX14" fmla="*/ 104636 w 324091"/>
              <a:gd name="connsiteY14" fmla="*/ 6523234 h 6853150"/>
              <a:gd name="connsiteX15" fmla="*/ 104635 w 324091"/>
              <a:gd name="connsiteY15" fmla="*/ 6523234 h 6853150"/>
              <a:gd name="connsiteX16" fmla="*/ 81775 w 324091"/>
              <a:gd name="connsiteY16" fmla="*/ 6546094 h 6853150"/>
              <a:gd name="connsiteX17" fmla="*/ 0 w 324091"/>
              <a:gd name="connsiteY17" fmla="*/ 6546094 h 6853150"/>
              <a:gd name="connsiteX18" fmla="*/ 0 w 324091"/>
              <a:gd name="connsiteY18" fmla="*/ 6302591 h 6853150"/>
              <a:gd name="connsiteX19" fmla="*/ 279104 w 324091"/>
              <a:gd name="connsiteY19" fmla="*/ 6302591 h 6853150"/>
              <a:gd name="connsiteX20" fmla="*/ 324091 w 324091"/>
              <a:gd name="connsiteY20" fmla="*/ 6347578 h 6853150"/>
              <a:gd name="connsiteX21" fmla="*/ 279104 w 324091"/>
              <a:gd name="connsiteY21" fmla="*/ 6392565 h 6853150"/>
              <a:gd name="connsiteX22" fmla="*/ 0 w 324091"/>
              <a:gd name="connsiteY22" fmla="*/ 6392565 h 6853150"/>
              <a:gd name="connsiteX23" fmla="*/ 0 w 324091"/>
              <a:gd name="connsiteY23" fmla="*/ 6124755 h 6853150"/>
              <a:gd name="connsiteX24" fmla="*/ 81776 w 324091"/>
              <a:gd name="connsiteY24" fmla="*/ 6124755 h 6853150"/>
              <a:gd name="connsiteX25" fmla="*/ 104636 w 324091"/>
              <a:gd name="connsiteY25" fmla="*/ 6147615 h 6853150"/>
              <a:gd name="connsiteX26" fmla="*/ 104635 w 324091"/>
              <a:gd name="connsiteY26" fmla="*/ 6147615 h 6853150"/>
              <a:gd name="connsiteX27" fmla="*/ 81775 w 324091"/>
              <a:gd name="connsiteY27" fmla="*/ 6170475 h 6853150"/>
              <a:gd name="connsiteX28" fmla="*/ 0 w 324091"/>
              <a:gd name="connsiteY28" fmla="*/ 6170475 h 6853150"/>
              <a:gd name="connsiteX29" fmla="*/ 0 w 324091"/>
              <a:gd name="connsiteY29" fmla="*/ 5971227 h 6853150"/>
              <a:gd name="connsiteX30" fmla="*/ 173216 w 324091"/>
              <a:gd name="connsiteY30" fmla="*/ 5971227 h 6853150"/>
              <a:gd name="connsiteX31" fmla="*/ 196076 w 324091"/>
              <a:gd name="connsiteY31" fmla="*/ 5994087 h 6853150"/>
              <a:gd name="connsiteX32" fmla="*/ 196075 w 324091"/>
              <a:gd name="connsiteY32" fmla="*/ 5994087 h 6853150"/>
              <a:gd name="connsiteX33" fmla="*/ 173215 w 324091"/>
              <a:gd name="connsiteY33" fmla="*/ 6016947 h 6853150"/>
              <a:gd name="connsiteX34" fmla="*/ 0 w 324091"/>
              <a:gd name="connsiteY34" fmla="*/ 6016947 h 6853150"/>
              <a:gd name="connsiteX35" fmla="*/ 0 w 324091"/>
              <a:gd name="connsiteY35" fmla="*/ 5817699 h 6853150"/>
              <a:gd name="connsiteX36" fmla="*/ 81776 w 324091"/>
              <a:gd name="connsiteY36" fmla="*/ 5817699 h 6853150"/>
              <a:gd name="connsiteX37" fmla="*/ 104636 w 324091"/>
              <a:gd name="connsiteY37" fmla="*/ 5840559 h 6853150"/>
              <a:gd name="connsiteX38" fmla="*/ 104635 w 324091"/>
              <a:gd name="connsiteY38" fmla="*/ 5840559 h 6853150"/>
              <a:gd name="connsiteX39" fmla="*/ 81775 w 324091"/>
              <a:gd name="connsiteY39" fmla="*/ 5863419 h 6853150"/>
              <a:gd name="connsiteX40" fmla="*/ 0 w 324091"/>
              <a:gd name="connsiteY40" fmla="*/ 5863419 h 6853150"/>
              <a:gd name="connsiteX41" fmla="*/ 0 w 324091"/>
              <a:gd name="connsiteY41" fmla="*/ 5619916 h 6853150"/>
              <a:gd name="connsiteX42" fmla="*/ 279104 w 324091"/>
              <a:gd name="connsiteY42" fmla="*/ 5619916 h 6853150"/>
              <a:gd name="connsiteX43" fmla="*/ 324091 w 324091"/>
              <a:gd name="connsiteY43" fmla="*/ 5664903 h 6853150"/>
              <a:gd name="connsiteX44" fmla="*/ 279104 w 324091"/>
              <a:gd name="connsiteY44" fmla="*/ 5709890 h 6853150"/>
              <a:gd name="connsiteX45" fmla="*/ 0 w 324091"/>
              <a:gd name="connsiteY45" fmla="*/ 5709890 h 6853150"/>
              <a:gd name="connsiteX46" fmla="*/ 0 w 324091"/>
              <a:gd name="connsiteY46" fmla="*/ 5442077 h 6853150"/>
              <a:gd name="connsiteX47" fmla="*/ 81776 w 324091"/>
              <a:gd name="connsiteY47" fmla="*/ 5442077 h 6853150"/>
              <a:gd name="connsiteX48" fmla="*/ 104636 w 324091"/>
              <a:gd name="connsiteY48" fmla="*/ 5464937 h 6853150"/>
              <a:gd name="connsiteX49" fmla="*/ 104635 w 324091"/>
              <a:gd name="connsiteY49" fmla="*/ 5464937 h 6853150"/>
              <a:gd name="connsiteX50" fmla="*/ 81775 w 324091"/>
              <a:gd name="connsiteY50" fmla="*/ 5487797 h 6853150"/>
              <a:gd name="connsiteX51" fmla="*/ 0 w 324091"/>
              <a:gd name="connsiteY51" fmla="*/ 5487797 h 6853150"/>
              <a:gd name="connsiteX52" fmla="*/ 0 w 324091"/>
              <a:gd name="connsiteY52" fmla="*/ 5288549 h 6853150"/>
              <a:gd name="connsiteX53" fmla="*/ 173216 w 324091"/>
              <a:gd name="connsiteY53" fmla="*/ 5288549 h 6853150"/>
              <a:gd name="connsiteX54" fmla="*/ 196076 w 324091"/>
              <a:gd name="connsiteY54" fmla="*/ 5311409 h 6853150"/>
              <a:gd name="connsiteX55" fmla="*/ 196075 w 324091"/>
              <a:gd name="connsiteY55" fmla="*/ 5311409 h 6853150"/>
              <a:gd name="connsiteX56" fmla="*/ 173215 w 324091"/>
              <a:gd name="connsiteY56" fmla="*/ 5334269 h 6853150"/>
              <a:gd name="connsiteX57" fmla="*/ 0 w 324091"/>
              <a:gd name="connsiteY57" fmla="*/ 5334269 h 6853150"/>
              <a:gd name="connsiteX58" fmla="*/ 0 w 324091"/>
              <a:gd name="connsiteY58" fmla="*/ 5135021 h 6853150"/>
              <a:gd name="connsiteX59" fmla="*/ 81776 w 324091"/>
              <a:gd name="connsiteY59" fmla="*/ 5135021 h 6853150"/>
              <a:gd name="connsiteX60" fmla="*/ 104636 w 324091"/>
              <a:gd name="connsiteY60" fmla="*/ 5157881 h 6853150"/>
              <a:gd name="connsiteX61" fmla="*/ 104635 w 324091"/>
              <a:gd name="connsiteY61" fmla="*/ 5157881 h 6853150"/>
              <a:gd name="connsiteX62" fmla="*/ 81775 w 324091"/>
              <a:gd name="connsiteY62" fmla="*/ 5180741 h 6853150"/>
              <a:gd name="connsiteX63" fmla="*/ 0 w 324091"/>
              <a:gd name="connsiteY63" fmla="*/ 5180741 h 6853150"/>
              <a:gd name="connsiteX64" fmla="*/ 0 w 324091"/>
              <a:gd name="connsiteY64" fmla="*/ 4937238 h 6853150"/>
              <a:gd name="connsiteX65" fmla="*/ 279104 w 324091"/>
              <a:gd name="connsiteY65" fmla="*/ 4937238 h 6853150"/>
              <a:gd name="connsiteX66" fmla="*/ 324091 w 324091"/>
              <a:gd name="connsiteY66" fmla="*/ 4982225 h 6853150"/>
              <a:gd name="connsiteX67" fmla="*/ 279104 w 324091"/>
              <a:gd name="connsiteY67" fmla="*/ 5027212 h 6853150"/>
              <a:gd name="connsiteX68" fmla="*/ 0 w 324091"/>
              <a:gd name="connsiteY68" fmla="*/ 5027212 h 6853150"/>
              <a:gd name="connsiteX69" fmla="*/ 0 w 324091"/>
              <a:gd name="connsiteY69" fmla="*/ 4759399 h 6853150"/>
              <a:gd name="connsiteX70" fmla="*/ 81776 w 324091"/>
              <a:gd name="connsiteY70" fmla="*/ 4759399 h 6853150"/>
              <a:gd name="connsiteX71" fmla="*/ 104636 w 324091"/>
              <a:gd name="connsiteY71" fmla="*/ 4782259 h 6853150"/>
              <a:gd name="connsiteX72" fmla="*/ 104635 w 324091"/>
              <a:gd name="connsiteY72" fmla="*/ 4782259 h 6853150"/>
              <a:gd name="connsiteX73" fmla="*/ 81775 w 324091"/>
              <a:gd name="connsiteY73" fmla="*/ 4805119 h 6853150"/>
              <a:gd name="connsiteX74" fmla="*/ 0 w 324091"/>
              <a:gd name="connsiteY74" fmla="*/ 4805119 h 6853150"/>
              <a:gd name="connsiteX75" fmla="*/ 0 w 324091"/>
              <a:gd name="connsiteY75" fmla="*/ 4605871 h 6853150"/>
              <a:gd name="connsiteX76" fmla="*/ 173216 w 324091"/>
              <a:gd name="connsiteY76" fmla="*/ 4605871 h 6853150"/>
              <a:gd name="connsiteX77" fmla="*/ 196076 w 324091"/>
              <a:gd name="connsiteY77" fmla="*/ 4628731 h 6853150"/>
              <a:gd name="connsiteX78" fmla="*/ 196075 w 324091"/>
              <a:gd name="connsiteY78" fmla="*/ 4628731 h 6853150"/>
              <a:gd name="connsiteX79" fmla="*/ 173215 w 324091"/>
              <a:gd name="connsiteY79" fmla="*/ 4651591 h 6853150"/>
              <a:gd name="connsiteX80" fmla="*/ 0 w 324091"/>
              <a:gd name="connsiteY80" fmla="*/ 4651591 h 6853150"/>
              <a:gd name="connsiteX81" fmla="*/ 0 w 324091"/>
              <a:gd name="connsiteY81" fmla="*/ 4452343 h 6853150"/>
              <a:gd name="connsiteX82" fmla="*/ 81776 w 324091"/>
              <a:gd name="connsiteY82" fmla="*/ 4452343 h 6853150"/>
              <a:gd name="connsiteX83" fmla="*/ 104636 w 324091"/>
              <a:gd name="connsiteY83" fmla="*/ 4475203 h 6853150"/>
              <a:gd name="connsiteX84" fmla="*/ 104635 w 324091"/>
              <a:gd name="connsiteY84" fmla="*/ 4475203 h 6853150"/>
              <a:gd name="connsiteX85" fmla="*/ 81775 w 324091"/>
              <a:gd name="connsiteY85" fmla="*/ 4498063 h 6853150"/>
              <a:gd name="connsiteX86" fmla="*/ 0 w 324091"/>
              <a:gd name="connsiteY86" fmla="*/ 4498063 h 6853150"/>
              <a:gd name="connsiteX87" fmla="*/ 0 w 324091"/>
              <a:gd name="connsiteY87" fmla="*/ 4254560 h 6853150"/>
              <a:gd name="connsiteX88" fmla="*/ 279104 w 324091"/>
              <a:gd name="connsiteY88" fmla="*/ 4254560 h 6853150"/>
              <a:gd name="connsiteX89" fmla="*/ 324091 w 324091"/>
              <a:gd name="connsiteY89" fmla="*/ 4299547 h 6853150"/>
              <a:gd name="connsiteX90" fmla="*/ 279104 w 324091"/>
              <a:gd name="connsiteY90" fmla="*/ 4344534 h 6853150"/>
              <a:gd name="connsiteX91" fmla="*/ 0 w 324091"/>
              <a:gd name="connsiteY91" fmla="*/ 4344534 h 6853150"/>
              <a:gd name="connsiteX92" fmla="*/ 0 w 324091"/>
              <a:gd name="connsiteY92" fmla="*/ 4076721 h 6853150"/>
              <a:gd name="connsiteX93" fmla="*/ 81776 w 324091"/>
              <a:gd name="connsiteY93" fmla="*/ 4076721 h 6853150"/>
              <a:gd name="connsiteX94" fmla="*/ 104636 w 324091"/>
              <a:gd name="connsiteY94" fmla="*/ 4099581 h 6853150"/>
              <a:gd name="connsiteX95" fmla="*/ 104635 w 324091"/>
              <a:gd name="connsiteY95" fmla="*/ 4099581 h 6853150"/>
              <a:gd name="connsiteX96" fmla="*/ 81775 w 324091"/>
              <a:gd name="connsiteY96" fmla="*/ 4122441 h 6853150"/>
              <a:gd name="connsiteX97" fmla="*/ 0 w 324091"/>
              <a:gd name="connsiteY97" fmla="*/ 4122441 h 6853150"/>
              <a:gd name="connsiteX98" fmla="*/ 0 w 324091"/>
              <a:gd name="connsiteY98" fmla="*/ 3923193 h 6853150"/>
              <a:gd name="connsiteX99" fmla="*/ 173216 w 324091"/>
              <a:gd name="connsiteY99" fmla="*/ 3923193 h 6853150"/>
              <a:gd name="connsiteX100" fmla="*/ 196076 w 324091"/>
              <a:gd name="connsiteY100" fmla="*/ 3946053 h 6853150"/>
              <a:gd name="connsiteX101" fmla="*/ 196075 w 324091"/>
              <a:gd name="connsiteY101" fmla="*/ 3946053 h 6853150"/>
              <a:gd name="connsiteX102" fmla="*/ 173215 w 324091"/>
              <a:gd name="connsiteY102" fmla="*/ 3968913 h 6853150"/>
              <a:gd name="connsiteX103" fmla="*/ 0 w 324091"/>
              <a:gd name="connsiteY103" fmla="*/ 3968913 h 6853150"/>
              <a:gd name="connsiteX104" fmla="*/ 0 w 324091"/>
              <a:gd name="connsiteY104" fmla="*/ 3769665 h 6853150"/>
              <a:gd name="connsiteX105" fmla="*/ 81776 w 324091"/>
              <a:gd name="connsiteY105" fmla="*/ 3769665 h 6853150"/>
              <a:gd name="connsiteX106" fmla="*/ 104636 w 324091"/>
              <a:gd name="connsiteY106" fmla="*/ 3792525 h 6853150"/>
              <a:gd name="connsiteX107" fmla="*/ 104635 w 324091"/>
              <a:gd name="connsiteY107" fmla="*/ 3792525 h 6853150"/>
              <a:gd name="connsiteX108" fmla="*/ 81775 w 324091"/>
              <a:gd name="connsiteY108" fmla="*/ 3815385 h 6853150"/>
              <a:gd name="connsiteX109" fmla="*/ 0 w 324091"/>
              <a:gd name="connsiteY109" fmla="*/ 3815385 h 6853150"/>
              <a:gd name="connsiteX110" fmla="*/ 0 w 324091"/>
              <a:gd name="connsiteY110" fmla="*/ 3571882 h 6853150"/>
              <a:gd name="connsiteX111" fmla="*/ 279104 w 324091"/>
              <a:gd name="connsiteY111" fmla="*/ 3571882 h 6853150"/>
              <a:gd name="connsiteX112" fmla="*/ 324091 w 324091"/>
              <a:gd name="connsiteY112" fmla="*/ 3616869 h 6853150"/>
              <a:gd name="connsiteX113" fmla="*/ 279104 w 324091"/>
              <a:gd name="connsiteY113" fmla="*/ 3661856 h 6853150"/>
              <a:gd name="connsiteX114" fmla="*/ 0 w 324091"/>
              <a:gd name="connsiteY114" fmla="*/ 3661856 h 6853150"/>
              <a:gd name="connsiteX115" fmla="*/ 0 w 324091"/>
              <a:gd name="connsiteY115" fmla="*/ 3394043 h 6853150"/>
              <a:gd name="connsiteX116" fmla="*/ 81776 w 324091"/>
              <a:gd name="connsiteY116" fmla="*/ 3394043 h 6853150"/>
              <a:gd name="connsiteX117" fmla="*/ 104636 w 324091"/>
              <a:gd name="connsiteY117" fmla="*/ 3416905 h 6853150"/>
              <a:gd name="connsiteX118" fmla="*/ 104635 w 324091"/>
              <a:gd name="connsiteY118" fmla="*/ 3416905 h 6853150"/>
              <a:gd name="connsiteX119" fmla="*/ 81775 w 324091"/>
              <a:gd name="connsiteY119" fmla="*/ 3439763 h 6853150"/>
              <a:gd name="connsiteX120" fmla="*/ 0 w 324091"/>
              <a:gd name="connsiteY120" fmla="*/ 3439763 h 6853150"/>
              <a:gd name="connsiteX121" fmla="*/ 0 w 324091"/>
              <a:gd name="connsiteY121" fmla="*/ 3240516 h 6853150"/>
              <a:gd name="connsiteX122" fmla="*/ 173216 w 324091"/>
              <a:gd name="connsiteY122" fmla="*/ 3240516 h 6853150"/>
              <a:gd name="connsiteX123" fmla="*/ 196076 w 324091"/>
              <a:gd name="connsiteY123" fmla="*/ 3263376 h 6853150"/>
              <a:gd name="connsiteX124" fmla="*/ 196075 w 324091"/>
              <a:gd name="connsiteY124" fmla="*/ 3263376 h 6853150"/>
              <a:gd name="connsiteX125" fmla="*/ 173215 w 324091"/>
              <a:gd name="connsiteY125" fmla="*/ 3286236 h 6853150"/>
              <a:gd name="connsiteX126" fmla="*/ 0 w 324091"/>
              <a:gd name="connsiteY126" fmla="*/ 3286236 h 6853150"/>
              <a:gd name="connsiteX127" fmla="*/ 0 w 324091"/>
              <a:gd name="connsiteY127" fmla="*/ 3086989 h 6853150"/>
              <a:gd name="connsiteX128" fmla="*/ 81776 w 324091"/>
              <a:gd name="connsiteY128" fmla="*/ 3086989 h 6853150"/>
              <a:gd name="connsiteX129" fmla="*/ 104636 w 324091"/>
              <a:gd name="connsiteY129" fmla="*/ 3109849 h 6853150"/>
              <a:gd name="connsiteX130" fmla="*/ 104635 w 324091"/>
              <a:gd name="connsiteY130" fmla="*/ 3109849 h 6853150"/>
              <a:gd name="connsiteX131" fmla="*/ 81775 w 324091"/>
              <a:gd name="connsiteY131" fmla="*/ 3132709 h 6853150"/>
              <a:gd name="connsiteX132" fmla="*/ 0 w 324091"/>
              <a:gd name="connsiteY132" fmla="*/ 3132709 h 6853150"/>
              <a:gd name="connsiteX133" fmla="*/ 0 w 324091"/>
              <a:gd name="connsiteY133" fmla="*/ 2889206 h 6853150"/>
              <a:gd name="connsiteX134" fmla="*/ 279104 w 324091"/>
              <a:gd name="connsiteY134" fmla="*/ 2889206 h 6853150"/>
              <a:gd name="connsiteX135" fmla="*/ 324091 w 324091"/>
              <a:gd name="connsiteY135" fmla="*/ 2934194 h 6853150"/>
              <a:gd name="connsiteX136" fmla="*/ 279104 w 324091"/>
              <a:gd name="connsiteY136" fmla="*/ 2979180 h 6853150"/>
              <a:gd name="connsiteX137" fmla="*/ 0 w 324091"/>
              <a:gd name="connsiteY137" fmla="*/ 2979180 h 6853150"/>
              <a:gd name="connsiteX138" fmla="*/ 0 w 324091"/>
              <a:gd name="connsiteY138" fmla="*/ 2711367 h 6853150"/>
              <a:gd name="connsiteX139" fmla="*/ 81776 w 324091"/>
              <a:gd name="connsiteY139" fmla="*/ 2711367 h 6853150"/>
              <a:gd name="connsiteX140" fmla="*/ 104636 w 324091"/>
              <a:gd name="connsiteY140" fmla="*/ 2734227 h 6853150"/>
              <a:gd name="connsiteX141" fmla="*/ 104635 w 324091"/>
              <a:gd name="connsiteY141" fmla="*/ 2734227 h 6853150"/>
              <a:gd name="connsiteX142" fmla="*/ 81775 w 324091"/>
              <a:gd name="connsiteY142" fmla="*/ 2757087 h 6853150"/>
              <a:gd name="connsiteX143" fmla="*/ 0 w 324091"/>
              <a:gd name="connsiteY143" fmla="*/ 2757087 h 6853150"/>
              <a:gd name="connsiteX144" fmla="*/ 0 w 324091"/>
              <a:gd name="connsiteY144" fmla="*/ 2557839 h 6853150"/>
              <a:gd name="connsiteX145" fmla="*/ 173216 w 324091"/>
              <a:gd name="connsiteY145" fmla="*/ 2557839 h 6853150"/>
              <a:gd name="connsiteX146" fmla="*/ 196076 w 324091"/>
              <a:gd name="connsiteY146" fmla="*/ 2580699 h 6853150"/>
              <a:gd name="connsiteX147" fmla="*/ 196075 w 324091"/>
              <a:gd name="connsiteY147" fmla="*/ 2580699 h 6853150"/>
              <a:gd name="connsiteX148" fmla="*/ 173215 w 324091"/>
              <a:gd name="connsiteY148" fmla="*/ 2603559 h 6853150"/>
              <a:gd name="connsiteX149" fmla="*/ 0 w 324091"/>
              <a:gd name="connsiteY149" fmla="*/ 2603559 h 6853150"/>
              <a:gd name="connsiteX150" fmla="*/ 0 w 324091"/>
              <a:gd name="connsiteY150" fmla="*/ 2404312 h 6853150"/>
              <a:gd name="connsiteX151" fmla="*/ 81776 w 324091"/>
              <a:gd name="connsiteY151" fmla="*/ 2404312 h 6853150"/>
              <a:gd name="connsiteX152" fmla="*/ 104636 w 324091"/>
              <a:gd name="connsiteY152" fmla="*/ 2427171 h 6853150"/>
              <a:gd name="connsiteX153" fmla="*/ 104635 w 324091"/>
              <a:gd name="connsiteY153" fmla="*/ 2427171 h 6853150"/>
              <a:gd name="connsiteX154" fmla="*/ 81775 w 324091"/>
              <a:gd name="connsiteY154" fmla="*/ 2450032 h 6853150"/>
              <a:gd name="connsiteX155" fmla="*/ 0 w 324091"/>
              <a:gd name="connsiteY155" fmla="*/ 2450032 h 6853150"/>
              <a:gd name="connsiteX156" fmla="*/ 0 w 324091"/>
              <a:gd name="connsiteY156" fmla="*/ 2206528 h 6853150"/>
              <a:gd name="connsiteX157" fmla="*/ 279104 w 324091"/>
              <a:gd name="connsiteY157" fmla="*/ 2206528 h 6853150"/>
              <a:gd name="connsiteX158" fmla="*/ 324091 w 324091"/>
              <a:gd name="connsiteY158" fmla="*/ 2251515 h 6853150"/>
              <a:gd name="connsiteX159" fmla="*/ 279104 w 324091"/>
              <a:gd name="connsiteY159" fmla="*/ 2296503 h 6853150"/>
              <a:gd name="connsiteX160" fmla="*/ 0 w 324091"/>
              <a:gd name="connsiteY160" fmla="*/ 2296503 h 6853150"/>
              <a:gd name="connsiteX161" fmla="*/ 0 w 324091"/>
              <a:gd name="connsiteY161" fmla="*/ 2028689 h 6853150"/>
              <a:gd name="connsiteX162" fmla="*/ 81776 w 324091"/>
              <a:gd name="connsiteY162" fmla="*/ 2028689 h 6853150"/>
              <a:gd name="connsiteX163" fmla="*/ 104636 w 324091"/>
              <a:gd name="connsiteY163" fmla="*/ 2051550 h 6853150"/>
              <a:gd name="connsiteX164" fmla="*/ 104635 w 324091"/>
              <a:gd name="connsiteY164" fmla="*/ 2051550 h 6853150"/>
              <a:gd name="connsiteX165" fmla="*/ 81775 w 324091"/>
              <a:gd name="connsiteY165" fmla="*/ 2074409 h 6853150"/>
              <a:gd name="connsiteX166" fmla="*/ 0 w 324091"/>
              <a:gd name="connsiteY166" fmla="*/ 2074409 h 6853150"/>
              <a:gd name="connsiteX167" fmla="*/ 0 w 324091"/>
              <a:gd name="connsiteY167" fmla="*/ 1875162 h 6853150"/>
              <a:gd name="connsiteX168" fmla="*/ 173216 w 324091"/>
              <a:gd name="connsiteY168" fmla="*/ 1875162 h 6853150"/>
              <a:gd name="connsiteX169" fmla="*/ 196076 w 324091"/>
              <a:gd name="connsiteY169" fmla="*/ 1898022 h 6853150"/>
              <a:gd name="connsiteX170" fmla="*/ 196075 w 324091"/>
              <a:gd name="connsiteY170" fmla="*/ 1898022 h 6853150"/>
              <a:gd name="connsiteX171" fmla="*/ 173215 w 324091"/>
              <a:gd name="connsiteY171" fmla="*/ 1920882 h 6853150"/>
              <a:gd name="connsiteX172" fmla="*/ 0 w 324091"/>
              <a:gd name="connsiteY172" fmla="*/ 1920882 h 6853150"/>
              <a:gd name="connsiteX173" fmla="*/ 0 w 324091"/>
              <a:gd name="connsiteY173" fmla="*/ 1721635 h 6853150"/>
              <a:gd name="connsiteX174" fmla="*/ 81776 w 324091"/>
              <a:gd name="connsiteY174" fmla="*/ 1721635 h 6853150"/>
              <a:gd name="connsiteX175" fmla="*/ 104636 w 324091"/>
              <a:gd name="connsiteY175" fmla="*/ 1744495 h 6853150"/>
              <a:gd name="connsiteX176" fmla="*/ 104635 w 324091"/>
              <a:gd name="connsiteY176" fmla="*/ 1744495 h 6853150"/>
              <a:gd name="connsiteX177" fmla="*/ 81775 w 324091"/>
              <a:gd name="connsiteY177" fmla="*/ 1767355 h 6853150"/>
              <a:gd name="connsiteX178" fmla="*/ 0 w 324091"/>
              <a:gd name="connsiteY178" fmla="*/ 1767355 h 6853150"/>
              <a:gd name="connsiteX179" fmla="*/ 0 w 324091"/>
              <a:gd name="connsiteY179" fmla="*/ 1523851 h 6853150"/>
              <a:gd name="connsiteX180" fmla="*/ 279104 w 324091"/>
              <a:gd name="connsiteY180" fmla="*/ 1523851 h 6853150"/>
              <a:gd name="connsiteX181" fmla="*/ 324091 w 324091"/>
              <a:gd name="connsiteY181" fmla="*/ 1568838 h 6853150"/>
              <a:gd name="connsiteX182" fmla="*/ 279104 w 324091"/>
              <a:gd name="connsiteY182" fmla="*/ 1613826 h 6853150"/>
              <a:gd name="connsiteX183" fmla="*/ 0 w 324091"/>
              <a:gd name="connsiteY183" fmla="*/ 1613826 h 6853150"/>
              <a:gd name="connsiteX184" fmla="*/ 0 w 324091"/>
              <a:gd name="connsiteY184" fmla="*/ 1346012 h 6853150"/>
              <a:gd name="connsiteX185" fmla="*/ 81776 w 324091"/>
              <a:gd name="connsiteY185" fmla="*/ 1346012 h 6853150"/>
              <a:gd name="connsiteX186" fmla="*/ 104636 w 324091"/>
              <a:gd name="connsiteY186" fmla="*/ 1368872 h 6853150"/>
              <a:gd name="connsiteX187" fmla="*/ 104635 w 324091"/>
              <a:gd name="connsiteY187" fmla="*/ 1368872 h 6853150"/>
              <a:gd name="connsiteX188" fmla="*/ 81775 w 324091"/>
              <a:gd name="connsiteY188" fmla="*/ 1391732 h 6853150"/>
              <a:gd name="connsiteX189" fmla="*/ 0 w 324091"/>
              <a:gd name="connsiteY189" fmla="*/ 1391732 h 6853150"/>
              <a:gd name="connsiteX190" fmla="*/ 0 w 324091"/>
              <a:gd name="connsiteY190" fmla="*/ 1192484 h 6853150"/>
              <a:gd name="connsiteX191" fmla="*/ 173216 w 324091"/>
              <a:gd name="connsiteY191" fmla="*/ 1192484 h 6853150"/>
              <a:gd name="connsiteX192" fmla="*/ 196076 w 324091"/>
              <a:gd name="connsiteY192" fmla="*/ 1215344 h 6853150"/>
              <a:gd name="connsiteX193" fmla="*/ 196075 w 324091"/>
              <a:gd name="connsiteY193" fmla="*/ 1215344 h 6853150"/>
              <a:gd name="connsiteX194" fmla="*/ 173215 w 324091"/>
              <a:gd name="connsiteY194" fmla="*/ 1238205 h 6853150"/>
              <a:gd name="connsiteX195" fmla="*/ 0 w 324091"/>
              <a:gd name="connsiteY195" fmla="*/ 1238205 h 6853150"/>
              <a:gd name="connsiteX196" fmla="*/ 0 w 324091"/>
              <a:gd name="connsiteY196" fmla="*/ 1038956 h 6853150"/>
              <a:gd name="connsiteX197" fmla="*/ 81776 w 324091"/>
              <a:gd name="connsiteY197" fmla="*/ 1038956 h 6853150"/>
              <a:gd name="connsiteX198" fmla="*/ 104636 w 324091"/>
              <a:gd name="connsiteY198" fmla="*/ 1061817 h 6853150"/>
              <a:gd name="connsiteX199" fmla="*/ 104635 w 324091"/>
              <a:gd name="connsiteY199" fmla="*/ 1061817 h 6853150"/>
              <a:gd name="connsiteX200" fmla="*/ 81775 w 324091"/>
              <a:gd name="connsiteY200" fmla="*/ 1084677 h 6853150"/>
              <a:gd name="connsiteX201" fmla="*/ 0 w 324091"/>
              <a:gd name="connsiteY201" fmla="*/ 1084677 h 6853150"/>
              <a:gd name="connsiteX202" fmla="*/ 0 w 324091"/>
              <a:gd name="connsiteY202" fmla="*/ 841173 h 6853150"/>
              <a:gd name="connsiteX203" fmla="*/ 279104 w 324091"/>
              <a:gd name="connsiteY203" fmla="*/ 841173 h 6853150"/>
              <a:gd name="connsiteX204" fmla="*/ 324091 w 324091"/>
              <a:gd name="connsiteY204" fmla="*/ 886160 h 6853150"/>
              <a:gd name="connsiteX205" fmla="*/ 279104 w 324091"/>
              <a:gd name="connsiteY205" fmla="*/ 931147 h 6853150"/>
              <a:gd name="connsiteX206" fmla="*/ 0 w 324091"/>
              <a:gd name="connsiteY206" fmla="*/ 931147 h 6853150"/>
              <a:gd name="connsiteX207" fmla="*/ 0 w 324091"/>
              <a:gd name="connsiteY207" fmla="*/ 663334 h 6853150"/>
              <a:gd name="connsiteX208" fmla="*/ 81776 w 324091"/>
              <a:gd name="connsiteY208" fmla="*/ 663334 h 6853150"/>
              <a:gd name="connsiteX209" fmla="*/ 104636 w 324091"/>
              <a:gd name="connsiteY209" fmla="*/ 686194 h 6853150"/>
              <a:gd name="connsiteX210" fmla="*/ 104635 w 324091"/>
              <a:gd name="connsiteY210" fmla="*/ 686194 h 6853150"/>
              <a:gd name="connsiteX211" fmla="*/ 81775 w 324091"/>
              <a:gd name="connsiteY211" fmla="*/ 709054 h 6853150"/>
              <a:gd name="connsiteX212" fmla="*/ 0 w 324091"/>
              <a:gd name="connsiteY212" fmla="*/ 709054 h 6853150"/>
              <a:gd name="connsiteX213" fmla="*/ 0 w 324091"/>
              <a:gd name="connsiteY213" fmla="*/ 509806 h 6853150"/>
              <a:gd name="connsiteX214" fmla="*/ 173216 w 324091"/>
              <a:gd name="connsiteY214" fmla="*/ 509806 h 6853150"/>
              <a:gd name="connsiteX215" fmla="*/ 196076 w 324091"/>
              <a:gd name="connsiteY215" fmla="*/ 532666 h 6853150"/>
              <a:gd name="connsiteX216" fmla="*/ 196075 w 324091"/>
              <a:gd name="connsiteY216" fmla="*/ 532666 h 6853150"/>
              <a:gd name="connsiteX217" fmla="*/ 173215 w 324091"/>
              <a:gd name="connsiteY217" fmla="*/ 555526 h 6853150"/>
              <a:gd name="connsiteX218" fmla="*/ 0 w 324091"/>
              <a:gd name="connsiteY218" fmla="*/ 555526 h 6853150"/>
              <a:gd name="connsiteX219" fmla="*/ 0 w 324091"/>
              <a:gd name="connsiteY219" fmla="*/ 356279 h 6853150"/>
              <a:gd name="connsiteX220" fmla="*/ 81776 w 324091"/>
              <a:gd name="connsiteY220" fmla="*/ 356279 h 6853150"/>
              <a:gd name="connsiteX221" fmla="*/ 104636 w 324091"/>
              <a:gd name="connsiteY221" fmla="*/ 379139 h 6853150"/>
              <a:gd name="connsiteX222" fmla="*/ 104635 w 324091"/>
              <a:gd name="connsiteY222" fmla="*/ 379139 h 6853150"/>
              <a:gd name="connsiteX223" fmla="*/ 81775 w 324091"/>
              <a:gd name="connsiteY223" fmla="*/ 401999 h 6853150"/>
              <a:gd name="connsiteX224" fmla="*/ 0 w 324091"/>
              <a:gd name="connsiteY224" fmla="*/ 401999 h 6853150"/>
              <a:gd name="connsiteX225" fmla="*/ 0 w 324091"/>
              <a:gd name="connsiteY225" fmla="*/ 158496 h 6853150"/>
              <a:gd name="connsiteX226" fmla="*/ 279104 w 324091"/>
              <a:gd name="connsiteY226" fmla="*/ 158496 h 6853150"/>
              <a:gd name="connsiteX227" fmla="*/ 324091 w 324091"/>
              <a:gd name="connsiteY227" fmla="*/ 203483 h 6853150"/>
              <a:gd name="connsiteX228" fmla="*/ 279104 w 324091"/>
              <a:gd name="connsiteY228" fmla="*/ 248470 h 6853150"/>
              <a:gd name="connsiteX229" fmla="*/ 0 w 324091"/>
              <a:gd name="connsiteY229" fmla="*/ 248470 h 6853150"/>
              <a:gd name="connsiteX230" fmla="*/ 0 w 324091"/>
              <a:gd name="connsiteY230" fmla="*/ 0 h 6853150"/>
              <a:gd name="connsiteX231" fmla="*/ 81776 w 324091"/>
              <a:gd name="connsiteY231" fmla="*/ 0 h 6853150"/>
              <a:gd name="connsiteX232" fmla="*/ 104636 w 324091"/>
              <a:gd name="connsiteY232" fmla="*/ 22860 h 6853150"/>
              <a:gd name="connsiteX233" fmla="*/ 104635 w 324091"/>
              <a:gd name="connsiteY233" fmla="*/ 22860 h 6853150"/>
              <a:gd name="connsiteX234" fmla="*/ 81775 w 324091"/>
              <a:gd name="connsiteY234" fmla="*/ 45720 h 6853150"/>
              <a:gd name="connsiteX235" fmla="*/ 0 w 324091"/>
              <a:gd name="connsiteY235" fmla="*/ 45720 h 6853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</a:cxnLst>
            <a:rect l="l" t="t" r="r" b="b"/>
            <a:pathLst>
              <a:path w="324091" h="6853150">
                <a:moveTo>
                  <a:pt x="0" y="6807430"/>
                </a:moveTo>
                <a:lnTo>
                  <a:pt x="81776" y="6807430"/>
                </a:lnTo>
                <a:cubicBezTo>
                  <a:pt x="94401" y="6807430"/>
                  <a:pt x="104636" y="6817665"/>
                  <a:pt x="104636" y="6830290"/>
                </a:cubicBezTo>
                <a:lnTo>
                  <a:pt x="104635" y="6830290"/>
                </a:lnTo>
                <a:cubicBezTo>
                  <a:pt x="104635" y="6842915"/>
                  <a:pt x="94400" y="6853150"/>
                  <a:pt x="81775" y="6853150"/>
                </a:cubicBezTo>
                <a:lnTo>
                  <a:pt x="0" y="6853150"/>
                </a:lnTo>
                <a:close/>
                <a:moveTo>
                  <a:pt x="0" y="6653902"/>
                </a:moveTo>
                <a:lnTo>
                  <a:pt x="173216" y="6653902"/>
                </a:lnTo>
                <a:cubicBezTo>
                  <a:pt x="185841" y="6653902"/>
                  <a:pt x="196076" y="6664137"/>
                  <a:pt x="196076" y="6676762"/>
                </a:cubicBezTo>
                <a:lnTo>
                  <a:pt x="196075" y="6676762"/>
                </a:lnTo>
                <a:cubicBezTo>
                  <a:pt x="196075" y="6689387"/>
                  <a:pt x="185840" y="6699622"/>
                  <a:pt x="173215" y="6699622"/>
                </a:cubicBezTo>
                <a:lnTo>
                  <a:pt x="0" y="6699622"/>
                </a:lnTo>
                <a:close/>
                <a:moveTo>
                  <a:pt x="0" y="6500374"/>
                </a:moveTo>
                <a:lnTo>
                  <a:pt x="81776" y="6500374"/>
                </a:lnTo>
                <a:cubicBezTo>
                  <a:pt x="94401" y="6500374"/>
                  <a:pt x="104636" y="6510609"/>
                  <a:pt x="104636" y="6523234"/>
                </a:cubicBezTo>
                <a:lnTo>
                  <a:pt x="104635" y="6523234"/>
                </a:lnTo>
                <a:cubicBezTo>
                  <a:pt x="104635" y="6535859"/>
                  <a:pt x="94400" y="6546094"/>
                  <a:pt x="81775" y="6546094"/>
                </a:cubicBezTo>
                <a:lnTo>
                  <a:pt x="0" y="6546094"/>
                </a:lnTo>
                <a:close/>
                <a:moveTo>
                  <a:pt x="0" y="6302591"/>
                </a:moveTo>
                <a:lnTo>
                  <a:pt x="279104" y="6302591"/>
                </a:lnTo>
                <a:cubicBezTo>
                  <a:pt x="303950" y="6302591"/>
                  <a:pt x="324091" y="6322732"/>
                  <a:pt x="324091" y="6347578"/>
                </a:cubicBezTo>
                <a:cubicBezTo>
                  <a:pt x="324091" y="6372424"/>
                  <a:pt x="303950" y="6392565"/>
                  <a:pt x="279104" y="6392565"/>
                </a:cubicBezTo>
                <a:lnTo>
                  <a:pt x="0" y="6392565"/>
                </a:lnTo>
                <a:close/>
                <a:moveTo>
                  <a:pt x="0" y="6124755"/>
                </a:moveTo>
                <a:lnTo>
                  <a:pt x="81776" y="6124755"/>
                </a:lnTo>
                <a:cubicBezTo>
                  <a:pt x="94401" y="6124755"/>
                  <a:pt x="104636" y="6134990"/>
                  <a:pt x="104636" y="6147615"/>
                </a:cubicBezTo>
                <a:lnTo>
                  <a:pt x="104635" y="6147615"/>
                </a:lnTo>
                <a:cubicBezTo>
                  <a:pt x="104635" y="6160240"/>
                  <a:pt x="94400" y="6170475"/>
                  <a:pt x="81775" y="6170475"/>
                </a:cubicBezTo>
                <a:lnTo>
                  <a:pt x="0" y="6170475"/>
                </a:lnTo>
                <a:close/>
                <a:moveTo>
                  <a:pt x="0" y="5971227"/>
                </a:moveTo>
                <a:lnTo>
                  <a:pt x="173216" y="5971227"/>
                </a:lnTo>
                <a:cubicBezTo>
                  <a:pt x="185841" y="5971227"/>
                  <a:pt x="196076" y="5981462"/>
                  <a:pt x="196076" y="5994087"/>
                </a:cubicBezTo>
                <a:lnTo>
                  <a:pt x="196075" y="5994087"/>
                </a:lnTo>
                <a:cubicBezTo>
                  <a:pt x="196075" y="6006712"/>
                  <a:pt x="185840" y="6016947"/>
                  <a:pt x="173215" y="6016947"/>
                </a:cubicBezTo>
                <a:lnTo>
                  <a:pt x="0" y="6016947"/>
                </a:lnTo>
                <a:close/>
                <a:moveTo>
                  <a:pt x="0" y="5817699"/>
                </a:moveTo>
                <a:lnTo>
                  <a:pt x="81776" y="5817699"/>
                </a:lnTo>
                <a:cubicBezTo>
                  <a:pt x="94401" y="5817699"/>
                  <a:pt x="104636" y="5827934"/>
                  <a:pt x="104636" y="5840559"/>
                </a:cubicBezTo>
                <a:lnTo>
                  <a:pt x="104635" y="5840559"/>
                </a:lnTo>
                <a:cubicBezTo>
                  <a:pt x="104635" y="5853184"/>
                  <a:pt x="94400" y="5863419"/>
                  <a:pt x="81775" y="5863419"/>
                </a:cubicBezTo>
                <a:lnTo>
                  <a:pt x="0" y="5863419"/>
                </a:lnTo>
                <a:close/>
                <a:moveTo>
                  <a:pt x="0" y="5619916"/>
                </a:moveTo>
                <a:lnTo>
                  <a:pt x="279104" y="5619916"/>
                </a:lnTo>
                <a:cubicBezTo>
                  <a:pt x="303950" y="5619916"/>
                  <a:pt x="324091" y="5640057"/>
                  <a:pt x="324091" y="5664903"/>
                </a:cubicBezTo>
                <a:cubicBezTo>
                  <a:pt x="324091" y="5689749"/>
                  <a:pt x="303950" y="5709890"/>
                  <a:pt x="279104" y="5709890"/>
                </a:cubicBezTo>
                <a:lnTo>
                  <a:pt x="0" y="5709890"/>
                </a:lnTo>
                <a:close/>
                <a:moveTo>
                  <a:pt x="0" y="5442077"/>
                </a:moveTo>
                <a:lnTo>
                  <a:pt x="81776" y="5442077"/>
                </a:lnTo>
                <a:cubicBezTo>
                  <a:pt x="94401" y="5442077"/>
                  <a:pt x="104636" y="5452312"/>
                  <a:pt x="104636" y="5464937"/>
                </a:cubicBezTo>
                <a:lnTo>
                  <a:pt x="104635" y="5464937"/>
                </a:lnTo>
                <a:cubicBezTo>
                  <a:pt x="104635" y="5477562"/>
                  <a:pt x="94400" y="5487797"/>
                  <a:pt x="81775" y="5487797"/>
                </a:cubicBezTo>
                <a:lnTo>
                  <a:pt x="0" y="5487797"/>
                </a:lnTo>
                <a:close/>
                <a:moveTo>
                  <a:pt x="0" y="5288549"/>
                </a:moveTo>
                <a:lnTo>
                  <a:pt x="173216" y="5288549"/>
                </a:lnTo>
                <a:cubicBezTo>
                  <a:pt x="185841" y="5288549"/>
                  <a:pt x="196076" y="5298784"/>
                  <a:pt x="196076" y="5311409"/>
                </a:cubicBezTo>
                <a:lnTo>
                  <a:pt x="196075" y="5311409"/>
                </a:lnTo>
                <a:cubicBezTo>
                  <a:pt x="196075" y="5324034"/>
                  <a:pt x="185840" y="5334269"/>
                  <a:pt x="173215" y="5334269"/>
                </a:cubicBezTo>
                <a:lnTo>
                  <a:pt x="0" y="5334269"/>
                </a:lnTo>
                <a:close/>
                <a:moveTo>
                  <a:pt x="0" y="5135021"/>
                </a:moveTo>
                <a:lnTo>
                  <a:pt x="81776" y="5135021"/>
                </a:lnTo>
                <a:cubicBezTo>
                  <a:pt x="94401" y="5135021"/>
                  <a:pt x="104636" y="5145256"/>
                  <a:pt x="104636" y="5157881"/>
                </a:cubicBezTo>
                <a:lnTo>
                  <a:pt x="104635" y="5157881"/>
                </a:lnTo>
                <a:cubicBezTo>
                  <a:pt x="104635" y="5170506"/>
                  <a:pt x="94400" y="5180741"/>
                  <a:pt x="81775" y="5180741"/>
                </a:cubicBezTo>
                <a:lnTo>
                  <a:pt x="0" y="5180741"/>
                </a:lnTo>
                <a:close/>
                <a:moveTo>
                  <a:pt x="0" y="4937238"/>
                </a:moveTo>
                <a:lnTo>
                  <a:pt x="279104" y="4937238"/>
                </a:lnTo>
                <a:cubicBezTo>
                  <a:pt x="303950" y="4937238"/>
                  <a:pt x="324091" y="4957379"/>
                  <a:pt x="324091" y="4982225"/>
                </a:cubicBezTo>
                <a:cubicBezTo>
                  <a:pt x="324091" y="5007071"/>
                  <a:pt x="303950" y="5027212"/>
                  <a:pt x="279104" y="5027212"/>
                </a:cubicBezTo>
                <a:lnTo>
                  <a:pt x="0" y="5027212"/>
                </a:lnTo>
                <a:close/>
                <a:moveTo>
                  <a:pt x="0" y="4759399"/>
                </a:moveTo>
                <a:lnTo>
                  <a:pt x="81776" y="4759399"/>
                </a:lnTo>
                <a:cubicBezTo>
                  <a:pt x="94401" y="4759399"/>
                  <a:pt x="104636" y="4769634"/>
                  <a:pt x="104636" y="4782259"/>
                </a:cubicBezTo>
                <a:lnTo>
                  <a:pt x="104635" y="4782259"/>
                </a:lnTo>
                <a:cubicBezTo>
                  <a:pt x="104635" y="4794884"/>
                  <a:pt x="94400" y="4805119"/>
                  <a:pt x="81775" y="4805119"/>
                </a:cubicBezTo>
                <a:lnTo>
                  <a:pt x="0" y="4805119"/>
                </a:lnTo>
                <a:close/>
                <a:moveTo>
                  <a:pt x="0" y="4605871"/>
                </a:moveTo>
                <a:lnTo>
                  <a:pt x="173216" y="4605871"/>
                </a:lnTo>
                <a:cubicBezTo>
                  <a:pt x="185841" y="4605871"/>
                  <a:pt x="196076" y="4616106"/>
                  <a:pt x="196076" y="4628731"/>
                </a:cubicBezTo>
                <a:lnTo>
                  <a:pt x="196075" y="4628731"/>
                </a:lnTo>
                <a:cubicBezTo>
                  <a:pt x="196075" y="4641356"/>
                  <a:pt x="185840" y="4651591"/>
                  <a:pt x="173215" y="4651591"/>
                </a:cubicBezTo>
                <a:lnTo>
                  <a:pt x="0" y="4651591"/>
                </a:lnTo>
                <a:close/>
                <a:moveTo>
                  <a:pt x="0" y="4452343"/>
                </a:moveTo>
                <a:lnTo>
                  <a:pt x="81776" y="4452343"/>
                </a:lnTo>
                <a:cubicBezTo>
                  <a:pt x="94401" y="4452343"/>
                  <a:pt x="104636" y="4462578"/>
                  <a:pt x="104636" y="4475203"/>
                </a:cubicBezTo>
                <a:lnTo>
                  <a:pt x="104635" y="4475203"/>
                </a:lnTo>
                <a:cubicBezTo>
                  <a:pt x="104635" y="4487828"/>
                  <a:pt x="94400" y="4498063"/>
                  <a:pt x="81775" y="4498063"/>
                </a:cubicBezTo>
                <a:lnTo>
                  <a:pt x="0" y="4498063"/>
                </a:lnTo>
                <a:close/>
                <a:moveTo>
                  <a:pt x="0" y="4254560"/>
                </a:moveTo>
                <a:lnTo>
                  <a:pt x="279104" y="4254560"/>
                </a:lnTo>
                <a:cubicBezTo>
                  <a:pt x="303950" y="4254560"/>
                  <a:pt x="324091" y="4274701"/>
                  <a:pt x="324091" y="4299547"/>
                </a:cubicBezTo>
                <a:cubicBezTo>
                  <a:pt x="324091" y="4324393"/>
                  <a:pt x="303950" y="4344534"/>
                  <a:pt x="279104" y="4344534"/>
                </a:cubicBezTo>
                <a:lnTo>
                  <a:pt x="0" y="4344534"/>
                </a:lnTo>
                <a:close/>
                <a:moveTo>
                  <a:pt x="0" y="4076721"/>
                </a:moveTo>
                <a:lnTo>
                  <a:pt x="81776" y="4076721"/>
                </a:lnTo>
                <a:cubicBezTo>
                  <a:pt x="94401" y="4076721"/>
                  <a:pt x="104636" y="4086956"/>
                  <a:pt x="104636" y="4099581"/>
                </a:cubicBezTo>
                <a:lnTo>
                  <a:pt x="104635" y="4099581"/>
                </a:lnTo>
                <a:cubicBezTo>
                  <a:pt x="104635" y="4112206"/>
                  <a:pt x="94400" y="4122441"/>
                  <a:pt x="81775" y="4122441"/>
                </a:cubicBezTo>
                <a:lnTo>
                  <a:pt x="0" y="4122441"/>
                </a:lnTo>
                <a:close/>
                <a:moveTo>
                  <a:pt x="0" y="3923193"/>
                </a:moveTo>
                <a:lnTo>
                  <a:pt x="173216" y="3923193"/>
                </a:lnTo>
                <a:cubicBezTo>
                  <a:pt x="185841" y="3923193"/>
                  <a:pt x="196076" y="3933428"/>
                  <a:pt x="196076" y="3946053"/>
                </a:cubicBezTo>
                <a:lnTo>
                  <a:pt x="196075" y="3946053"/>
                </a:lnTo>
                <a:cubicBezTo>
                  <a:pt x="196075" y="3958678"/>
                  <a:pt x="185840" y="3968913"/>
                  <a:pt x="173215" y="3968913"/>
                </a:cubicBezTo>
                <a:lnTo>
                  <a:pt x="0" y="3968913"/>
                </a:lnTo>
                <a:close/>
                <a:moveTo>
                  <a:pt x="0" y="3769665"/>
                </a:moveTo>
                <a:lnTo>
                  <a:pt x="81776" y="3769665"/>
                </a:lnTo>
                <a:cubicBezTo>
                  <a:pt x="94401" y="3769665"/>
                  <a:pt x="104636" y="3779900"/>
                  <a:pt x="104636" y="3792525"/>
                </a:cubicBezTo>
                <a:lnTo>
                  <a:pt x="104635" y="3792525"/>
                </a:lnTo>
                <a:cubicBezTo>
                  <a:pt x="104635" y="3805150"/>
                  <a:pt x="94400" y="3815385"/>
                  <a:pt x="81775" y="3815385"/>
                </a:cubicBezTo>
                <a:lnTo>
                  <a:pt x="0" y="3815385"/>
                </a:lnTo>
                <a:close/>
                <a:moveTo>
                  <a:pt x="0" y="3571882"/>
                </a:moveTo>
                <a:lnTo>
                  <a:pt x="279104" y="3571882"/>
                </a:lnTo>
                <a:cubicBezTo>
                  <a:pt x="303950" y="3571882"/>
                  <a:pt x="324091" y="3592023"/>
                  <a:pt x="324091" y="3616869"/>
                </a:cubicBezTo>
                <a:cubicBezTo>
                  <a:pt x="324091" y="3641715"/>
                  <a:pt x="303950" y="3661856"/>
                  <a:pt x="279104" y="3661856"/>
                </a:cubicBezTo>
                <a:lnTo>
                  <a:pt x="0" y="3661856"/>
                </a:lnTo>
                <a:close/>
                <a:moveTo>
                  <a:pt x="0" y="3394043"/>
                </a:moveTo>
                <a:lnTo>
                  <a:pt x="81776" y="3394043"/>
                </a:lnTo>
                <a:cubicBezTo>
                  <a:pt x="94401" y="3394043"/>
                  <a:pt x="104636" y="3404279"/>
                  <a:pt x="104636" y="3416905"/>
                </a:cubicBezTo>
                <a:lnTo>
                  <a:pt x="104635" y="3416905"/>
                </a:lnTo>
                <a:cubicBezTo>
                  <a:pt x="104635" y="3429528"/>
                  <a:pt x="94400" y="3439763"/>
                  <a:pt x="81775" y="3439763"/>
                </a:cubicBezTo>
                <a:lnTo>
                  <a:pt x="0" y="3439763"/>
                </a:lnTo>
                <a:close/>
                <a:moveTo>
                  <a:pt x="0" y="3240516"/>
                </a:moveTo>
                <a:lnTo>
                  <a:pt x="173216" y="3240516"/>
                </a:lnTo>
                <a:cubicBezTo>
                  <a:pt x="185841" y="3240516"/>
                  <a:pt x="196076" y="3250752"/>
                  <a:pt x="196076" y="3263376"/>
                </a:cubicBezTo>
                <a:lnTo>
                  <a:pt x="196075" y="3263376"/>
                </a:lnTo>
                <a:cubicBezTo>
                  <a:pt x="196075" y="3276001"/>
                  <a:pt x="185840" y="3286236"/>
                  <a:pt x="173215" y="3286236"/>
                </a:cubicBezTo>
                <a:lnTo>
                  <a:pt x="0" y="3286236"/>
                </a:lnTo>
                <a:close/>
                <a:moveTo>
                  <a:pt x="0" y="3086989"/>
                </a:moveTo>
                <a:lnTo>
                  <a:pt x="81776" y="3086989"/>
                </a:lnTo>
                <a:cubicBezTo>
                  <a:pt x="94401" y="3086989"/>
                  <a:pt x="104636" y="3097224"/>
                  <a:pt x="104636" y="3109849"/>
                </a:cubicBezTo>
                <a:lnTo>
                  <a:pt x="104635" y="3109849"/>
                </a:lnTo>
                <a:cubicBezTo>
                  <a:pt x="104635" y="3122474"/>
                  <a:pt x="94400" y="3132709"/>
                  <a:pt x="81775" y="3132709"/>
                </a:cubicBezTo>
                <a:lnTo>
                  <a:pt x="0" y="3132709"/>
                </a:lnTo>
                <a:close/>
                <a:moveTo>
                  <a:pt x="0" y="2889206"/>
                </a:moveTo>
                <a:lnTo>
                  <a:pt x="279104" y="2889206"/>
                </a:lnTo>
                <a:cubicBezTo>
                  <a:pt x="303950" y="2889206"/>
                  <a:pt x="324091" y="2909347"/>
                  <a:pt x="324091" y="2934194"/>
                </a:cubicBezTo>
                <a:cubicBezTo>
                  <a:pt x="324091" y="2959039"/>
                  <a:pt x="303950" y="2979180"/>
                  <a:pt x="279104" y="2979180"/>
                </a:cubicBezTo>
                <a:lnTo>
                  <a:pt x="0" y="2979180"/>
                </a:lnTo>
                <a:close/>
                <a:moveTo>
                  <a:pt x="0" y="2711367"/>
                </a:moveTo>
                <a:lnTo>
                  <a:pt x="81776" y="2711367"/>
                </a:lnTo>
                <a:cubicBezTo>
                  <a:pt x="94401" y="2711367"/>
                  <a:pt x="104636" y="2721602"/>
                  <a:pt x="104636" y="2734227"/>
                </a:cubicBezTo>
                <a:lnTo>
                  <a:pt x="104635" y="2734227"/>
                </a:lnTo>
                <a:cubicBezTo>
                  <a:pt x="104635" y="2746852"/>
                  <a:pt x="94400" y="2757087"/>
                  <a:pt x="81775" y="2757087"/>
                </a:cubicBezTo>
                <a:lnTo>
                  <a:pt x="0" y="2757087"/>
                </a:lnTo>
                <a:close/>
                <a:moveTo>
                  <a:pt x="0" y="2557839"/>
                </a:moveTo>
                <a:lnTo>
                  <a:pt x="173216" y="2557839"/>
                </a:lnTo>
                <a:cubicBezTo>
                  <a:pt x="185841" y="2557839"/>
                  <a:pt x="196076" y="2568074"/>
                  <a:pt x="196076" y="2580699"/>
                </a:cubicBezTo>
                <a:lnTo>
                  <a:pt x="196075" y="2580699"/>
                </a:lnTo>
                <a:cubicBezTo>
                  <a:pt x="196075" y="2593324"/>
                  <a:pt x="185840" y="2603559"/>
                  <a:pt x="173215" y="2603559"/>
                </a:cubicBezTo>
                <a:lnTo>
                  <a:pt x="0" y="2603559"/>
                </a:lnTo>
                <a:close/>
                <a:moveTo>
                  <a:pt x="0" y="2404312"/>
                </a:moveTo>
                <a:lnTo>
                  <a:pt x="81776" y="2404312"/>
                </a:lnTo>
                <a:cubicBezTo>
                  <a:pt x="94401" y="2404312"/>
                  <a:pt x="104636" y="2414546"/>
                  <a:pt x="104636" y="2427171"/>
                </a:cubicBezTo>
                <a:lnTo>
                  <a:pt x="104635" y="2427171"/>
                </a:lnTo>
                <a:cubicBezTo>
                  <a:pt x="104635" y="2439796"/>
                  <a:pt x="94400" y="2450032"/>
                  <a:pt x="81775" y="2450032"/>
                </a:cubicBezTo>
                <a:lnTo>
                  <a:pt x="0" y="2450032"/>
                </a:lnTo>
                <a:close/>
                <a:moveTo>
                  <a:pt x="0" y="2206528"/>
                </a:moveTo>
                <a:lnTo>
                  <a:pt x="279104" y="2206528"/>
                </a:lnTo>
                <a:cubicBezTo>
                  <a:pt x="303950" y="2206528"/>
                  <a:pt x="324091" y="2226669"/>
                  <a:pt x="324091" y="2251515"/>
                </a:cubicBezTo>
                <a:cubicBezTo>
                  <a:pt x="324091" y="2276362"/>
                  <a:pt x="303950" y="2296503"/>
                  <a:pt x="279104" y="2296503"/>
                </a:cubicBezTo>
                <a:lnTo>
                  <a:pt x="0" y="2296503"/>
                </a:lnTo>
                <a:close/>
                <a:moveTo>
                  <a:pt x="0" y="2028689"/>
                </a:moveTo>
                <a:lnTo>
                  <a:pt x="81776" y="2028689"/>
                </a:lnTo>
                <a:cubicBezTo>
                  <a:pt x="94401" y="2028689"/>
                  <a:pt x="104636" y="2038925"/>
                  <a:pt x="104636" y="2051550"/>
                </a:cubicBezTo>
                <a:lnTo>
                  <a:pt x="104635" y="2051550"/>
                </a:lnTo>
                <a:cubicBezTo>
                  <a:pt x="104635" y="2064175"/>
                  <a:pt x="94400" y="2074409"/>
                  <a:pt x="81775" y="2074409"/>
                </a:cubicBezTo>
                <a:lnTo>
                  <a:pt x="0" y="2074409"/>
                </a:lnTo>
                <a:close/>
                <a:moveTo>
                  <a:pt x="0" y="1875162"/>
                </a:moveTo>
                <a:lnTo>
                  <a:pt x="173216" y="1875162"/>
                </a:lnTo>
                <a:cubicBezTo>
                  <a:pt x="185841" y="1875162"/>
                  <a:pt x="196076" y="1885397"/>
                  <a:pt x="196076" y="1898022"/>
                </a:cubicBezTo>
                <a:lnTo>
                  <a:pt x="196075" y="1898022"/>
                </a:lnTo>
                <a:cubicBezTo>
                  <a:pt x="196075" y="1910647"/>
                  <a:pt x="185840" y="1920882"/>
                  <a:pt x="173215" y="1920882"/>
                </a:cubicBezTo>
                <a:lnTo>
                  <a:pt x="0" y="1920882"/>
                </a:lnTo>
                <a:close/>
                <a:moveTo>
                  <a:pt x="0" y="1721635"/>
                </a:moveTo>
                <a:lnTo>
                  <a:pt x="81776" y="1721635"/>
                </a:lnTo>
                <a:cubicBezTo>
                  <a:pt x="94401" y="1721635"/>
                  <a:pt x="104636" y="1731870"/>
                  <a:pt x="104636" y="1744495"/>
                </a:cubicBezTo>
                <a:lnTo>
                  <a:pt x="104635" y="1744495"/>
                </a:lnTo>
                <a:cubicBezTo>
                  <a:pt x="104635" y="1757120"/>
                  <a:pt x="94400" y="1767355"/>
                  <a:pt x="81775" y="1767355"/>
                </a:cubicBezTo>
                <a:lnTo>
                  <a:pt x="0" y="1767355"/>
                </a:lnTo>
                <a:close/>
                <a:moveTo>
                  <a:pt x="0" y="1523851"/>
                </a:moveTo>
                <a:lnTo>
                  <a:pt x="279104" y="1523851"/>
                </a:lnTo>
                <a:cubicBezTo>
                  <a:pt x="303950" y="1523851"/>
                  <a:pt x="324091" y="1543992"/>
                  <a:pt x="324091" y="1568838"/>
                </a:cubicBezTo>
                <a:cubicBezTo>
                  <a:pt x="324091" y="1593684"/>
                  <a:pt x="303950" y="1613826"/>
                  <a:pt x="279104" y="1613826"/>
                </a:cubicBezTo>
                <a:lnTo>
                  <a:pt x="0" y="1613826"/>
                </a:lnTo>
                <a:close/>
                <a:moveTo>
                  <a:pt x="0" y="1346012"/>
                </a:moveTo>
                <a:lnTo>
                  <a:pt x="81776" y="1346012"/>
                </a:lnTo>
                <a:cubicBezTo>
                  <a:pt x="94401" y="1346012"/>
                  <a:pt x="104636" y="1356247"/>
                  <a:pt x="104636" y="1368872"/>
                </a:cubicBezTo>
                <a:lnTo>
                  <a:pt x="104635" y="1368872"/>
                </a:lnTo>
                <a:cubicBezTo>
                  <a:pt x="104635" y="1381497"/>
                  <a:pt x="94400" y="1391732"/>
                  <a:pt x="81775" y="1391732"/>
                </a:cubicBezTo>
                <a:lnTo>
                  <a:pt x="0" y="1391732"/>
                </a:lnTo>
                <a:close/>
                <a:moveTo>
                  <a:pt x="0" y="1192484"/>
                </a:moveTo>
                <a:lnTo>
                  <a:pt x="173216" y="1192484"/>
                </a:lnTo>
                <a:cubicBezTo>
                  <a:pt x="185841" y="1192484"/>
                  <a:pt x="196076" y="1202719"/>
                  <a:pt x="196076" y="1215344"/>
                </a:cubicBezTo>
                <a:lnTo>
                  <a:pt x="196075" y="1215344"/>
                </a:lnTo>
                <a:cubicBezTo>
                  <a:pt x="196075" y="1227969"/>
                  <a:pt x="185840" y="1238205"/>
                  <a:pt x="173215" y="1238205"/>
                </a:cubicBezTo>
                <a:lnTo>
                  <a:pt x="0" y="1238205"/>
                </a:lnTo>
                <a:close/>
                <a:moveTo>
                  <a:pt x="0" y="1038956"/>
                </a:moveTo>
                <a:lnTo>
                  <a:pt x="81776" y="1038956"/>
                </a:lnTo>
                <a:cubicBezTo>
                  <a:pt x="94401" y="1038956"/>
                  <a:pt x="104636" y="1049192"/>
                  <a:pt x="104636" y="1061817"/>
                </a:cubicBezTo>
                <a:lnTo>
                  <a:pt x="104635" y="1061817"/>
                </a:lnTo>
                <a:cubicBezTo>
                  <a:pt x="104635" y="1074442"/>
                  <a:pt x="94400" y="1084677"/>
                  <a:pt x="81775" y="1084677"/>
                </a:cubicBezTo>
                <a:lnTo>
                  <a:pt x="0" y="1084677"/>
                </a:lnTo>
                <a:close/>
                <a:moveTo>
                  <a:pt x="0" y="841173"/>
                </a:moveTo>
                <a:lnTo>
                  <a:pt x="279104" y="841173"/>
                </a:lnTo>
                <a:cubicBezTo>
                  <a:pt x="303950" y="841173"/>
                  <a:pt x="324091" y="861314"/>
                  <a:pt x="324091" y="886160"/>
                </a:cubicBezTo>
                <a:cubicBezTo>
                  <a:pt x="324091" y="911007"/>
                  <a:pt x="303950" y="931147"/>
                  <a:pt x="279104" y="931147"/>
                </a:cubicBezTo>
                <a:lnTo>
                  <a:pt x="0" y="931147"/>
                </a:lnTo>
                <a:close/>
                <a:moveTo>
                  <a:pt x="0" y="663334"/>
                </a:moveTo>
                <a:lnTo>
                  <a:pt x="81776" y="663334"/>
                </a:lnTo>
                <a:cubicBezTo>
                  <a:pt x="94401" y="663334"/>
                  <a:pt x="104636" y="673569"/>
                  <a:pt x="104636" y="686194"/>
                </a:cubicBezTo>
                <a:lnTo>
                  <a:pt x="104635" y="686194"/>
                </a:lnTo>
                <a:cubicBezTo>
                  <a:pt x="104635" y="698819"/>
                  <a:pt x="94400" y="709054"/>
                  <a:pt x="81775" y="709054"/>
                </a:cubicBezTo>
                <a:lnTo>
                  <a:pt x="0" y="709054"/>
                </a:lnTo>
                <a:close/>
                <a:moveTo>
                  <a:pt x="0" y="509806"/>
                </a:moveTo>
                <a:lnTo>
                  <a:pt x="173216" y="509806"/>
                </a:lnTo>
                <a:cubicBezTo>
                  <a:pt x="185841" y="509806"/>
                  <a:pt x="196076" y="520041"/>
                  <a:pt x="196076" y="532666"/>
                </a:cubicBezTo>
                <a:lnTo>
                  <a:pt x="196075" y="532666"/>
                </a:lnTo>
                <a:cubicBezTo>
                  <a:pt x="196075" y="545291"/>
                  <a:pt x="185840" y="555526"/>
                  <a:pt x="173215" y="555526"/>
                </a:cubicBezTo>
                <a:lnTo>
                  <a:pt x="0" y="555526"/>
                </a:lnTo>
                <a:close/>
                <a:moveTo>
                  <a:pt x="0" y="356279"/>
                </a:moveTo>
                <a:lnTo>
                  <a:pt x="81776" y="356279"/>
                </a:lnTo>
                <a:cubicBezTo>
                  <a:pt x="94401" y="356279"/>
                  <a:pt x="104636" y="366514"/>
                  <a:pt x="104636" y="379139"/>
                </a:cubicBezTo>
                <a:lnTo>
                  <a:pt x="104635" y="379139"/>
                </a:lnTo>
                <a:cubicBezTo>
                  <a:pt x="104635" y="391764"/>
                  <a:pt x="94400" y="401999"/>
                  <a:pt x="81775" y="401999"/>
                </a:cubicBezTo>
                <a:lnTo>
                  <a:pt x="0" y="401999"/>
                </a:lnTo>
                <a:close/>
                <a:moveTo>
                  <a:pt x="0" y="158496"/>
                </a:moveTo>
                <a:lnTo>
                  <a:pt x="279104" y="158496"/>
                </a:lnTo>
                <a:cubicBezTo>
                  <a:pt x="303950" y="158496"/>
                  <a:pt x="324091" y="178637"/>
                  <a:pt x="324091" y="203483"/>
                </a:cubicBezTo>
                <a:cubicBezTo>
                  <a:pt x="324091" y="228329"/>
                  <a:pt x="303950" y="248470"/>
                  <a:pt x="279104" y="248470"/>
                </a:cubicBezTo>
                <a:lnTo>
                  <a:pt x="0" y="248470"/>
                </a:lnTo>
                <a:close/>
                <a:moveTo>
                  <a:pt x="0" y="0"/>
                </a:moveTo>
                <a:lnTo>
                  <a:pt x="81776" y="0"/>
                </a:lnTo>
                <a:cubicBezTo>
                  <a:pt x="94401" y="0"/>
                  <a:pt x="104636" y="10235"/>
                  <a:pt x="104636" y="22860"/>
                </a:cubicBezTo>
                <a:lnTo>
                  <a:pt x="104635" y="22860"/>
                </a:lnTo>
                <a:cubicBezTo>
                  <a:pt x="104635" y="35485"/>
                  <a:pt x="94400" y="45720"/>
                  <a:pt x="81775" y="45720"/>
                </a:cubicBezTo>
                <a:lnTo>
                  <a:pt x="0" y="45720"/>
                </a:lnTo>
                <a:close/>
              </a:path>
            </a:pathLst>
          </a:custGeom>
          <a:solidFill>
            <a:schemeClr val="bg1">
              <a:alpha val="3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AE5B9C9-FB31-47B6-96D9-F43D9914EFDF}"/>
              </a:ext>
            </a:extLst>
          </p:cNvPr>
          <p:cNvSpPr/>
          <p:nvPr userDrawn="1"/>
        </p:nvSpPr>
        <p:spPr>
          <a:xfrm>
            <a:off x="6295388" y="0"/>
            <a:ext cx="138452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B99CB54-6029-44E7-99F2-5D8B0D22D141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32EDE9C-E598-43B6-8218-5788A6B502C6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F163C6F-8241-4517-B3D0-E5CA455564A4}"/>
              </a:ext>
            </a:extLst>
          </p:cNvPr>
          <p:cNvSpPr/>
          <p:nvPr userDrawn="1"/>
        </p:nvSpPr>
        <p:spPr>
          <a:xfrm>
            <a:off x="422265" y="6705600"/>
            <a:ext cx="5850636" cy="15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800">
                <a:solidFill>
                  <a:schemeClr val="bg1"/>
                </a:solidFill>
                <a:ea typeface="MS PGothic" pitchFamily="34" charset="-128"/>
              </a:rPr>
              <a:t>Pfizer Confidential – Internal Use Only, Not for Further Distribution</a:t>
            </a:r>
            <a:endParaRPr lang="en-US" sz="800">
              <a:solidFill>
                <a:schemeClr val="bg1"/>
              </a:solidFill>
              <a:ea typeface="MS PGothic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3030" y="311029"/>
            <a:ext cx="5341947" cy="2852737"/>
          </a:xfrm>
        </p:spPr>
        <p:txBody>
          <a:bodyPr anchor="b"/>
          <a:lstStyle>
            <a:lvl1pPr algn="l">
              <a:defRPr sz="4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3030" y="3429001"/>
            <a:ext cx="5341947" cy="1500187"/>
          </a:xfrm>
        </p:spPr>
        <p:txBody>
          <a:bodyPr/>
          <a:lstStyle>
            <a:lvl1pPr marL="0" indent="0" algn="l">
              <a:buNone/>
              <a:defRPr sz="2399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C309840-91AB-4C66-94CD-DBA446B53D4B}"/>
              </a:ext>
            </a:extLst>
          </p:cNvPr>
          <p:cNvCxnSpPr>
            <a:cxnSpLocks/>
          </p:cNvCxnSpPr>
          <p:nvPr userDrawn="1"/>
        </p:nvCxnSpPr>
        <p:spPr>
          <a:xfrm>
            <a:off x="933614" y="3282679"/>
            <a:ext cx="212432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A person in a yellow shirt&#10;&#10;Description automatically generated with low confidence">
            <a:extLst>
              <a:ext uri="{FF2B5EF4-FFF2-40B4-BE49-F238E27FC236}">
                <a16:creationId xmlns:a16="http://schemas.microsoft.com/office/drawing/2014/main" id="{EEC28B0E-8FDF-4620-9F37-7B060F6B2FEF}"/>
              </a:ext>
            </a:extLst>
          </p:cNvPr>
          <p:cNvPicPr preferRelativeResize="0">
            <a:picLocks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33841" y="0"/>
            <a:ext cx="5590436" cy="6858000"/>
          </a:xfrm>
          <a:prstGeom prst="rect">
            <a:avLst/>
          </a:prstGeom>
        </p:spPr>
      </p:pic>
      <p:pic>
        <p:nvPicPr>
          <p:cNvPr id="16" name="Picture 15" descr="Logo&#10;&#10;Description automatically generated">
            <a:extLst>
              <a:ext uri="{FF2B5EF4-FFF2-40B4-BE49-F238E27FC236}">
                <a16:creationId xmlns:a16="http://schemas.microsoft.com/office/drawing/2014/main" id="{AB10A780-8B1D-4FD9-A3B9-B9DF9312340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32883" y="6120714"/>
            <a:ext cx="1017656" cy="420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7157474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52DACC8-F68A-4E7E-B68C-7F1399D9114E}"/>
              </a:ext>
            </a:extLst>
          </p:cNvPr>
          <p:cNvSpPr/>
          <p:nvPr userDrawn="1"/>
        </p:nvSpPr>
        <p:spPr>
          <a:xfrm>
            <a:off x="2072100" y="6705600"/>
            <a:ext cx="8044625" cy="15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800">
                <a:solidFill>
                  <a:schemeClr val="tx1">
                    <a:lumMod val="60000"/>
                    <a:lumOff val="40000"/>
                  </a:schemeClr>
                </a:solidFill>
                <a:ea typeface="MS PGothic" pitchFamily="34" charset="-128"/>
              </a:rPr>
              <a:t>Pfizer Confidential – Internal Use Only, Not for Further Distribution</a:t>
            </a:r>
            <a:endParaRPr lang="en-US" sz="800">
              <a:solidFill>
                <a:schemeClr val="tx1">
                  <a:lumMod val="60000"/>
                  <a:lumOff val="40000"/>
                </a:schemeClr>
              </a:solidFill>
              <a:ea typeface="MS PGothic" pitchFamily="34" charset="-128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C514C5-2143-4E16-837F-CF028230C903}"/>
              </a:ext>
            </a:extLst>
          </p:cNvPr>
          <p:cNvSpPr/>
          <p:nvPr userDrawn="1"/>
        </p:nvSpPr>
        <p:spPr>
          <a:xfrm>
            <a:off x="0" y="0"/>
            <a:ext cx="2011157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E1FD921-B9B9-4E01-8593-A27B37592D89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27281B-F7F1-4E3B-B238-0D64683B763A}"/>
              </a:ext>
            </a:extLst>
          </p:cNvPr>
          <p:cNvSpPr/>
          <p:nvPr userDrawn="1"/>
        </p:nvSpPr>
        <p:spPr>
          <a:xfrm>
            <a:off x="1897132" y="0"/>
            <a:ext cx="138452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3941344-CBA3-46F5-9801-595985401D8A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D2612D66-723A-4927-9CE6-16C13A003646}"/>
              </a:ext>
            </a:extLst>
          </p:cNvPr>
          <p:cNvSpPr/>
          <p:nvPr/>
        </p:nvSpPr>
        <p:spPr>
          <a:xfrm>
            <a:off x="0" y="141677"/>
            <a:ext cx="324007" cy="6853150"/>
          </a:xfrm>
          <a:custGeom>
            <a:avLst/>
            <a:gdLst>
              <a:gd name="connsiteX0" fmla="*/ 0 w 324091"/>
              <a:gd name="connsiteY0" fmla="*/ 6807430 h 6853150"/>
              <a:gd name="connsiteX1" fmla="*/ 81776 w 324091"/>
              <a:gd name="connsiteY1" fmla="*/ 6807430 h 6853150"/>
              <a:gd name="connsiteX2" fmla="*/ 104636 w 324091"/>
              <a:gd name="connsiteY2" fmla="*/ 6830290 h 6853150"/>
              <a:gd name="connsiteX3" fmla="*/ 104635 w 324091"/>
              <a:gd name="connsiteY3" fmla="*/ 6830290 h 6853150"/>
              <a:gd name="connsiteX4" fmla="*/ 81775 w 324091"/>
              <a:gd name="connsiteY4" fmla="*/ 6853150 h 6853150"/>
              <a:gd name="connsiteX5" fmla="*/ 0 w 324091"/>
              <a:gd name="connsiteY5" fmla="*/ 6853150 h 6853150"/>
              <a:gd name="connsiteX6" fmla="*/ 0 w 324091"/>
              <a:gd name="connsiteY6" fmla="*/ 6653902 h 6853150"/>
              <a:gd name="connsiteX7" fmla="*/ 173216 w 324091"/>
              <a:gd name="connsiteY7" fmla="*/ 6653902 h 6853150"/>
              <a:gd name="connsiteX8" fmla="*/ 196076 w 324091"/>
              <a:gd name="connsiteY8" fmla="*/ 6676762 h 6853150"/>
              <a:gd name="connsiteX9" fmla="*/ 196075 w 324091"/>
              <a:gd name="connsiteY9" fmla="*/ 6676762 h 6853150"/>
              <a:gd name="connsiteX10" fmla="*/ 173215 w 324091"/>
              <a:gd name="connsiteY10" fmla="*/ 6699622 h 6853150"/>
              <a:gd name="connsiteX11" fmla="*/ 0 w 324091"/>
              <a:gd name="connsiteY11" fmla="*/ 6699622 h 6853150"/>
              <a:gd name="connsiteX12" fmla="*/ 0 w 324091"/>
              <a:gd name="connsiteY12" fmla="*/ 6500374 h 6853150"/>
              <a:gd name="connsiteX13" fmla="*/ 81776 w 324091"/>
              <a:gd name="connsiteY13" fmla="*/ 6500374 h 6853150"/>
              <a:gd name="connsiteX14" fmla="*/ 104636 w 324091"/>
              <a:gd name="connsiteY14" fmla="*/ 6523234 h 6853150"/>
              <a:gd name="connsiteX15" fmla="*/ 104635 w 324091"/>
              <a:gd name="connsiteY15" fmla="*/ 6523234 h 6853150"/>
              <a:gd name="connsiteX16" fmla="*/ 81775 w 324091"/>
              <a:gd name="connsiteY16" fmla="*/ 6546094 h 6853150"/>
              <a:gd name="connsiteX17" fmla="*/ 0 w 324091"/>
              <a:gd name="connsiteY17" fmla="*/ 6546094 h 6853150"/>
              <a:gd name="connsiteX18" fmla="*/ 0 w 324091"/>
              <a:gd name="connsiteY18" fmla="*/ 6302591 h 6853150"/>
              <a:gd name="connsiteX19" fmla="*/ 279104 w 324091"/>
              <a:gd name="connsiteY19" fmla="*/ 6302591 h 6853150"/>
              <a:gd name="connsiteX20" fmla="*/ 324091 w 324091"/>
              <a:gd name="connsiteY20" fmla="*/ 6347578 h 6853150"/>
              <a:gd name="connsiteX21" fmla="*/ 279104 w 324091"/>
              <a:gd name="connsiteY21" fmla="*/ 6392565 h 6853150"/>
              <a:gd name="connsiteX22" fmla="*/ 0 w 324091"/>
              <a:gd name="connsiteY22" fmla="*/ 6392565 h 6853150"/>
              <a:gd name="connsiteX23" fmla="*/ 0 w 324091"/>
              <a:gd name="connsiteY23" fmla="*/ 6124755 h 6853150"/>
              <a:gd name="connsiteX24" fmla="*/ 81776 w 324091"/>
              <a:gd name="connsiteY24" fmla="*/ 6124755 h 6853150"/>
              <a:gd name="connsiteX25" fmla="*/ 104636 w 324091"/>
              <a:gd name="connsiteY25" fmla="*/ 6147615 h 6853150"/>
              <a:gd name="connsiteX26" fmla="*/ 104635 w 324091"/>
              <a:gd name="connsiteY26" fmla="*/ 6147615 h 6853150"/>
              <a:gd name="connsiteX27" fmla="*/ 81775 w 324091"/>
              <a:gd name="connsiteY27" fmla="*/ 6170475 h 6853150"/>
              <a:gd name="connsiteX28" fmla="*/ 0 w 324091"/>
              <a:gd name="connsiteY28" fmla="*/ 6170475 h 6853150"/>
              <a:gd name="connsiteX29" fmla="*/ 0 w 324091"/>
              <a:gd name="connsiteY29" fmla="*/ 5971227 h 6853150"/>
              <a:gd name="connsiteX30" fmla="*/ 173216 w 324091"/>
              <a:gd name="connsiteY30" fmla="*/ 5971227 h 6853150"/>
              <a:gd name="connsiteX31" fmla="*/ 196076 w 324091"/>
              <a:gd name="connsiteY31" fmla="*/ 5994087 h 6853150"/>
              <a:gd name="connsiteX32" fmla="*/ 196075 w 324091"/>
              <a:gd name="connsiteY32" fmla="*/ 5994087 h 6853150"/>
              <a:gd name="connsiteX33" fmla="*/ 173215 w 324091"/>
              <a:gd name="connsiteY33" fmla="*/ 6016947 h 6853150"/>
              <a:gd name="connsiteX34" fmla="*/ 0 w 324091"/>
              <a:gd name="connsiteY34" fmla="*/ 6016947 h 6853150"/>
              <a:gd name="connsiteX35" fmla="*/ 0 w 324091"/>
              <a:gd name="connsiteY35" fmla="*/ 5817699 h 6853150"/>
              <a:gd name="connsiteX36" fmla="*/ 81776 w 324091"/>
              <a:gd name="connsiteY36" fmla="*/ 5817699 h 6853150"/>
              <a:gd name="connsiteX37" fmla="*/ 104636 w 324091"/>
              <a:gd name="connsiteY37" fmla="*/ 5840559 h 6853150"/>
              <a:gd name="connsiteX38" fmla="*/ 104635 w 324091"/>
              <a:gd name="connsiteY38" fmla="*/ 5840559 h 6853150"/>
              <a:gd name="connsiteX39" fmla="*/ 81775 w 324091"/>
              <a:gd name="connsiteY39" fmla="*/ 5863419 h 6853150"/>
              <a:gd name="connsiteX40" fmla="*/ 0 w 324091"/>
              <a:gd name="connsiteY40" fmla="*/ 5863419 h 6853150"/>
              <a:gd name="connsiteX41" fmla="*/ 0 w 324091"/>
              <a:gd name="connsiteY41" fmla="*/ 5619916 h 6853150"/>
              <a:gd name="connsiteX42" fmla="*/ 279104 w 324091"/>
              <a:gd name="connsiteY42" fmla="*/ 5619916 h 6853150"/>
              <a:gd name="connsiteX43" fmla="*/ 324091 w 324091"/>
              <a:gd name="connsiteY43" fmla="*/ 5664903 h 6853150"/>
              <a:gd name="connsiteX44" fmla="*/ 279104 w 324091"/>
              <a:gd name="connsiteY44" fmla="*/ 5709890 h 6853150"/>
              <a:gd name="connsiteX45" fmla="*/ 0 w 324091"/>
              <a:gd name="connsiteY45" fmla="*/ 5709890 h 6853150"/>
              <a:gd name="connsiteX46" fmla="*/ 0 w 324091"/>
              <a:gd name="connsiteY46" fmla="*/ 5442077 h 6853150"/>
              <a:gd name="connsiteX47" fmla="*/ 81776 w 324091"/>
              <a:gd name="connsiteY47" fmla="*/ 5442077 h 6853150"/>
              <a:gd name="connsiteX48" fmla="*/ 104636 w 324091"/>
              <a:gd name="connsiteY48" fmla="*/ 5464937 h 6853150"/>
              <a:gd name="connsiteX49" fmla="*/ 104635 w 324091"/>
              <a:gd name="connsiteY49" fmla="*/ 5464937 h 6853150"/>
              <a:gd name="connsiteX50" fmla="*/ 81775 w 324091"/>
              <a:gd name="connsiteY50" fmla="*/ 5487797 h 6853150"/>
              <a:gd name="connsiteX51" fmla="*/ 0 w 324091"/>
              <a:gd name="connsiteY51" fmla="*/ 5487797 h 6853150"/>
              <a:gd name="connsiteX52" fmla="*/ 0 w 324091"/>
              <a:gd name="connsiteY52" fmla="*/ 5288549 h 6853150"/>
              <a:gd name="connsiteX53" fmla="*/ 173216 w 324091"/>
              <a:gd name="connsiteY53" fmla="*/ 5288549 h 6853150"/>
              <a:gd name="connsiteX54" fmla="*/ 196076 w 324091"/>
              <a:gd name="connsiteY54" fmla="*/ 5311409 h 6853150"/>
              <a:gd name="connsiteX55" fmla="*/ 196075 w 324091"/>
              <a:gd name="connsiteY55" fmla="*/ 5311409 h 6853150"/>
              <a:gd name="connsiteX56" fmla="*/ 173215 w 324091"/>
              <a:gd name="connsiteY56" fmla="*/ 5334269 h 6853150"/>
              <a:gd name="connsiteX57" fmla="*/ 0 w 324091"/>
              <a:gd name="connsiteY57" fmla="*/ 5334269 h 6853150"/>
              <a:gd name="connsiteX58" fmla="*/ 0 w 324091"/>
              <a:gd name="connsiteY58" fmla="*/ 5135021 h 6853150"/>
              <a:gd name="connsiteX59" fmla="*/ 81776 w 324091"/>
              <a:gd name="connsiteY59" fmla="*/ 5135021 h 6853150"/>
              <a:gd name="connsiteX60" fmla="*/ 104636 w 324091"/>
              <a:gd name="connsiteY60" fmla="*/ 5157881 h 6853150"/>
              <a:gd name="connsiteX61" fmla="*/ 104635 w 324091"/>
              <a:gd name="connsiteY61" fmla="*/ 5157881 h 6853150"/>
              <a:gd name="connsiteX62" fmla="*/ 81775 w 324091"/>
              <a:gd name="connsiteY62" fmla="*/ 5180741 h 6853150"/>
              <a:gd name="connsiteX63" fmla="*/ 0 w 324091"/>
              <a:gd name="connsiteY63" fmla="*/ 5180741 h 6853150"/>
              <a:gd name="connsiteX64" fmla="*/ 0 w 324091"/>
              <a:gd name="connsiteY64" fmla="*/ 4937238 h 6853150"/>
              <a:gd name="connsiteX65" fmla="*/ 279104 w 324091"/>
              <a:gd name="connsiteY65" fmla="*/ 4937238 h 6853150"/>
              <a:gd name="connsiteX66" fmla="*/ 324091 w 324091"/>
              <a:gd name="connsiteY66" fmla="*/ 4982225 h 6853150"/>
              <a:gd name="connsiteX67" fmla="*/ 279104 w 324091"/>
              <a:gd name="connsiteY67" fmla="*/ 5027212 h 6853150"/>
              <a:gd name="connsiteX68" fmla="*/ 0 w 324091"/>
              <a:gd name="connsiteY68" fmla="*/ 5027212 h 6853150"/>
              <a:gd name="connsiteX69" fmla="*/ 0 w 324091"/>
              <a:gd name="connsiteY69" fmla="*/ 4759399 h 6853150"/>
              <a:gd name="connsiteX70" fmla="*/ 81776 w 324091"/>
              <a:gd name="connsiteY70" fmla="*/ 4759399 h 6853150"/>
              <a:gd name="connsiteX71" fmla="*/ 104636 w 324091"/>
              <a:gd name="connsiteY71" fmla="*/ 4782259 h 6853150"/>
              <a:gd name="connsiteX72" fmla="*/ 104635 w 324091"/>
              <a:gd name="connsiteY72" fmla="*/ 4782259 h 6853150"/>
              <a:gd name="connsiteX73" fmla="*/ 81775 w 324091"/>
              <a:gd name="connsiteY73" fmla="*/ 4805119 h 6853150"/>
              <a:gd name="connsiteX74" fmla="*/ 0 w 324091"/>
              <a:gd name="connsiteY74" fmla="*/ 4805119 h 6853150"/>
              <a:gd name="connsiteX75" fmla="*/ 0 w 324091"/>
              <a:gd name="connsiteY75" fmla="*/ 4605871 h 6853150"/>
              <a:gd name="connsiteX76" fmla="*/ 173216 w 324091"/>
              <a:gd name="connsiteY76" fmla="*/ 4605871 h 6853150"/>
              <a:gd name="connsiteX77" fmla="*/ 196076 w 324091"/>
              <a:gd name="connsiteY77" fmla="*/ 4628731 h 6853150"/>
              <a:gd name="connsiteX78" fmla="*/ 196075 w 324091"/>
              <a:gd name="connsiteY78" fmla="*/ 4628731 h 6853150"/>
              <a:gd name="connsiteX79" fmla="*/ 173215 w 324091"/>
              <a:gd name="connsiteY79" fmla="*/ 4651591 h 6853150"/>
              <a:gd name="connsiteX80" fmla="*/ 0 w 324091"/>
              <a:gd name="connsiteY80" fmla="*/ 4651591 h 6853150"/>
              <a:gd name="connsiteX81" fmla="*/ 0 w 324091"/>
              <a:gd name="connsiteY81" fmla="*/ 4452343 h 6853150"/>
              <a:gd name="connsiteX82" fmla="*/ 81776 w 324091"/>
              <a:gd name="connsiteY82" fmla="*/ 4452343 h 6853150"/>
              <a:gd name="connsiteX83" fmla="*/ 104636 w 324091"/>
              <a:gd name="connsiteY83" fmla="*/ 4475203 h 6853150"/>
              <a:gd name="connsiteX84" fmla="*/ 104635 w 324091"/>
              <a:gd name="connsiteY84" fmla="*/ 4475203 h 6853150"/>
              <a:gd name="connsiteX85" fmla="*/ 81775 w 324091"/>
              <a:gd name="connsiteY85" fmla="*/ 4498063 h 6853150"/>
              <a:gd name="connsiteX86" fmla="*/ 0 w 324091"/>
              <a:gd name="connsiteY86" fmla="*/ 4498063 h 6853150"/>
              <a:gd name="connsiteX87" fmla="*/ 0 w 324091"/>
              <a:gd name="connsiteY87" fmla="*/ 4254560 h 6853150"/>
              <a:gd name="connsiteX88" fmla="*/ 279104 w 324091"/>
              <a:gd name="connsiteY88" fmla="*/ 4254560 h 6853150"/>
              <a:gd name="connsiteX89" fmla="*/ 324091 w 324091"/>
              <a:gd name="connsiteY89" fmla="*/ 4299547 h 6853150"/>
              <a:gd name="connsiteX90" fmla="*/ 279104 w 324091"/>
              <a:gd name="connsiteY90" fmla="*/ 4344534 h 6853150"/>
              <a:gd name="connsiteX91" fmla="*/ 0 w 324091"/>
              <a:gd name="connsiteY91" fmla="*/ 4344534 h 6853150"/>
              <a:gd name="connsiteX92" fmla="*/ 0 w 324091"/>
              <a:gd name="connsiteY92" fmla="*/ 4076721 h 6853150"/>
              <a:gd name="connsiteX93" fmla="*/ 81776 w 324091"/>
              <a:gd name="connsiteY93" fmla="*/ 4076721 h 6853150"/>
              <a:gd name="connsiteX94" fmla="*/ 104636 w 324091"/>
              <a:gd name="connsiteY94" fmla="*/ 4099581 h 6853150"/>
              <a:gd name="connsiteX95" fmla="*/ 104635 w 324091"/>
              <a:gd name="connsiteY95" fmla="*/ 4099581 h 6853150"/>
              <a:gd name="connsiteX96" fmla="*/ 81775 w 324091"/>
              <a:gd name="connsiteY96" fmla="*/ 4122441 h 6853150"/>
              <a:gd name="connsiteX97" fmla="*/ 0 w 324091"/>
              <a:gd name="connsiteY97" fmla="*/ 4122441 h 6853150"/>
              <a:gd name="connsiteX98" fmla="*/ 0 w 324091"/>
              <a:gd name="connsiteY98" fmla="*/ 3923193 h 6853150"/>
              <a:gd name="connsiteX99" fmla="*/ 173216 w 324091"/>
              <a:gd name="connsiteY99" fmla="*/ 3923193 h 6853150"/>
              <a:gd name="connsiteX100" fmla="*/ 196076 w 324091"/>
              <a:gd name="connsiteY100" fmla="*/ 3946053 h 6853150"/>
              <a:gd name="connsiteX101" fmla="*/ 196075 w 324091"/>
              <a:gd name="connsiteY101" fmla="*/ 3946053 h 6853150"/>
              <a:gd name="connsiteX102" fmla="*/ 173215 w 324091"/>
              <a:gd name="connsiteY102" fmla="*/ 3968913 h 6853150"/>
              <a:gd name="connsiteX103" fmla="*/ 0 w 324091"/>
              <a:gd name="connsiteY103" fmla="*/ 3968913 h 6853150"/>
              <a:gd name="connsiteX104" fmla="*/ 0 w 324091"/>
              <a:gd name="connsiteY104" fmla="*/ 3769665 h 6853150"/>
              <a:gd name="connsiteX105" fmla="*/ 81776 w 324091"/>
              <a:gd name="connsiteY105" fmla="*/ 3769665 h 6853150"/>
              <a:gd name="connsiteX106" fmla="*/ 104636 w 324091"/>
              <a:gd name="connsiteY106" fmla="*/ 3792525 h 6853150"/>
              <a:gd name="connsiteX107" fmla="*/ 104635 w 324091"/>
              <a:gd name="connsiteY107" fmla="*/ 3792525 h 6853150"/>
              <a:gd name="connsiteX108" fmla="*/ 81775 w 324091"/>
              <a:gd name="connsiteY108" fmla="*/ 3815385 h 6853150"/>
              <a:gd name="connsiteX109" fmla="*/ 0 w 324091"/>
              <a:gd name="connsiteY109" fmla="*/ 3815385 h 6853150"/>
              <a:gd name="connsiteX110" fmla="*/ 0 w 324091"/>
              <a:gd name="connsiteY110" fmla="*/ 3571882 h 6853150"/>
              <a:gd name="connsiteX111" fmla="*/ 279104 w 324091"/>
              <a:gd name="connsiteY111" fmla="*/ 3571882 h 6853150"/>
              <a:gd name="connsiteX112" fmla="*/ 324091 w 324091"/>
              <a:gd name="connsiteY112" fmla="*/ 3616869 h 6853150"/>
              <a:gd name="connsiteX113" fmla="*/ 279104 w 324091"/>
              <a:gd name="connsiteY113" fmla="*/ 3661856 h 6853150"/>
              <a:gd name="connsiteX114" fmla="*/ 0 w 324091"/>
              <a:gd name="connsiteY114" fmla="*/ 3661856 h 6853150"/>
              <a:gd name="connsiteX115" fmla="*/ 0 w 324091"/>
              <a:gd name="connsiteY115" fmla="*/ 3394043 h 6853150"/>
              <a:gd name="connsiteX116" fmla="*/ 81776 w 324091"/>
              <a:gd name="connsiteY116" fmla="*/ 3394043 h 6853150"/>
              <a:gd name="connsiteX117" fmla="*/ 104636 w 324091"/>
              <a:gd name="connsiteY117" fmla="*/ 3416905 h 6853150"/>
              <a:gd name="connsiteX118" fmla="*/ 104635 w 324091"/>
              <a:gd name="connsiteY118" fmla="*/ 3416905 h 6853150"/>
              <a:gd name="connsiteX119" fmla="*/ 81775 w 324091"/>
              <a:gd name="connsiteY119" fmla="*/ 3439763 h 6853150"/>
              <a:gd name="connsiteX120" fmla="*/ 0 w 324091"/>
              <a:gd name="connsiteY120" fmla="*/ 3439763 h 6853150"/>
              <a:gd name="connsiteX121" fmla="*/ 0 w 324091"/>
              <a:gd name="connsiteY121" fmla="*/ 3240516 h 6853150"/>
              <a:gd name="connsiteX122" fmla="*/ 173216 w 324091"/>
              <a:gd name="connsiteY122" fmla="*/ 3240516 h 6853150"/>
              <a:gd name="connsiteX123" fmla="*/ 196076 w 324091"/>
              <a:gd name="connsiteY123" fmla="*/ 3263376 h 6853150"/>
              <a:gd name="connsiteX124" fmla="*/ 196075 w 324091"/>
              <a:gd name="connsiteY124" fmla="*/ 3263376 h 6853150"/>
              <a:gd name="connsiteX125" fmla="*/ 173215 w 324091"/>
              <a:gd name="connsiteY125" fmla="*/ 3286236 h 6853150"/>
              <a:gd name="connsiteX126" fmla="*/ 0 w 324091"/>
              <a:gd name="connsiteY126" fmla="*/ 3286236 h 6853150"/>
              <a:gd name="connsiteX127" fmla="*/ 0 w 324091"/>
              <a:gd name="connsiteY127" fmla="*/ 3086989 h 6853150"/>
              <a:gd name="connsiteX128" fmla="*/ 81776 w 324091"/>
              <a:gd name="connsiteY128" fmla="*/ 3086989 h 6853150"/>
              <a:gd name="connsiteX129" fmla="*/ 104636 w 324091"/>
              <a:gd name="connsiteY129" fmla="*/ 3109849 h 6853150"/>
              <a:gd name="connsiteX130" fmla="*/ 104635 w 324091"/>
              <a:gd name="connsiteY130" fmla="*/ 3109849 h 6853150"/>
              <a:gd name="connsiteX131" fmla="*/ 81775 w 324091"/>
              <a:gd name="connsiteY131" fmla="*/ 3132709 h 6853150"/>
              <a:gd name="connsiteX132" fmla="*/ 0 w 324091"/>
              <a:gd name="connsiteY132" fmla="*/ 3132709 h 6853150"/>
              <a:gd name="connsiteX133" fmla="*/ 0 w 324091"/>
              <a:gd name="connsiteY133" fmla="*/ 2889206 h 6853150"/>
              <a:gd name="connsiteX134" fmla="*/ 279104 w 324091"/>
              <a:gd name="connsiteY134" fmla="*/ 2889206 h 6853150"/>
              <a:gd name="connsiteX135" fmla="*/ 324091 w 324091"/>
              <a:gd name="connsiteY135" fmla="*/ 2934194 h 6853150"/>
              <a:gd name="connsiteX136" fmla="*/ 279104 w 324091"/>
              <a:gd name="connsiteY136" fmla="*/ 2979180 h 6853150"/>
              <a:gd name="connsiteX137" fmla="*/ 0 w 324091"/>
              <a:gd name="connsiteY137" fmla="*/ 2979180 h 6853150"/>
              <a:gd name="connsiteX138" fmla="*/ 0 w 324091"/>
              <a:gd name="connsiteY138" fmla="*/ 2711367 h 6853150"/>
              <a:gd name="connsiteX139" fmla="*/ 81776 w 324091"/>
              <a:gd name="connsiteY139" fmla="*/ 2711367 h 6853150"/>
              <a:gd name="connsiteX140" fmla="*/ 104636 w 324091"/>
              <a:gd name="connsiteY140" fmla="*/ 2734227 h 6853150"/>
              <a:gd name="connsiteX141" fmla="*/ 104635 w 324091"/>
              <a:gd name="connsiteY141" fmla="*/ 2734227 h 6853150"/>
              <a:gd name="connsiteX142" fmla="*/ 81775 w 324091"/>
              <a:gd name="connsiteY142" fmla="*/ 2757087 h 6853150"/>
              <a:gd name="connsiteX143" fmla="*/ 0 w 324091"/>
              <a:gd name="connsiteY143" fmla="*/ 2757087 h 6853150"/>
              <a:gd name="connsiteX144" fmla="*/ 0 w 324091"/>
              <a:gd name="connsiteY144" fmla="*/ 2557839 h 6853150"/>
              <a:gd name="connsiteX145" fmla="*/ 173216 w 324091"/>
              <a:gd name="connsiteY145" fmla="*/ 2557839 h 6853150"/>
              <a:gd name="connsiteX146" fmla="*/ 196076 w 324091"/>
              <a:gd name="connsiteY146" fmla="*/ 2580699 h 6853150"/>
              <a:gd name="connsiteX147" fmla="*/ 196075 w 324091"/>
              <a:gd name="connsiteY147" fmla="*/ 2580699 h 6853150"/>
              <a:gd name="connsiteX148" fmla="*/ 173215 w 324091"/>
              <a:gd name="connsiteY148" fmla="*/ 2603559 h 6853150"/>
              <a:gd name="connsiteX149" fmla="*/ 0 w 324091"/>
              <a:gd name="connsiteY149" fmla="*/ 2603559 h 6853150"/>
              <a:gd name="connsiteX150" fmla="*/ 0 w 324091"/>
              <a:gd name="connsiteY150" fmla="*/ 2404312 h 6853150"/>
              <a:gd name="connsiteX151" fmla="*/ 81776 w 324091"/>
              <a:gd name="connsiteY151" fmla="*/ 2404312 h 6853150"/>
              <a:gd name="connsiteX152" fmla="*/ 104636 w 324091"/>
              <a:gd name="connsiteY152" fmla="*/ 2427171 h 6853150"/>
              <a:gd name="connsiteX153" fmla="*/ 104635 w 324091"/>
              <a:gd name="connsiteY153" fmla="*/ 2427171 h 6853150"/>
              <a:gd name="connsiteX154" fmla="*/ 81775 w 324091"/>
              <a:gd name="connsiteY154" fmla="*/ 2450032 h 6853150"/>
              <a:gd name="connsiteX155" fmla="*/ 0 w 324091"/>
              <a:gd name="connsiteY155" fmla="*/ 2450032 h 6853150"/>
              <a:gd name="connsiteX156" fmla="*/ 0 w 324091"/>
              <a:gd name="connsiteY156" fmla="*/ 2206528 h 6853150"/>
              <a:gd name="connsiteX157" fmla="*/ 279104 w 324091"/>
              <a:gd name="connsiteY157" fmla="*/ 2206528 h 6853150"/>
              <a:gd name="connsiteX158" fmla="*/ 324091 w 324091"/>
              <a:gd name="connsiteY158" fmla="*/ 2251515 h 6853150"/>
              <a:gd name="connsiteX159" fmla="*/ 279104 w 324091"/>
              <a:gd name="connsiteY159" fmla="*/ 2296503 h 6853150"/>
              <a:gd name="connsiteX160" fmla="*/ 0 w 324091"/>
              <a:gd name="connsiteY160" fmla="*/ 2296503 h 6853150"/>
              <a:gd name="connsiteX161" fmla="*/ 0 w 324091"/>
              <a:gd name="connsiteY161" fmla="*/ 2028689 h 6853150"/>
              <a:gd name="connsiteX162" fmla="*/ 81776 w 324091"/>
              <a:gd name="connsiteY162" fmla="*/ 2028689 h 6853150"/>
              <a:gd name="connsiteX163" fmla="*/ 104636 w 324091"/>
              <a:gd name="connsiteY163" fmla="*/ 2051550 h 6853150"/>
              <a:gd name="connsiteX164" fmla="*/ 104635 w 324091"/>
              <a:gd name="connsiteY164" fmla="*/ 2051550 h 6853150"/>
              <a:gd name="connsiteX165" fmla="*/ 81775 w 324091"/>
              <a:gd name="connsiteY165" fmla="*/ 2074409 h 6853150"/>
              <a:gd name="connsiteX166" fmla="*/ 0 w 324091"/>
              <a:gd name="connsiteY166" fmla="*/ 2074409 h 6853150"/>
              <a:gd name="connsiteX167" fmla="*/ 0 w 324091"/>
              <a:gd name="connsiteY167" fmla="*/ 1875162 h 6853150"/>
              <a:gd name="connsiteX168" fmla="*/ 173216 w 324091"/>
              <a:gd name="connsiteY168" fmla="*/ 1875162 h 6853150"/>
              <a:gd name="connsiteX169" fmla="*/ 196076 w 324091"/>
              <a:gd name="connsiteY169" fmla="*/ 1898022 h 6853150"/>
              <a:gd name="connsiteX170" fmla="*/ 196075 w 324091"/>
              <a:gd name="connsiteY170" fmla="*/ 1898022 h 6853150"/>
              <a:gd name="connsiteX171" fmla="*/ 173215 w 324091"/>
              <a:gd name="connsiteY171" fmla="*/ 1920882 h 6853150"/>
              <a:gd name="connsiteX172" fmla="*/ 0 w 324091"/>
              <a:gd name="connsiteY172" fmla="*/ 1920882 h 6853150"/>
              <a:gd name="connsiteX173" fmla="*/ 0 w 324091"/>
              <a:gd name="connsiteY173" fmla="*/ 1721635 h 6853150"/>
              <a:gd name="connsiteX174" fmla="*/ 81776 w 324091"/>
              <a:gd name="connsiteY174" fmla="*/ 1721635 h 6853150"/>
              <a:gd name="connsiteX175" fmla="*/ 104636 w 324091"/>
              <a:gd name="connsiteY175" fmla="*/ 1744495 h 6853150"/>
              <a:gd name="connsiteX176" fmla="*/ 104635 w 324091"/>
              <a:gd name="connsiteY176" fmla="*/ 1744495 h 6853150"/>
              <a:gd name="connsiteX177" fmla="*/ 81775 w 324091"/>
              <a:gd name="connsiteY177" fmla="*/ 1767355 h 6853150"/>
              <a:gd name="connsiteX178" fmla="*/ 0 w 324091"/>
              <a:gd name="connsiteY178" fmla="*/ 1767355 h 6853150"/>
              <a:gd name="connsiteX179" fmla="*/ 0 w 324091"/>
              <a:gd name="connsiteY179" fmla="*/ 1523851 h 6853150"/>
              <a:gd name="connsiteX180" fmla="*/ 279104 w 324091"/>
              <a:gd name="connsiteY180" fmla="*/ 1523851 h 6853150"/>
              <a:gd name="connsiteX181" fmla="*/ 324091 w 324091"/>
              <a:gd name="connsiteY181" fmla="*/ 1568838 h 6853150"/>
              <a:gd name="connsiteX182" fmla="*/ 279104 w 324091"/>
              <a:gd name="connsiteY182" fmla="*/ 1613826 h 6853150"/>
              <a:gd name="connsiteX183" fmla="*/ 0 w 324091"/>
              <a:gd name="connsiteY183" fmla="*/ 1613826 h 6853150"/>
              <a:gd name="connsiteX184" fmla="*/ 0 w 324091"/>
              <a:gd name="connsiteY184" fmla="*/ 1346012 h 6853150"/>
              <a:gd name="connsiteX185" fmla="*/ 81776 w 324091"/>
              <a:gd name="connsiteY185" fmla="*/ 1346012 h 6853150"/>
              <a:gd name="connsiteX186" fmla="*/ 104636 w 324091"/>
              <a:gd name="connsiteY186" fmla="*/ 1368872 h 6853150"/>
              <a:gd name="connsiteX187" fmla="*/ 104635 w 324091"/>
              <a:gd name="connsiteY187" fmla="*/ 1368872 h 6853150"/>
              <a:gd name="connsiteX188" fmla="*/ 81775 w 324091"/>
              <a:gd name="connsiteY188" fmla="*/ 1391732 h 6853150"/>
              <a:gd name="connsiteX189" fmla="*/ 0 w 324091"/>
              <a:gd name="connsiteY189" fmla="*/ 1391732 h 6853150"/>
              <a:gd name="connsiteX190" fmla="*/ 0 w 324091"/>
              <a:gd name="connsiteY190" fmla="*/ 1192484 h 6853150"/>
              <a:gd name="connsiteX191" fmla="*/ 173216 w 324091"/>
              <a:gd name="connsiteY191" fmla="*/ 1192484 h 6853150"/>
              <a:gd name="connsiteX192" fmla="*/ 196076 w 324091"/>
              <a:gd name="connsiteY192" fmla="*/ 1215344 h 6853150"/>
              <a:gd name="connsiteX193" fmla="*/ 196075 w 324091"/>
              <a:gd name="connsiteY193" fmla="*/ 1215344 h 6853150"/>
              <a:gd name="connsiteX194" fmla="*/ 173215 w 324091"/>
              <a:gd name="connsiteY194" fmla="*/ 1238205 h 6853150"/>
              <a:gd name="connsiteX195" fmla="*/ 0 w 324091"/>
              <a:gd name="connsiteY195" fmla="*/ 1238205 h 6853150"/>
              <a:gd name="connsiteX196" fmla="*/ 0 w 324091"/>
              <a:gd name="connsiteY196" fmla="*/ 1038956 h 6853150"/>
              <a:gd name="connsiteX197" fmla="*/ 81776 w 324091"/>
              <a:gd name="connsiteY197" fmla="*/ 1038956 h 6853150"/>
              <a:gd name="connsiteX198" fmla="*/ 104636 w 324091"/>
              <a:gd name="connsiteY198" fmla="*/ 1061817 h 6853150"/>
              <a:gd name="connsiteX199" fmla="*/ 104635 w 324091"/>
              <a:gd name="connsiteY199" fmla="*/ 1061817 h 6853150"/>
              <a:gd name="connsiteX200" fmla="*/ 81775 w 324091"/>
              <a:gd name="connsiteY200" fmla="*/ 1084677 h 6853150"/>
              <a:gd name="connsiteX201" fmla="*/ 0 w 324091"/>
              <a:gd name="connsiteY201" fmla="*/ 1084677 h 6853150"/>
              <a:gd name="connsiteX202" fmla="*/ 0 w 324091"/>
              <a:gd name="connsiteY202" fmla="*/ 841173 h 6853150"/>
              <a:gd name="connsiteX203" fmla="*/ 279104 w 324091"/>
              <a:gd name="connsiteY203" fmla="*/ 841173 h 6853150"/>
              <a:gd name="connsiteX204" fmla="*/ 324091 w 324091"/>
              <a:gd name="connsiteY204" fmla="*/ 886160 h 6853150"/>
              <a:gd name="connsiteX205" fmla="*/ 279104 w 324091"/>
              <a:gd name="connsiteY205" fmla="*/ 931147 h 6853150"/>
              <a:gd name="connsiteX206" fmla="*/ 0 w 324091"/>
              <a:gd name="connsiteY206" fmla="*/ 931147 h 6853150"/>
              <a:gd name="connsiteX207" fmla="*/ 0 w 324091"/>
              <a:gd name="connsiteY207" fmla="*/ 663334 h 6853150"/>
              <a:gd name="connsiteX208" fmla="*/ 81776 w 324091"/>
              <a:gd name="connsiteY208" fmla="*/ 663334 h 6853150"/>
              <a:gd name="connsiteX209" fmla="*/ 104636 w 324091"/>
              <a:gd name="connsiteY209" fmla="*/ 686194 h 6853150"/>
              <a:gd name="connsiteX210" fmla="*/ 104635 w 324091"/>
              <a:gd name="connsiteY210" fmla="*/ 686194 h 6853150"/>
              <a:gd name="connsiteX211" fmla="*/ 81775 w 324091"/>
              <a:gd name="connsiteY211" fmla="*/ 709054 h 6853150"/>
              <a:gd name="connsiteX212" fmla="*/ 0 w 324091"/>
              <a:gd name="connsiteY212" fmla="*/ 709054 h 6853150"/>
              <a:gd name="connsiteX213" fmla="*/ 0 w 324091"/>
              <a:gd name="connsiteY213" fmla="*/ 509806 h 6853150"/>
              <a:gd name="connsiteX214" fmla="*/ 173216 w 324091"/>
              <a:gd name="connsiteY214" fmla="*/ 509806 h 6853150"/>
              <a:gd name="connsiteX215" fmla="*/ 196076 w 324091"/>
              <a:gd name="connsiteY215" fmla="*/ 532666 h 6853150"/>
              <a:gd name="connsiteX216" fmla="*/ 196075 w 324091"/>
              <a:gd name="connsiteY216" fmla="*/ 532666 h 6853150"/>
              <a:gd name="connsiteX217" fmla="*/ 173215 w 324091"/>
              <a:gd name="connsiteY217" fmla="*/ 555526 h 6853150"/>
              <a:gd name="connsiteX218" fmla="*/ 0 w 324091"/>
              <a:gd name="connsiteY218" fmla="*/ 555526 h 6853150"/>
              <a:gd name="connsiteX219" fmla="*/ 0 w 324091"/>
              <a:gd name="connsiteY219" fmla="*/ 356279 h 6853150"/>
              <a:gd name="connsiteX220" fmla="*/ 81776 w 324091"/>
              <a:gd name="connsiteY220" fmla="*/ 356279 h 6853150"/>
              <a:gd name="connsiteX221" fmla="*/ 104636 w 324091"/>
              <a:gd name="connsiteY221" fmla="*/ 379139 h 6853150"/>
              <a:gd name="connsiteX222" fmla="*/ 104635 w 324091"/>
              <a:gd name="connsiteY222" fmla="*/ 379139 h 6853150"/>
              <a:gd name="connsiteX223" fmla="*/ 81775 w 324091"/>
              <a:gd name="connsiteY223" fmla="*/ 401999 h 6853150"/>
              <a:gd name="connsiteX224" fmla="*/ 0 w 324091"/>
              <a:gd name="connsiteY224" fmla="*/ 401999 h 6853150"/>
              <a:gd name="connsiteX225" fmla="*/ 0 w 324091"/>
              <a:gd name="connsiteY225" fmla="*/ 158496 h 6853150"/>
              <a:gd name="connsiteX226" fmla="*/ 279104 w 324091"/>
              <a:gd name="connsiteY226" fmla="*/ 158496 h 6853150"/>
              <a:gd name="connsiteX227" fmla="*/ 324091 w 324091"/>
              <a:gd name="connsiteY227" fmla="*/ 203483 h 6853150"/>
              <a:gd name="connsiteX228" fmla="*/ 279104 w 324091"/>
              <a:gd name="connsiteY228" fmla="*/ 248470 h 6853150"/>
              <a:gd name="connsiteX229" fmla="*/ 0 w 324091"/>
              <a:gd name="connsiteY229" fmla="*/ 248470 h 6853150"/>
              <a:gd name="connsiteX230" fmla="*/ 0 w 324091"/>
              <a:gd name="connsiteY230" fmla="*/ 0 h 6853150"/>
              <a:gd name="connsiteX231" fmla="*/ 81776 w 324091"/>
              <a:gd name="connsiteY231" fmla="*/ 0 h 6853150"/>
              <a:gd name="connsiteX232" fmla="*/ 104636 w 324091"/>
              <a:gd name="connsiteY232" fmla="*/ 22860 h 6853150"/>
              <a:gd name="connsiteX233" fmla="*/ 104635 w 324091"/>
              <a:gd name="connsiteY233" fmla="*/ 22860 h 6853150"/>
              <a:gd name="connsiteX234" fmla="*/ 81775 w 324091"/>
              <a:gd name="connsiteY234" fmla="*/ 45720 h 6853150"/>
              <a:gd name="connsiteX235" fmla="*/ 0 w 324091"/>
              <a:gd name="connsiteY235" fmla="*/ 45720 h 6853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</a:cxnLst>
            <a:rect l="l" t="t" r="r" b="b"/>
            <a:pathLst>
              <a:path w="324091" h="6853150">
                <a:moveTo>
                  <a:pt x="0" y="6807430"/>
                </a:moveTo>
                <a:lnTo>
                  <a:pt x="81776" y="6807430"/>
                </a:lnTo>
                <a:cubicBezTo>
                  <a:pt x="94401" y="6807430"/>
                  <a:pt x="104636" y="6817665"/>
                  <a:pt x="104636" y="6830290"/>
                </a:cubicBezTo>
                <a:lnTo>
                  <a:pt x="104635" y="6830290"/>
                </a:lnTo>
                <a:cubicBezTo>
                  <a:pt x="104635" y="6842915"/>
                  <a:pt x="94400" y="6853150"/>
                  <a:pt x="81775" y="6853150"/>
                </a:cubicBezTo>
                <a:lnTo>
                  <a:pt x="0" y="6853150"/>
                </a:lnTo>
                <a:close/>
                <a:moveTo>
                  <a:pt x="0" y="6653902"/>
                </a:moveTo>
                <a:lnTo>
                  <a:pt x="173216" y="6653902"/>
                </a:lnTo>
                <a:cubicBezTo>
                  <a:pt x="185841" y="6653902"/>
                  <a:pt x="196076" y="6664137"/>
                  <a:pt x="196076" y="6676762"/>
                </a:cubicBezTo>
                <a:lnTo>
                  <a:pt x="196075" y="6676762"/>
                </a:lnTo>
                <a:cubicBezTo>
                  <a:pt x="196075" y="6689387"/>
                  <a:pt x="185840" y="6699622"/>
                  <a:pt x="173215" y="6699622"/>
                </a:cubicBezTo>
                <a:lnTo>
                  <a:pt x="0" y="6699622"/>
                </a:lnTo>
                <a:close/>
                <a:moveTo>
                  <a:pt x="0" y="6500374"/>
                </a:moveTo>
                <a:lnTo>
                  <a:pt x="81776" y="6500374"/>
                </a:lnTo>
                <a:cubicBezTo>
                  <a:pt x="94401" y="6500374"/>
                  <a:pt x="104636" y="6510609"/>
                  <a:pt x="104636" y="6523234"/>
                </a:cubicBezTo>
                <a:lnTo>
                  <a:pt x="104635" y="6523234"/>
                </a:lnTo>
                <a:cubicBezTo>
                  <a:pt x="104635" y="6535859"/>
                  <a:pt x="94400" y="6546094"/>
                  <a:pt x="81775" y="6546094"/>
                </a:cubicBezTo>
                <a:lnTo>
                  <a:pt x="0" y="6546094"/>
                </a:lnTo>
                <a:close/>
                <a:moveTo>
                  <a:pt x="0" y="6302591"/>
                </a:moveTo>
                <a:lnTo>
                  <a:pt x="279104" y="6302591"/>
                </a:lnTo>
                <a:cubicBezTo>
                  <a:pt x="303950" y="6302591"/>
                  <a:pt x="324091" y="6322732"/>
                  <a:pt x="324091" y="6347578"/>
                </a:cubicBezTo>
                <a:cubicBezTo>
                  <a:pt x="324091" y="6372424"/>
                  <a:pt x="303950" y="6392565"/>
                  <a:pt x="279104" y="6392565"/>
                </a:cubicBezTo>
                <a:lnTo>
                  <a:pt x="0" y="6392565"/>
                </a:lnTo>
                <a:close/>
                <a:moveTo>
                  <a:pt x="0" y="6124755"/>
                </a:moveTo>
                <a:lnTo>
                  <a:pt x="81776" y="6124755"/>
                </a:lnTo>
                <a:cubicBezTo>
                  <a:pt x="94401" y="6124755"/>
                  <a:pt x="104636" y="6134990"/>
                  <a:pt x="104636" y="6147615"/>
                </a:cubicBezTo>
                <a:lnTo>
                  <a:pt x="104635" y="6147615"/>
                </a:lnTo>
                <a:cubicBezTo>
                  <a:pt x="104635" y="6160240"/>
                  <a:pt x="94400" y="6170475"/>
                  <a:pt x="81775" y="6170475"/>
                </a:cubicBezTo>
                <a:lnTo>
                  <a:pt x="0" y="6170475"/>
                </a:lnTo>
                <a:close/>
                <a:moveTo>
                  <a:pt x="0" y="5971227"/>
                </a:moveTo>
                <a:lnTo>
                  <a:pt x="173216" y="5971227"/>
                </a:lnTo>
                <a:cubicBezTo>
                  <a:pt x="185841" y="5971227"/>
                  <a:pt x="196076" y="5981462"/>
                  <a:pt x="196076" y="5994087"/>
                </a:cubicBezTo>
                <a:lnTo>
                  <a:pt x="196075" y="5994087"/>
                </a:lnTo>
                <a:cubicBezTo>
                  <a:pt x="196075" y="6006712"/>
                  <a:pt x="185840" y="6016947"/>
                  <a:pt x="173215" y="6016947"/>
                </a:cubicBezTo>
                <a:lnTo>
                  <a:pt x="0" y="6016947"/>
                </a:lnTo>
                <a:close/>
                <a:moveTo>
                  <a:pt x="0" y="5817699"/>
                </a:moveTo>
                <a:lnTo>
                  <a:pt x="81776" y="5817699"/>
                </a:lnTo>
                <a:cubicBezTo>
                  <a:pt x="94401" y="5817699"/>
                  <a:pt x="104636" y="5827934"/>
                  <a:pt x="104636" y="5840559"/>
                </a:cubicBezTo>
                <a:lnTo>
                  <a:pt x="104635" y="5840559"/>
                </a:lnTo>
                <a:cubicBezTo>
                  <a:pt x="104635" y="5853184"/>
                  <a:pt x="94400" y="5863419"/>
                  <a:pt x="81775" y="5863419"/>
                </a:cubicBezTo>
                <a:lnTo>
                  <a:pt x="0" y="5863419"/>
                </a:lnTo>
                <a:close/>
                <a:moveTo>
                  <a:pt x="0" y="5619916"/>
                </a:moveTo>
                <a:lnTo>
                  <a:pt x="279104" y="5619916"/>
                </a:lnTo>
                <a:cubicBezTo>
                  <a:pt x="303950" y="5619916"/>
                  <a:pt x="324091" y="5640057"/>
                  <a:pt x="324091" y="5664903"/>
                </a:cubicBezTo>
                <a:cubicBezTo>
                  <a:pt x="324091" y="5689749"/>
                  <a:pt x="303950" y="5709890"/>
                  <a:pt x="279104" y="5709890"/>
                </a:cubicBezTo>
                <a:lnTo>
                  <a:pt x="0" y="5709890"/>
                </a:lnTo>
                <a:close/>
                <a:moveTo>
                  <a:pt x="0" y="5442077"/>
                </a:moveTo>
                <a:lnTo>
                  <a:pt x="81776" y="5442077"/>
                </a:lnTo>
                <a:cubicBezTo>
                  <a:pt x="94401" y="5442077"/>
                  <a:pt x="104636" y="5452312"/>
                  <a:pt x="104636" y="5464937"/>
                </a:cubicBezTo>
                <a:lnTo>
                  <a:pt x="104635" y="5464937"/>
                </a:lnTo>
                <a:cubicBezTo>
                  <a:pt x="104635" y="5477562"/>
                  <a:pt x="94400" y="5487797"/>
                  <a:pt x="81775" y="5487797"/>
                </a:cubicBezTo>
                <a:lnTo>
                  <a:pt x="0" y="5487797"/>
                </a:lnTo>
                <a:close/>
                <a:moveTo>
                  <a:pt x="0" y="5288549"/>
                </a:moveTo>
                <a:lnTo>
                  <a:pt x="173216" y="5288549"/>
                </a:lnTo>
                <a:cubicBezTo>
                  <a:pt x="185841" y="5288549"/>
                  <a:pt x="196076" y="5298784"/>
                  <a:pt x="196076" y="5311409"/>
                </a:cubicBezTo>
                <a:lnTo>
                  <a:pt x="196075" y="5311409"/>
                </a:lnTo>
                <a:cubicBezTo>
                  <a:pt x="196075" y="5324034"/>
                  <a:pt x="185840" y="5334269"/>
                  <a:pt x="173215" y="5334269"/>
                </a:cubicBezTo>
                <a:lnTo>
                  <a:pt x="0" y="5334269"/>
                </a:lnTo>
                <a:close/>
                <a:moveTo>
                  <a:pt x="0" y="5135021"/>
                </a:moveTo>
                <a:lnTo>
                  <a:pt x="81776" y="5135021"/>
                </a:lnTo>
                <a:cubicBezTo>
                  <a:pt x="94401" y="5135021"/>
                  <a:pt x="104636" y="5145256"/>
                  <a:pt x="104636" y="5157881"/>
                </a:cubicBezTo>
                <a:lnTo>
                  <a:pt x="104635" y="5157881"/>
                </a:lnTo>
                <a:cubicBezTo>
                  <a:pt x="104635" y="5170506"/>
                  <a:pt x="94400" y="5180741"/>
                  <a:pt x="81775" y="5180741"/>
                </a:cubicBezTo>
                <a:lnTo>
                  <a:pt x="0" y="5180741"/>
                </a:lnTo>
                <a:close/>
                <a:moveTo>
                  <a:pt x="0" y="4937238"/>
                </a:moveTo>
                <a:lnTo>
                  <a:pt x="279104" y="4937238"/>
                </a:lnTo>
                <a:cubicBezTo>
                  <a:pt x="303950" y="4937238"/>
                  <a:pt x="324091" y="4957379"/>
                  <a:pt x="324091" y="4982225"/>
                </a:cubicBezTo>
                <a:cubicBezTo>
                  <a:pt x="324091" y="5007071"/>
                  <a:pt x="303950" y="5027212"/>
                  <a:pt x="279104" y="5027212"/>
                </a:cubicBezTo>
                <a:lnTo>
                  <a:pt x="0" y="5027212"/>
                </a:lnTo>
                <a:close/>
                <a:moveTo>
                  <a:pt x="0" y="4759399"/>
                </a:moveTo>
                <a:lnTo>
                  <a:pt x="81776" y="4759399"/>
                </a:lnTo>
                <a:cubicBezTo>
                  <a:pt x="94401" y="4759399"/>
                  <a:pt x="104636" y="4769634"/>
                  <a:pt x="104636" y="4782259"/>
                </a:cubicBezTo>
                <a:lnTo>
                  <a:pt x="104635" y="4782259"/>
                </a:lnTo>
                <a:cubicBezTo>
                  <a:pt x="104635" y="4794884"/>
                  <a:pt x="94400" y="4805119"/>
                  <a:pt x="81775" y="4805119"/>
                </a:cubicBezTo>
                <a:lnTo>
                  <a:pt x="0" y="4805119"/>
                </a:lnTo>
                <a:close/>
                <a:moveTo>
                  <a:pt x="0" y="4605871"/>
                </a:moveTo>
                <a:lnTo>
                  <a:pt x="173216" y="4605871"/>
                </a:lnTo>
                <a:cubicBezTo>
                  <a:pt x="185841" y="4605871"/>
                  <a:pt x="196076" y="4616106"/>
                  <a:pt x="196076" y="4628731"/>
                </a:cubicBezTo>
                <a:lnTo>
                  <a:pt x="196075" y="4628731"/>
                </a:lnTo>
                <a:cubicBezTo>
                  <a:pt x="196075" y="4641356"/>
                  <a:pt x="185840" y="4651591"/>
                  <a:pt x="173215" y="4651591"/>
                </a:cubicBezTo>
                <a:lnTo>
                  <a:pt x="0" y="4651591"/>
                </a:lnTo>
                <a:close/>
                <a:moveTo>
                  <a:pt x="0" y="4452343"/>
                </a:moveTo>
                <a:lnTo>
                  <a:pt x="81776" y="4452343"/>
                </a:lnTo>
                <a:cubicBezTo>
                  <a:pt x="94401" y="4452343"/>
                  <a:pt x="104636" y="4462578"/>
                  <a:pt x="104636" y="4475203"/>
                </a:cubicBezTo>
                <a:lnTo>
                  <a:pt x="104635" y="4475203"/>
                </a:lnTo>
                <a:cubicBezTo>
                  <a:pt x="104635" y="4487828"/>
                  <a:pt x="94400" y="4498063"/>
                  <a:pt x="81775" y="4498063"/>
                </a:cubicBezTo>
                <a:lnTo>
                  <a:pt x="0" y="4498063"/>
                </a:lnTo>
                <a:close/>
                <a:moveTo>
                  <a:pt x="0" y="4254560"/>
                </a:moveTo>
                <a:lnTo>
                  <a:pt x="279104" y="4254560"/>
                </a:lnTo>
                <a:cubicBezTo>
                  <a:pt x="303950" y="4254560"/>
                  <a:pt x="324091" y="4274701"/>
                  <a:pt x="324091" y="4299547"/>
                </a:cubicBezTo>
                <a:cubicBezTo>
                  <a:pt x="324091" y="4324393"/>
                  <a:pt x="303950" y="4344534"/>
                  <a:pt x="279104" y="4344534"/>
                </a:cubicBezTo>
                <a:lnTo>
                  <a:pt x="0" y="4344534"/>
                </a:lnTo>
                <a:close/>
                <a:moveTo>
                  <a:pt x="0" y="4076721"/>
                </a:moveTo>
                <a:lnTo>
                  <a:pt x="81776" y="4076721"/>
                </a:lnTo>
                <a:cubicBezTo>
                  <a:pt x="94401" y="4076721"/>
                  <a:pt x="104636" y="4086956"/>
                  <a:pt x="104636" y="4099581"/>
                </a:cubicBezTo>
                <a:lnTo>
                  <a:pt x="104635" y="4099581"/>
                </a:lnTo>
                <a:cubicBezTo>
                  <a:pt x="104635" y="4112206"/>
                  <a:pt x="94400" y="4122441"/>
                  <a:pt x="81775" y="4122441"/>
                </a:cubicBezTo>
                <a:lnTo>
                  <a:pt x="0" y="4122441"/>
                </a:lnTo>
                <a:close/>
                <a:moveTo>
                  <a:pt x="0" y="3923193"/>
                </a:moveTo>
                <a:lnTo>
                  <a:pt x="173216" y="3923193"/>
                </a:lnTo>
                <a:cubicBezTo>
                  <a:pt x="185841" y="3923193"/>
                  <a:pt x="196076" y="3933428"/>
                  <a:pt x="196076" y="3946053"/>
                </a:cubicBezTo>
                <a:lnTo>
                  <a:pt x="196075" y="3946053"/>
                </a:lnTo>
                <a:cubicBezTo>
                  <a:pt x="196075" y="3958678"/>
                  <a:pt x="185840" y="3968913"/>
                  <a:pt x="173215" y="3968913"/>
                </a:cubicBezTo>
                <a:lnTo>
                  <a:pt x="0" y="3968913"/>
                </a:lnTo>
                <a:close/>
                <a:moveTo>
                  <a:pt x="0" y="3769665"/>
                </a:moveTo>
                <a:lnTo>
                  <a:pt x="81776" y="3769665"/>
                </a:lnTo>
                <a:cubicBezTo>
                  <a:pt x="94401" y="3769665"/>
                  <a:pt x="104636" y="3779900"/>
                  <a:pt x="104636" y="3792525"/>
                </a:cubicBezTo>
                <a:lnTo>
                  <a:pt x="104635" y="3792525"/>
                </a:lnTo>
                <a:cubicBezTo>
                  <a:pt x="104635" y="3805150"/>
                  <a:pt x="94400" y="3815385"/>
                  <a:pt x="81775" y="3815385"/>
                </a:cubicBezTo>
                <a:lnTo>
                  <a:pt x="0" y="3815385"/>
                </a:lnTo>
                <a:close/>
                <a:moveTo>
                  <a:pt x="0" y="3571882"/>
                </a:moveTo>
                <a:lnTo>
                  <a:pt x="279104" y="3571882"/>
                </a:lnTo>
                <a:cubicBezTo>
                  <a:pt x="303950" y="3571882"/>
                  <a:pt x="324091" y="3592023"/>
                  <a:pt x="324091" y="3616869"/>
                </a:cubicBezTo>
                <a:cubicBezTo>
                  <a:pt x="324091" y="3641715"/>
                  <a:pt x="303950" y="3661856"/>
                  <a:pt x="279104" y="3661856"/>
                </a:cubicBezTo>
                <a:lnTo>
                  <a:pt x="0" y="3661856"/>
                </a:lnTo>
                <a:close/>
                <a:moveTo>
                  <a:pt x="0" y="3394043"/>
                </a:moveTo>
                <a:lnTo>
                  <a:pt x="81776" y="3394043"/>
                </a:lnTo>
                <a:cubicBezTo>
                  <a:pt x="94401" y="3394043"/>
                  <a:pt x="104636" y="3404279"/>
                  <a:pt x="104636" y="3416905"/>
                </a:cubicBezTo>
                <a:lnTo>
                  <a:pt x="104635" y="3416905"/>
                </a:lnTo>
                <a:cubicBezTo>
                  <a:pt x="104635" y="3429528"/>
                  <a:pt x="94400" y="3439763"/>
                  <a:pt x="81775" y="3439763"/>
                </a:cubicBezTo>
                <a:lnTo>
                  <a:pt x="0" y="3439763"/>
                </a:lnTo>
                <a:close/>
                <a:moveTo>
                  <a:pt x="0" y="3240516"/>
                </a:moveTo>
                <a:lnTo>
                  <a:pt x="173216" y="3240516"/>
                </a:lnTo>
                <a:cubicBezTo>
                  <a:pt x="185841" y="3240516"/>
                  <a:pt x="196076" y="3250752"/>
                  <a:pt x="196076" y="3263376"/>
                </a:cubicBezTo>
                <a:lnTo>
                  <a:pt x="196075" y="3263376"/>
                </a:lnTo>
                <a:cubicBezTo>
                  <a:pt x="196075" y="3276001"/>
                  <a:pt x="185840" y="3286236"/>
                  <a:pt x="173215" y="3286236"/>
                </a:cubicBezTo>
                <a:lnTo>
                  <a:pt x="0" y="3286236"/>
                </a:lnTo>
                <a:close/>
                <a:moveTo>
                  <a:pt x="0" y="3086989"/>
                </a:moveTo>
                <a:lnTo>
                  <a:pt x="81776" y="3086989"/>
                </a:lnTo>
                <a:cubicBezTo>
                  <a:pt x="94401" y="3086989"/>
                  <a:pt x="104636" y="3097224"/>
                  <a:pt x="104636" y="3109849"/>
                </a:cubicBezTo>
                <a:lnTo>
                  <a:pt x="104635" y="3109849"/>
                </a:lnTo>
                <a:cubicBezTo>
                  <a:pt x="104635" y="3122474"/>
                  <a:pt x="94400" y="3132709"/>
                  <a:pt x="81775" y="3132709"/>
                </a:cubicBezTo>
                <a:lnTo>
                  <a:pt x="0" y="3132709"/>
                </a:lnTo>
                <a:close/>
                <a:moveTo>
                  <a:pt x="0" y="2889206"/>
                </a:moveTo>
                <a:lnTo>
                  <a:pt x="279104" y="2889206"/>
                </a:lnTo>
                <a:cubicBezTo>
                  <a:pt x="303950" y="2889206"/>
                  <a:pt x="324091" y="2909347"/>
                  <a:pt x="324091" y="2934194"/>
                </a:cubicBezTo>
                <a:cubicBezTo>
                  <a:pt x="324091" y="2959039"/>
                  <a:pt x="303950" y="2979180"/>
                  <a:pt x="279104" y="2979180"/>
                </a:cubicBezTo>
                <a:lnTo>
                  <a:pt x="0" y="2979180"/>
                </a:lnTo>
                <a:close/>
                <a:moveTo>
                  <a:pt x="0" y="2711367"/>
                </a:moveTo>
                <a:lnTo>
                  <a:pt x="81776" y="2711367"/>
                </a:lnTo>
                <a:cubicBezTo>
                  <a:pt x="94401" y="2711367"/>
                  <a:pt x="104636" y="2721602"/>
                  <a:pt x="104636" y="2734227"/>
                </a:cubicBezTo>
                <a:lnTo>
                  <a:pt x="104635" y="2734227"/>
                </a:lnTo>
                <a:cubicBezTo>
                  <a:pt x="104635" y="2746852"/>
                  <a:pt x="94400" y="2757087"/>
                  <a:pt x="81775" y="2757087"/>
                </a:cubicBezTo>
                <a:lnTo>
                  <a:pt x="0" y="2757087"/>
                </a:lnTo>
                <a:close/>
                <a:moveTo>
                  <a:pt x="0" y="2557839"/>
                </a:moveTo>
                <a:lnTo>
                  <a:pt x="173216" y="2557839"/>
                </a:lnTo>
                <a:cubicBezTo>
                  <a:pt x="185841" y="2557839"/>
                  <a:pt x="196076" y="2568074"/>
                  <a:pt x="196076" y="2580699"/>
                </a:cubicBezTo>
                <a:lnTo>
                  <a:pt x="196075" y="2580699"/>
                </a:lnTo>
                <a:cubicBezTo>
                  <a:pt x="196075" y="2593324"/>
                  <a:pt x="185840" y="2603559"/>
                  <a:pt x="173215" y="2603559"/>
                </a:cubicBezTo>
                <a:lnTo>
                  <a:pt x="0" y="2603559"/>
                </a:lnTo>
                <a:close/>
                <a:moveTo>
                  <a:pt x="0" y="2404312"/>
                </a:moveTo>
                <a:lnTo>
                  <a:pt x="81776" y="2404312"/>
                </a:lnTo>
                <a:cubicBezTo>
                  <a:pt x="94401" y="2404312"/>
                  <a:pt x="104636" y="2414546"/>
                  <a:pt x="104636" y="2427171"/>
                </a:cubicBezTo>
                <a:lnTo>
                  <a:pt x="104635" y="2427171"/>
                </a:lnTo>
                <a:cubicBezTo>
                  <a:pt x="104635" y="2439796"/>
                  <a:pt x="94400" y="2450032"/>
                  <a:pt x="81775" y="2450032"/>
                </a:cubicBezTo>
                <a:lnTo>
                  <a:pt x="0" y="2450032"/>
                </a:lnTo>
                <a:close/>
                <a:moveTo>
                  <a:pt x="0" y="2206528"/>
                </a:moveTo>
                <a:lnTo>
                  <a:pt x="279104" y="2206528"/>
                </a:lnTo>
                <a:cubicBezTo>
                  <a:pt x="303950" y="2206528"/>
                  <a:pt x="324091" y="2226669"/>
                  <a:pt x="324091" y="2251515"/>
                </a:cubicBezTo>
                <a:cubicBezTo>
                  <a:pt x="324091" y="2276362"/>
                  <a:pt x="303950" y="2296503"/>
                  <a:pt x="279104" y="2296503"/>
                </a:cubicBezTo>
                <a:lnTo>
                  <a:pt x="0" y="2296503"/>
                </a:lnTo>
                <a:close/>
                <a:moveTo>
                  <a:pt x="0" y="2028689"/>
                </a:moveTo>
                <a:lnTo>
                  <a:pt x="81776" y="2028689"/>
                </a:lnTo>
                <a:cubicBezTo>
                  <a:pt x="94401" y="2028689"/>
                  <a:pt x="104636" y="2038925"/>
                  <a:pt x="104636" y="2051550"/>
                </a:cubicBezTo>
                <a:lnTo>
                  <a:pt x="104635" y="2051550"/>
                </a:lnTo>
                <a:cubicBezTo>
                  <a:pt x="104635" y="2064175"/>
                  <a:pt x="94400" y="2074409"/>
                  <a:pt x="81775" y="2074409"/>
                </a:cubicBezTo>
                <a:lnTo>
                  <a:pt x="0" y="2074409"/>
                </a:lnTo>
                <a:close/>
                <a:moveTo>
                  <a:pt x="0" y="1875162"/>
                </a:moveTo>
                <a:lnTo>
                  <a:pt x="173216" y="1875162"/>
                </a:lnTo>
                <a:cubicBezTo>
                  <a:pt x="185841" y="1875162"/>
                  <a:pt x="196076" y="1885397"/>
                  <a:pt x="196076" y="1898022"/>
                </a:cubicBezTo>
                <a:lnTo>
                  <a:pt x="196075" y="1898022"/>
                </a:lnTo>
                <a:cubicBezTo>
                  <a:pt x="196075" y="1910647"/>
                  <a:pt x="185840" y="1920882"/>
                  <a:pt x="173215" y="1920882"/>
                </a:cubicBezTo>
                <a:lnTo>
                  <a:pt x="0" y="1920882"/>
                </a:lnTo>
                <a:close/>
                <a:moveTo>
                  <a:pt x="0" y="1721635"/>
                </a:moveTo>
                <a:lnTo>
                  <a:pt x="81776" y="1721635"/>
                </a:lnTo>
                <a:cubicBezTo>
                  <a:pt x="94401" y="1721635"/>
                  <a:pt x="104636" y="1731870"/>
                  <a:pt x="104636" y="1744495"/>
                </a:cubicBezTo>
                <a:lnTo>
                  <a:pt x="104635" y="1744495"/>
                </a:lnTo>
                <a:cubicBezTo>
                  <a:pt x="104635" y="1757120"/>
                  <a:pt x="94400" y="1767355"/>
                  <a:pt x="81775" y="1767355"/>
                </a:cubicBezTo>
                <a:lnTo>
                  <a:pt x="0" y="1767355"/>
                </a:lnTo>
                <a:close/>
                <a:moveTo>
                  <a:pt x="0" y="1523851"/>
                </a:moveTo>
                <a:lnTo>
                  <a:pt x="279104" y="1523851"/>
                </a:lnTo>
                <a:cubicBezTo>
                  <a:pt x="303950" y="1523851"/>
                  <a:pt x="324091" y="1543992"/>
                  <a:pt x="324091" y="1568838"/>
                </a:cubicBezTo>
                <a:cubicBezTo>
                  <a:pt x="324091" y="1593684"/>
                  <a:pt x="303950" y="1613826"/>
                  <a:pt x="279104" y="1613826"/>
                </a:cubicBezTo>
                <a:lnTo>
                  <a:pt x="0" y="1613826"/>
                </a:lnTo>
                <a:close/>
                <a:moveTo>
                  <a:pt x="0" y="1346012"/>
                </a:moveTo>
                <a:lnTo>
                  <a:pt x="81776" y="1346012"/>
                </a:lnTo>
                <a:cubicBezTo>
                  <a:pt x="94401" y="1346012"/>
                  <a:pt x="104636" y="1356247"/>
                  <a:pt x="104636" y="1368872"/>
                </a:cubicBezTo>
                <a:lnTo>
                  <a:pt x="104635" y="1368872"/>
                </a:lnTo>
                <a:cubicBezTo>
                  <a:pt x="104635" y="1381497"/>
                  <a:pt x="94400" y="1391732"/>
                  <a:pt x="81775" y="1391732"/>
                </a:cubicBezTo>
                <a:lnTo>
                  <a:pt x="0" y="1391732"/>
                </a:lnTo>
                <a:close/>
                <a:moveTo>
                  <a:pt x="0" y="1192484"/>
                </a:moveTo>
                <a:lnTo>
                  <a:pt x="173216" y="1192484"/>
                </a:lnTo>
                <a:cubicBezTo>
                  <a:pt x="185841" y="1192484"/>
                  <a:pt x="196076" y="1202719"/>
                  <a:pt x="196076" y="1215344"/>
                </a:cubicBezTo>
                <a:lnTo>
                  <a:pt x="196075" y="1215344"/>
                </a:lnTo>
                <a:cubicBezTo>
                  <a:pt x="196075" y="1227969"/>
                  <a:pt x="185840" y="1238205"/>
                  <a:pt x="173215" y="1238205"/>
                </a:cubicBezTo>
                <a:lnTo>
                  <a:pt x="0" y="1238205"/>
                </a:lnTo>
                <a:close/>
                <a:moveTo>
                  <a:pt x="0" y="1038956"/>
                </a:moveTo>
                <a:lnTo>
                  <a:pt x="81776" y="1038956"/>
                </a:lnTo>
                <a:cubicBezTo>
                  <a:pt x="94401" y="1038956"/>
                  <a:pt x="104636" y="1049192"/>
                  <a:pt x="104636" y="1061817"/>
                </a:cubicBezTo>
                <a:lnTo>
                  <a:pt x="104635" y="1061817"/>
                </a:lnTo>
                <a:cubicBezTo>
                  <a:pt x="104635" y="1074442"/>
                  <a:pt x="94400" y="1084677"/>
                  <a:pt x="81775" y="1084677"/>
                </a:cubicBezTo>
                <a:lnTo>
                  <a:pt x="0" y="1084677"/>
                </a:lnTo>
                <a:close/>
                <a:moveTo>
                  <a:pt x="0" y="841173"/>
                </a:moveTo>
                <a:lnTo>
                  <a:pt x="279104" y="841173"/>
                </a:lnTo>
                <a:cubicBezTo>
                  <a:pt x="303950" y="841173"/>
                  <a:pt x="324091" y="861314"/>
                  <a:pt x="324091" y="886160"/>
                </a:cubicBezTo>
                <a:cubicBezTo>
                  <a:pt x="324091" y="911007"/>
                  <a:pt x="303950" y="931147"/>
                  <a:pt x="279104" y="931147"/>
                </a:cubicBezTo>
                <a:lnTo>
                  <a:pt x="0" y="931147"/>
                </a:lnTo>
                <a:close/>
                <a:moveTo>
                  <a:pt x="0" y="663334"/>
                </a:moveTo>
                <a:lnTo>
                  <a:pt x="81776" y="663334"/>
                </a:lnTo>
                <a:cubicBezTo>
                  <a:pt x="94401" y="663334"/>
                  <a:pt x="104636" y="673569"/>
                  <a:pt x="104636" y="686194"/>
                </a:cubicBezTo>
                <a:lnTo>
                  <a:pt x="104635" y="686194"/>
                </a:lnTo>
                <a:cubicBezTo>
                  <a:pt x="104635" y="698819"/>
                  <a:pt x="94400" y="709054"/>
                  <a:pt x="81775" y="709054"/>
                </a:cubicBezTo>
                <a:lnTo>
                  <a:pt x="0" y="709054"/>
                </a:lnTo>
                <a:close/>
                <a:moveTo>
                  <a:pt x="0" y="509806"/>
                </a:moveTo>
                <a:lnTo>
                  <a:pt x="173216" y="509806"/>
                </a:lnTo>
                <a:cubicBezTo>
                  <a:pt x="185841" y="509806"/>
                  <a:pt x="196076" y="520041"/>
                  <a:pt x="196076" y="532666"/>
                </a:cubicBezTo>
                <a:lnTo>
                  <a:pt x="196075" y="532666"/>
                </a:lnTo>
                <a:cubicBezTo>
                  <a:pt x="196075" y="545291"/>
                  <a:pt x="185840" y="555526"/>
                  <a:pt x="173215" y="555526"/>
                </a:cubicBezTo>
                <a:lnTo>
                  <a:pt x="0" y="555526"/>
                </a:lnTo>
                <a:close/>
                <a:moveTo>
                  <a:pt x="0" y="356279"/>
                </a:moveTo>
                <a:lnTo>
                  <a:pt x="81776" y="356279"/>
                </a:lnTo>
                <a:cubicBezTo>
                  <a:pt x="94401" y="356279"/>
                  <a:pt x="104636" y="366514"/>
                  <a:pt x="104636" y="379139"/>
                </a:cubicBezTo>
                <a:lnTo>
                  <a:pt x="104635" y="379139"/>
                </a:lnTo>
                <a:cubicBezTo>
                  <a:pt x="104635" y="391764"/>
                  <a:pt x="94400" y="401999"/>
                  <a:pt x="81775" y="401999"/>
                </a:cubicBezTo>
                <a:lnTo>
                  <a:pt x="0" y="401999"/>
                </a:lnTo>
                <a:close/>
                <a:moveTo>
                  <a:pt x="0" y="158496"/>
                </a:moveTo>
                <a:lnTo>
                  <a:pt x="279104" y="158496"/>
                </a:lnTo>
                <a:cubicBezTo>
                  <a:pt x="303950" y="158496"/>
                  <a:pt x="324091" y="178637"/>
                  <a:pt x="324091" y="203483"/>
                </a:cubicBezTo>
                <a:cubicBezTo>
                  <a:pt x="324091" y="228329"/>
                  <a:pt x="303950" y="248470"/>
                  <a:pt x="279104" y="248470"/>
                </a:cubicBezTo>
                <a:lnTo>
                  <a:pt x="0" y="248470"/>
                </a:lnTo>
                <a:close/>
                <a:moveTo>
                  <a:pt x="0" y="0"/>
                </a:moveTo>
                <a:lnTo>
                  <a:pt x="81776" y="0"/>
                </a:lnTo>
                <a:cubicBezTo>
                  <a:pt x="94401" y="0"/>
                  <a:pt x="104636" y="10235"/>
                  <a:pt x="104636" y="22860"/>
                </a:cubicBezTo>
                <a:lnTo>
                  <a:pt x="104635" y="22860"/>
                </a:lnTo>
                <a:cubicBezTo>
                  <a:pt x="104635" y="35485"/>
                  <a:pt x="94400" y="45720"/>
                  <a:pt x="81775" y="45720"/>
                </a:cubicBezTo>
                <a:lnTo>
                  <a:pt x="0" y="45720"/>
                </a:lnTo>
                <a:close/>
              </a:path>
            </a:pathLst>
          </a:custGeom>
          <a:solidFill>
            <a:schemeClr val="bg1">
              <a:alpha val="3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293027" y="552617"/>
            <a:ext cx="9385073" cy="1304513"/>
          </a:xfrm>
        </p:spPr>
        <p:txBody>
          <a:bodyPr anchor="ctr">
            <a:noAutofit/>
          </a:bodyPr>
          <a:lstStyle>
            <a:lvl1pPr algn="l">
              <a:defRPr sz="3999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331113" y="2211598"/>
            <a:ext cx="9108607" cy="165576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3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19444848-A020-4A02-A3BE-B076CE3F71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2883" y="6120714"/>
            <a:ext cx="1017656" cy="420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159850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Two children walking on a dirt road&#10;&#10;Description automatically generated with low confidence">
            <a:extLst>
              <a:ext uri="{FF2B5EF4-FFF2-40B4-BE49-F238E27FC236}">
                <a16:creationId xmlns:a16="http://schemas.microsoft.com/office/drawing/2014/main" id="{2FAFA6C0-FE04-4FF7-B024-F8283FC0D5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35583" y="0"/>
            <a:ext cx="9988693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F9CCF2BA-8568-4244-9254-54AB6E20DD2B}"/>
              </a:ext>
            </a:extLst>
          </p:cNvPr>
          <p:cNvSpPr/>
          <p:nvPr userDrawn="1"/>
        </p:nvSpPr>
        <p:spPr>
          <a:xfrm>
            <a:off x="2035584" y="862342"/>
            <a:ext cx="9988692" cy="1989574"/>
          </a:xfrm>
          <a:prstGeom prst="rect">
            <a:avLst/>
          </a:prstGeom>
          <a:gradFill flip="none" rotWithShape="1">
            <a:gsLst>
              <a:gs pos="60000">
                <a:srgbClr val="FFFFFF">
                  <a:alpha val="50000"/>
                </a:srgbClr>
              </a:gs>
              <a:gs pos="11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6E9FC45-F8CD-4024-87CD-79A789CA586D}"/>
              </a:ext>
            </a:extLst>
          </p:cNvPr>
          <p:cNvSpPr/>
          <p:nvPr userDrawn="1"/>
        </p:nvSpPr>
        <p:spPr>
          <a:xfrm>
            <a:off x="2035584" y="0"/>
            <a:ext cx="9988692" cy="8623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52DACC8-F68A-4E7E-B68C-7F1399D9114E}"/>
              </a:ext>
            </a:extLst>
          </p:cNvPr>
          <p:cNvSpPr/>
          <p:nvPr userDrawn="1"/>
        </p:nvSpPr>
        <p:spPr>
          <a:xfrm>
            <a:off x="2072100" y="6705600"/>
            <a:ext cx="8044625" cy="15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800">
                <a:solidFill>
                  <a:schemeClr val="tx1"/>
                </a:solidFill>
                <a:ea typeface="MS PGothic" pitchFamily="34" charset="-128"/>
              </a:rPr>
              <a:t>Pfizer Confidential – Internal Use Only, Not for Further Distribution</a:t>
            </a:r>
            <a:endParaRPr lang="en-US" sz="800">
              <a:solidFill>
                <a:schemeClr val="tx1"/>
              </a:solidFill>
              <a:ea typeface="MS PGothic" pitchFamily="34" charset="-128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C514C5-2143-4E16-837F-CF028230C903}"/>
              </a:ext>
            </a:extLst>
          </p:cNvPr>
          <p:cNvSpPr/>
          <p:nvPr userDrawn="1"/>
        </p:nvSpPr>
        <p:spPr>
          <a:xfrm>
            <a:off x="0" y="0"/>
            <a:ext cx="2011157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E1FD921-B9B9-4E01-8593-A27B37592D89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27281B-F7F1-4E3B-B238-0D64683B763A}"/>
              </a:ext>
            </a:extLst>
          </p:cNvPr>
          <p:cNvSpPr/>
          <p:nvPr userDrawn="1"/>
        </p:nvSpPr>
        <p:spPr>
          <a:xfrm>
            <a:off x="1897132" y="0"/>
            <a:ext cx="138452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3941344-CBA3-46F5-9801-595985401D8A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D2612D66-723A-4927-9CE6-16C13A003646}"/>
              </a:ext>
            </a:extLst>
          </p:cNvPr>
          <p:cNvSpPr/>
          <p:nvPr userDrawn="1"/>
        </p:nvSpPr>
        <p:spPr>
          <a:xfrm>
            <a:off x="0" y="141677"/>
            <a:ext cx="324007" cy="6853150"/>
          </a:xfrm>
          <a:custGeom>
            <a:avLst/>
            <a:gdLst>
              <a:gd name="connsiteX0" fmla="*/ 0 w 324091"/>
              <a:gd name="connsiteY0" fmla="*/ 6807430 h 6853150"/>
              <a:gd name="connsiteX1" fmla="*/ 81776 w 324091"/>
              <a:gd name="connsiteY1" fmla="*/ 6807430 h 6853150"/>
              <a:gd name="connsiteX2" fmla="*/ 104636 w 324091"/>
              <a:gd name="connsiteY2" fmla="*/ 6830290 h 6853150"/>
              <a:gd name="connsiteX3" fmla="*/ 104635 w 324091"/>
              <a:gd name="connsiteY3" fmla="*/ 6830290 h 6853150"/>
              <a:gd name="connsiteX4" fmla="*/ 81775 w 324091"/>
              <a:gd name="connsiteY4" fmla="*/ 6853150 h 6853150"/>
              <a:gd name="connsiteX5" fmla="*/ 0 w 324091"/>
              <a:gd name="connsiteY5" fmla="*/ 6853150 h 6853150"/>
              <a:gd name="connsiteX6" fmla="*/ 0 w 324091"/>
              <a:gd name="connsiteY6" fmla="*/ 6653902 h 6853150"/>
              <a:gd name="connsiteX7" fmla="*/ 173216 w 324091"/>
              <a:gd name="connsiteY7" fmla="*/ 6653902 h 6853150"/>
              <a:gd name="connsiteX8" fmla="*/ 196076 w 324091"/>
              <a:gd name="connsiteY8" fmla="*/ 6676762 h 6853150"/>
              <a:gd name="connsiteX9" fmla="*/ 196075 w 324091"/>
              <a:gd name="connsiteY9" fmla="*/ 6676762 h 6853150"/>
              <a:gd name="connsiteX10" fmla="*/ 173215 w 324091"/>
              <a:gd name="connsiteY10" fmla="*/ 6699622 h 6853150"/>
              <a:gd name="connsiteX11" fmla="*/ 0 w 324091"/>
              <a:gd name="connsiteY11" fmla="*/ 6699622 h 6853150"/>
              <a:gd name="connsiteX12" fmla="*/ 0 w 324091"/>
              <a:gd name="connsiteY12" fmla="*/ 6500374 h 6853150"/>
              <a:gd name="connsiteX13" fmla="*/ 81776 w 324091"/>
              <a:gd name="connsiteY13" fmla="*/ 6500374 h 6853150"/>
              <a:gd name="connsiteX14" fmla="*/ 104636 w 324091"/>
              <a:gd name="connsiteY14" fmla="*/ 6523234 h 6853150"/>
              <a:gd name="connsiteX15" fmla="*/ 104635 w 324091"/>
              <a:gd name="connsiteY15" fmla="*/ 6523234 h 6853150"/>
              <a:gd name="connsiteX16" fmla="*/ 81775 w 324091"/>
              <a:gd name="connsiteY16" fmla="*/ 6546094 h 6853150"/>
              <a:gd name="connsiteX17" fmla="*/ 0 w 324091"/>
              <a:gd name="connsiteY17" fmla="*/ 6546094 h 6853150"/>
              <a:gd name="connsiteX18" fmla="*/ 0 w 324091"/>
              <a:gd name="connsiteY18" fmla="*/ 6302591 h 6853150"/>
              <a:gd name="connsiteX19" fmla="*/ 279104 w 324091"/>
              <a:gd name="connsiteY19" fmla="*/ 6302591 h 6853150"/>
              <a:gd name="connsiteX20" fmla="*/ 324091 w 324091"/>
              <a:gd name="connsiteY20" fmla="*/ 6347578 h 6853150"/>
              <a:gd name="connsiteX21" fmla="*/ 279104 w 324091"/>
              <a:gd name="connsiteY21" fmla="*/ 6392565 h 6853150"/>
              <a:gd name="connsiteX22" fmla="*/ 0 w 324091"/>
              <a:gd name="connsiteY22" fmla="*/ 6392565 h 6853150"/>
              <a:gd name="connsiteX23" fmla="*/ 0 w 324091"/>
              <a:gd name="connsiteY23" fmla="*/ 6124755 h 6853150"/>
              <a:gd name="connsiteX24" fmla="*/ 81776 w 324091"/>
              <a:gd name="connsiteY24" fmla="*/ 6124755 h 6853150"/>
              <a:gd name="connsiteX25" fmla="*/ 104636 w 324091"/>
              <a:gd name="connsiteY25" fmla="*/ 6147615 h 6853150"/>
              <a:gd name="connsiteX26" fmla="*/ 104635 w 324091"/>
              <a:gd name="connsiteY26" fmla="*/ 6147615 h 6853150"/>
              <a:gd name="connsiteX27" fmla="*/ 81775 w 324091"/>
              <a:gd name="connsiteY27" fmla="*/ 6170475 h 6853150"/>
              <a:gd name="connsiteX28" fmla="*/ 0 w 324091"/>
              <a:gd name="connsiteY28" fmla="*/ 6170475 h 6853150"/>
              <a:gd name="connsiteX29" fmla="*/ 0 w 324091"/>
              <a:gd name="connsiteY29" fmla="*/ 5971227 h 6853150"/>
              <a:gd name="connsiteX30" fmla="*/ 173216 w 324091"/>
              <a:gd name="connsiteY30" fmla="*/ 5971227 h 6853150"/>
              <a:gd name="connsiteX31" fmla="*/ 196076 w 324091"/>
              <a:gd name="connsiteY31" fmla="*/ 5994087 h 6853150"/>
              <a:gd name="connsiteX32" fmla="*/ 196075 w 324091"/>
              <a:gd name="connsiteY32" fmla="*/ 5994087 h 6853150"/>
              <a:gd name="connsiteX33" fmla="*/ 173215 w 324091"/>
              <a:gd name="connsiteY33" fmla="*/ 6016947 h 6853150"/>
              <a:gd name="connsiteX34" fmla="*/ 0 w 324091"/>
              <a:gd name="connsiteY34" fmla="*/ 6016947 h 6853150"/>
              <a:gd name="connsiteX35" fmla="*/ 0 w 324091"/>
              <a:gd name="connsiteY35" fmla="*/ 5817699 h 6853150"/>
              <a:gd name="connsiteX36" fmla="*/ 81776 w 324091"/>
              <a:gd name="connsiteY36" fmla="*/ 5817699 h 6853150"/>
              <a:gd name="connsiteX37" fmla="*/ 104636 w 324091"/>
              <a:gd name="connsiteY37" fmla="*/ 5840559 h 6853150"/>
              <a:gd name="connsiteX38" fmla="*/ 104635 w 324091"/>
              <a:gd name="connsiteY38" fmla="*/ 5840559 h 6853150"/>
              <a:gd name="connsiteX39" fmla="*/ 81775 w 324091"/>
              <a:gd name="connsiteY39" fmla="*/ 5863419 h 6853150"/>
              <a:gd name="connsiteX40" fmla="*/ 0 w 324091"/>
              <a:gd name="connsiteY40" fmla="*/ 5863419 h 6853150"/>
              <a:gd name="connsiteX41" fmla="*/ 0 w 324091"/>
              <a:gd name="connsiteY41" fmla="*/ 5619916 h 6853150"/>
              <a:gd name="connsiteX42" fmla="*/ 279104 w 324091"/>
              <a:gd name="connsiteY42" fmla="*/ 5619916 h 6853150"/>
              <a:gd name="connsiteX43" fmla="*/ 324091 w 324091"/>
              <a:gd name="connsiteY43" fmla="*/ 5664903 h 6853150"/>
              <a:gd name="connsiteX44" fmla="*/ 279104 w 324091"/>
              <a:gd name="connsiteY44" fmla="*/ 5709890 h 6853150"/>
              <a:gd name="connsiteX45" fmla="*/ 0 w 324091"/>
              <a:gd name="connsiteY45" fmla="*/ 5709890 h 6853150"/>
              <a:gd name="connsiteX46" fmla="*/ 0 w 324091"/>
              <a:gd name="connsiteY46" fmla="*/ 5442077 h 6853150"/>
              <a:gd name="connsiteX47" fmla="*/ 81776 w 324091"/>
              <a:gd name="connsiteY47" fmla="*/ 5442077 h 6853150"/>
              <a:gd name="connsiteX48" fmla="*/ 104636 w 324091"/>
              <a:gd name="connsiteY48" fmla="*/ 5464937 h 6853150"/>
              <a:gd name="connsiteX49" fmla="*/ 104635 w 324091"/>
              <a:gd name="connsiteY49" fmla="*/ 5464937 h 6853150"/>
              <a:gd name="connsiteX50" fmla="*/ 81775 w 324091"/>
              <a:gd name="connsiteY50" fmla="*/ 5487797 h 6853150"/>
              <a:gd name="connsiteX51" fmla="*/ 0 w 324091"/>
              <a:gd name="connsiteY51" fmla="*/ 5487797 h 6853150"/>
              <a:gd name="connsiteX52" fmla="*/ 0 w 324091"/>
              <a:gd name="connsiteY52" fmla="*/ 5288549 h 6853150"/>
              <a:gd name="connsiteX53" fmla="*/ 173216 w 324091"/>
              <a:gd name="connsiteY53" fmla="*/ 5288549 h 6853150"/>
              <a:gd name="connsiteX54" fmla="*/ 196076 w 324091"/>
              <a:gd name="connsiteY54" fmla="*/ 5311409 h 6853150"/>
              <a:gd name="connsiteX55" fmla="*/ 196075 w 324091"/>
              <a:gd name="connsiteY55" fmla="*/ 5311409 h 6853150"/>
              <a:gd name="connsiteX56" fmla="*/ 173215 w 324091"/>
              <a:gd name="connsiteY56" fmla="*/ 5334269 h 6853150"/>
              <a:gd name="connsiteX57" fmla="*/ 0 w 324091"/>
              <a:gd name="connsiteY57" fmla="*/ 5334269 h 6853150"/>
              <a:gd name="connsiteX58" fmla="*/ 0 w 324091"/>
              <a:gd name="connsiteY58" fmla="*/ 5135021 h 6853150"/>
              <a:gd name="connsiteX59" fmla="*/ 81776 w 324091"/>
              <a:gd name="connsiteY59" fmla="*/ 5135021 h 6853150"/>
              <a:gd name="connsiteX60" fmla="*/ 104636 w 324091"/>
              <a:gd name="connsiteY60" fmla="*/ 5157881 h 6853150"/>
              <a:gd name="connsiteX61" fmla="*/ 104635 w 324091"/>
              <a:gd name="connsiteY61" fmla="*/ 5157881 h 6853150"/>
              <a:gd name="connsiteX62" fmla="*/ 81775 w 324091"/>
              <a:gd name="connsiteY62" fmla="*/ 5180741 h 6853150"/>
              <a:gd name="connsiteX63" fmla="*/ 0 w 324091"/>
              <a:gd name="connsiteY63" fmla="*/ 5180741 h 6853150"/>
              <a:gd name="connsiteX64" fmla="*/ 0 w 324091"/>
              <a:gd name="connsiteY64" fmla="*/ 4937238 h 6853150"/>
              <a:gd name="connsiteX65" fmla="*/ 279104 w 324091"/>
              <a:gd name="connsiteY65" fmla="*/ 4937238 h 6853150"/>
              <a:gd name="connsiteX66" fmla="*/ 324091 w 324091"/>
              <a:gd name="connsiteY66" fmla="*/ 4982225 h 6853150"/>
              <a:gd name="connsiteX67" fmla="*/ 279104 w 324091"/>
              <a:gd name="connsiteY67" fmla="*/ 5027212 h 6853150"/>
              <a:gd name="connsiteX68" fmla="*/ 0 w 324091"/>
              <a:gd name="connsiteY68" fmla="*/ 5027212 h 6853150"/>
              <a:gd name="connsiteX69" fmla="*/ 0 w 324091"/>
              <a:gd name="connsiteY69" fmla="*/ 4759399 h 6853150"/>
              <a:gd name="connsiteX70" fmla="*/ 81776 w 324091"/>
              <a:gd name="connsiteY70" fmla="*/ 4759399 h 6853150"/>
              <a:gd name="connsiteX71" fmla="*/ 104636 w 324091"/>
              <a:gd name="connsiteY71" fmla="*/ 4782259 h 6853150"/>
              <a:gd name="connsiteX72" fmla="*/ 104635 w 324091"/>
              <a:gd name="connsiteY72" fmla="*/ 4782259 h 6853150"/>
              <a:gd name="connsiteX73" fmla="*/ 81775 w 324091"/>
              <a:gd name="connsiteY73" fmla="*/ 4805119 h 6853150"/>
              <a:gd name="connsiteX74" fmla="*/ 0 w 324091"/>
              <a:gd name="connsiteY74" fmla="*/ 4805119 h 6853150"/>
              <a:gd name="connsiteX75" fmla="*/ 0 w 324091"/>
              <a:gd name="connsiteY75" fmla="*/ 4605871 h 6853150"/>
              <a:gd name="connsiteX76" fmla="*/ 173216 w 324091"/>
              <a:gd name="connsiteY76" fmla="*/ 4605871 h 6853150"/>
              <a:gd name="connsiteX77" fmla="*/ 196076 w 324091"/>
              <a:gd name="connsiteY77" fmla="*/ 4628731 h 6853150"/>
              <a:gd name="connsiteX78" fmla="*/ 196075 w 324091"/>
              <a:gd name="connsiteY78" fmla="*/ 4628731 h 6853150"/>
              <a:gd name="connsiteX79" fmla="*/ 173215 w 324091"/>
              <a:gd name="connsiteY79" fmla="*/ 4651591 h 6853150"/>
              <a:gd name="connsiteX80" fmla="*/ 0 w 324091"/>
              <a:gd name="connsiteY80" fmla="*/ 4651591 h 6853150"/>
              <a:gd name="connsiteX81" fmla="*/ 0 w 324091"/>
              <a:gd name="connsiteY81" fmla="*/ 4452343 h 6853150"/>
              <a:gd name="connsiteX82" fmla="*/ 81776 w 324091"/>
              <a:gd name="connsiteY82" fmla="*/ 4452343 h 6853150"/>
              <a:gd name="connsiteX83" fmla="*/ 104636 w 324091"/>
              <a:gd name="connsiteY83" fmla="*/ 4475203 h 6853150"/>
              <a:gd name="connsiteX84" fmla="*/ 104635 w 324091"/>
              <a:gd name="connsiteY84" fmla="*/ 4475203 h 6853150"/>
              <a:gd name="connsiteX85" fmla="*/ 81775 w 324091"/>
              <a:gd name="connsiteY85" fmla="*/ 4498063 h 6853150"/>
              <a:gd name="connsiteX86" fmla="*/ 0 w 324091"/>
              <a:gd name="connsiteY86" fmla="*/ 4498063 h 6853150"/>
              <a:gd name="connsiteX87" fmla="*/ 0 w 324091"/>
              <a:gd name="connsiteY87" fmla="*/ 4254560 h 6853150"/>
              <a:gd name="connsiteX88" fmla="*/ 279104 w 324091"/>
              <a:gd name="connsiteY88" fmla="*/ 4254560 h 6853150"/>
              <a:gd name="connsiteX89" fmla="*/ 324091 w 324091"/>
              <a:gd name="connsiteY89" fmla="*/ 4299547 h 6853150"/>
              <a:gd name="connsiteX90" fmla="*/ 279104 w 324091"/>
              <a:gd name="connsiteY90" fmla="*/ 4344534 h 6853150"/>
              <a:gd name="connsiteX91" fmla="*/ 0 w 324091"/>
              <a:gd name="connsiteY91" fmla="*/ 4344534 h 6853150"/>
              <a:gd name="connsiteX92" fmla="*/ 0 w 324091"/>
              <a:gd name="connsiteY92" fmla="*/ 4076721 h 6853150"/>
              <a:gd name="connsiteX93" fmla="*/ 81776 w 324091"/>
              <a:gd name="connsiteY93" fmla="*/ 4076721 h 6853150"/>
              <a:gd name="connsiteX94" fmla="*/ 104636 w 324091"/>
              <a:gd name="connsiteY94" fmla="*/ 4099581 h 6853150"/>
              <a:gd name="connsiteX95" fmla="*/ 104635 w 324091"/>
              <a:gd name="connsiteY95" fmla="*/ 4099581 h 6853150"/>
              <a:gd name="connsiteX96" fmla="*/ 81775 w 324091"/>
              <a:gd name="connsiteY96" fmla="*/ 4122441 h 6853150"/>
              <a:gd name="connsiteX97" fmla="*/ 0 w 324091"/>
              <a:gd name="connsiteY97" fmla="*/ 4122441 h 6853150"/>
              <a:gd name="connsiteX98" fmla="*/ 0 w 324091"/>
              <a:gd name="connsiteY98" fmla="*/ 3923193 h 6853150"/>
              <a:gd name="connsiteX99" fmla="*/ 173216 w 324091"/>
              <a:gd name="connsiteY99" fmla="*/ 3923193 h 6853150"/>
              <a:gd name="connsiteX100" fmla="*/ 196076 w 324091"/>
              <a:gd name="connsiteY100" fmla="*/ 3946053 h 6853150"/>
              <a:gd name="connsiteX101" fmla="*/ 196075 w 324091"/>
              <a:gd name="connsiteY101" fmla="*/ 3946053 h 6853150"/>
              <a:gd name="connsiteX102" fmla="*/ 173215 w 324091"/>
              <a:gd name="connsiteY102" fmla="*/ 3968913 h 6853150"/>
              <a:gd name="connsiteX103" fmla="*/ 0 w 324091"/>
              <a:gd name="connsiteY103" fmla="*/ 3968913 h 6853150"/>
              <a:gd name="connsiteX104" fmla="*/ 0 w 324091"/>
              <a:gd name="connsiteY104" fmla="*/ 3769665 h 6853150"/>
              <a:gd name="connsiteX105" fmla="*/ 81776 w 324091"/>
              <a:gd name="connsiteY105" fmla="*/ 3769665 h 6853150"/>
              <a:gd name="connsiteX106" fmla="*/ 104636 w 324091"/>
              <a:gd name="connsiteY106" fmla="*/ 3792525 h 6853150"/>
              <a:gd name="connsiteX107" fmla="*/ 104635 w 324091"/>
              <a:gd name="connsiteY107" fmla="*/ 3792525 h 6853150"/>
              <a:gd name="connsiteX108" fmla="*/ 81775 w 324091"/>
              <a:gd name="connsiteY108" fmla="*/ 3815385 h 6853150"/>
              <a:gd name="connsiteX109" fmla="*/ 0 w 324091"/>
              <a:gd name="connsiteY109" fmla="*/ 3815385 h 6853150"/>
              <a:gd name="connsiteX110" fmla="*/ 0 w 324091"/>
              <a:gd name="connsiteY110" fmla="*/ 3571882 h 6853150"/>
              <a:gd name="connsiteX111" fmla="*/ 279104 w 324091"/>
              <a:gd name="connsiteY111" fmla="*/ 3571882 h 6853150"/>
              <a:gd name="connsiteX112" fmla="*/ 324091 w 324091"/>
              <a:gd name="connsiteY112" fmla="*/ 3616869 h 6853150"/>
              <a:gd name="connsiteX113" fmla="*/ 279104 w 324091"/>
              <a:gd name="connsiteY113" fmla="*/ 3661856 h 6853150"/>
              <a:gd name="connsiteX114" fmla="*/ 0 w 324091"/>
              <a:gd name="connsiteY114" fmla="*/ 3661856 h 6853150"/>
              <a:gd name="connsiteX115" fmla="*/ 0 w 324091"/>
              <a:gd name="connsiteY115" fmla="*/ 3394043 h 6853150"/>
              <a:gd name="connsiteX116" fmla="*/ 81776 w 324091"/>
              <a:gd name="connsiteY116" fmla="*/ 3394043 h 6853150"/>
              <a:gd name="connsiteX117" fmla="*/ 104636 w 324091"/>
              <a:gd name="connsiteY117" fmla="*/ 3416905 h 6853150"/>
              <a:gd name="connsiteX118" fmla="*/ 104635 w 324091"/>
              <a:gd name="connsiteY118" fmla="*/ 3416905 h 6853150"/>
              <a:gd name="connsiteX119" fmla="*/ 81775 w 324091"/>
              <a:gd name="connsiteY119" fmla="*/ 3439763 h 6853150"/>
              <a:gd name="connsiteX120" fmla="*/ 0 w 324091"/>
              <a:gd name="connsiteY120" fmla="*/ 3439763 h 6853150"/>
              <a:gd name="connsiteX121" fmla="*/ 0 w 324091"/>
              <a:gd name="connsiteY121" fmla="*/ 3240516 h 6853150"/>
              <a:gd name="connsiteX122" fmla="*/ 173216 w 324091"/>
              <a:gd name="connsiteY122" fmla="*/ 3240516 h 6853150"/>
              <a:gd name="connsiteX123" fmla="*/ 196076 w 324091"/>
              <a:gd name="connsiteY123" fmla="*/ 3263376 h 6853150"/>
              <a:gd name="connsiteX124" fmla="*/ 196075 w 324091"/>
              <a:gd name="connsiteY124" fmla="*/ 3263376 h 6853150"/>
              <a:gd name="connsiteX125" fmla="*/ 173215 w 324091"/>
              <a:gd name="connsiteY125" fmla="*/ 3286236 h 6853150"/>
              <a:gd name="connsiteX126" fmla="*/ 0 w 324091"/>
              <a:gd name="connsiteY126" fmla="*/ 3286236 h 6853150"/>
              <a:gd name="connsiteX127" fmla="*/ 0 w 324091"/>
              <a:gd name="connsiteY127" fmla="*/ 3086989 h 6853150"/>
              <a:gd name="connsiteX128" fmla="*/ 81776 w 324091"/>
              <a:gd name="connsiteY128" fmla="*/ 3086989 h 6853150"/>
              <a:gd name="connsiteX129" fmla="*/ 104636 w 324091"/>
              <a:gd name="connsiteY129" fmla="*/ 3109849 h 6853150"/>
              <a:gd name="connsiteX130" fmla="*/ 104635 w 324091"/>
              <a:gd name="connsiteY130" fmla="*/ 3109849 h 6853150"/>
              <a:gd name="connsiteX131" fmla="*/ 81775 w 324091"/>
              <a:gd name="connsiteY131" fmla="*/ 3132709 h 6853150"/>
              <a:gd name="connsiteX132" fmla="*/ 0 w 324091"/>
              <a:gd name="connsiteY132" fmla="*/ 3132709 h 6853150"/>
              <a:gd name="connsiteX133" fmla="*/ 0 w 324091"/>
              <a:gd name="connsiteY133" fmla="*/ 2889206 h 6853150"/>
              <a:gd name="connsiteX134" fmla="*/ 279104 w 324091"/>
              <a:gd name="connsiteY134" fmla="*/ 2889206 h 6853150"/>
              <a:gd name="connsiteX135" fmla="*/ 324091 w 324091"/>
              <a:gd name="connsiteY135" fmla="*/ 2934194 h 6853150"/>
              <a:gd name="connsiteX136" fmla="*/ 279104 w 324091"/>
              <a:gd name="connsiteY136" fmla="*/ 2979180 h 6853150"/>
              <a:gd name="connsiteX137" fmla="*/ 0 w 324091"/>
              <a:gd name="connsiteY137" fmla="*/ 2979180 h 6853150"/>
              <a:gd name="connsiteX138" fmla="*/ 0 w 324091"/>
              <a:gd name="connsiteY138" fmla="*/ 2711367 h 6853150"/>
              <a:gd name="connsiteX139" fmla="*/ 81776 w 324091"/>
              <a:gd name="connsiteY139" fmla="*/ 2711367 h 6853150"/>
              <a:gd name="connsiteX140" fmla="*/ 104636 w 324091"/>
              <a:gd name="connsiteY140" fmla="*/ 2734227 h 6853150"/>
              <a:gd name="connsiteX141" fmla="*/ 104635 w 324091"/>
              <a:gd name="connsiteY141" fmla="*/ 2734227 h 6853150"/>
              <a:gd name="connsiteX142" fmla="*/ 81775 w 324091"/>
              <a:gd name="connsiteY142" fmla="*/ 2757087 h 6853150"/>
              <a:gd name="connsiteX143" fmla="*/ 0 w 324091"/>
              <a:gd name="connsiteY143" fmla="*/ 2757087 h 6853150"/>
              <a:gd name="connsiteX144" fmla="*/ 0 w 324091"/>
              <a:gd name="connsiteY144" fmla="*/ 2557839 h 6853150"/>
              <a:gd name="connsiteX145" fmla="*/ 173216 w 324091"/>
              <a:gd name="connsiteY145" fmla="*/ 2557839 h 6853150"/>
              <a:gd name="connsiteX146" fmla="*/ 196076 w 324091"/>
              <a:gd name="connsiteY146" fmla="*/ 2580699 h 6853150"/>
              <a:gd name="connsiteX147" fmla="*/ 196075 w 324091"/>
              <a:gd name="connsiteY147" fmla="*/ 2580699 h 6853150"/>
              <a:gd name="connsiteX148" fmla="*/ 173215 w 324091"/>
              <a:gd name="connsiteY148" fmla="*/ 2603559 h 6853150"/>
              <a:gd name="connsiteX149" fmla="*/ 0 w 324091"/>
              <a:gd name="connsiteY149" fmla="*/ 2603559 h 6853150"/>
              <a:gd name="connsiteX150" fmla="*/ 0 w 324091"/>
              <a:gd name="connsiteY150" fmla="*/ 2404312 h 6853150"/>
              <a:gd name="connsiteX151" fmla="*/ 81776 w 324091"/>
              <a:gd name="connsiteY151" fmla="*/ 2404312 h 6853150"/>
              <a:gd name="connsiteX152" fmla="*/ 104636 w 324091"/>
              <a:gd name="connsiteY152" fmla="*/ 2427171 h 6853150"/>
              <a:gd name="connsiteX153" fmla="*/ 104635 w 324091"/>
              <a:gd name="connsiteY153" fmla="*/ 2427171 h 6853150"/>
              <a:gd name="connsiteX154" fmla="*/ 81775 w 324091"/>
              <a:gd name="connsiteY154" fmla="*/ 2450032 h 6853150"/>
              <a:gd name="connsiteX155" fmla="*/ 0 w 324091"/>
              <a:gd name="connsiteY155" fmla="*/ 2450032 h 6853150"/>
              <a:gd name="connsiteX156" fmla="*/ 0 w 324091"/>
              <a:gd name="connsiteY156" fmla="*/ 2206528 h 6853150"/>
              <a:gd name="connsiteX157" fmla="*/ 279104 w 324091"/>
              <a:gd name="connsiteY157" fmla="*/ 2206528 h 6853150"/>
              <a:gd name="connsiteX158" fmla="*/ 324091 w 324091"/>
              <a:gd name="connsiteY158" fmla="*/ 2251515 h 6853150"/>
              <a:gd name="connsiteX159" fmla="*/ 279104 w 324091"/>
              <a:gd name="connsiteY159" fmla="*/ 2296503 h 6853150"/>
              <a:gd name="connsiteX160" fmla="*/ 0 w 324091"/>
              <a:gd name="connsiteY160" fmla="*/ 2296503 h 6853150"/>
              <a:gd name="connsiteX161" fmla="*/ 0 w 324091"/>
              <a:gd name="connsiteY161" fmla="*/ 2028689 h 6853150"/>
              <a:gd name="connsiteX162" fmla="*/ 81776 w 324091"/>
              <a:gd name="connsiteY162" fmla="*/ 2028689 h 6853150"/>
              <a:gd name="connsiteX163" fmla="*/ 104636 w 324091"/>
              <a:gd name="connsiteY163" fmla="*/ 2051550 h 6853150"/>
              <a:gd name="connsiteX164" fmla="*/ 104635 w 324091"/>
              <a:gd name="connsiteY164" fmla="*/ 2051550 h 6853150"/>
              <a:gd name="connsiteX165" fmla="*/ 81775 w 324091"/>
              <a:gd name="connsiteY165" fmla="*/ 2074409 h 6853150"/>
              <a:gd name="connsiteX166" fmla="*/ 0 w 324091"/>
              <a:gd name="connsiteY166" fmla="*/ 2074409 h 6853150"/>
              <a:gd name="connsiteX167" fmla="*/ 0 w 324091"/>
              <a:gd name="connsiteY167" fmla="*/ 1875162 h 6853150"/>
              <a:gd name="connsiteX168" fmla="*/ 173216 w 324091"/>
              <a:gd name="connsiteY168" fmla="*/ 1875162 h 6853150"/>
              <a:gd name="connsiteX169" fmla="*/ 196076 w 324091"/>
              <a:gd name="connsiteY169" fmla="*/ 1898022 h 6853150"/>
              <a:gd name="connsiteX170" fmla="*/ 196075 w 324091"/>
              <a:gd name="connsiteY170" fmla="*/ 1898022 h 6853150"/>
              <a:gd name="connsiteX171" fmla="*/ 173215 w 324091"/>
              <a:gd name="connsiteY171" fmla="*/ 1920882 h 6853150"/>
              <a:gd name="connsiteX172" fmla="*/ 0 w 324091"/>
              <a:gd name="connsiteY172" fmla="*/ 1920882 h 6853150"/>
              <a:gd name="connsiteX173" fmla="*/ 0 w 324091"/>
              <a:gd name="connsiteY173" fmla="*/ 1721635 h 6853150"/>
              <a:gd name="connsiteX174" fmla="*/ 81776 w 324091"/>
              <a:gd name="connsiteY174" fmla="*/ 1721635 h 6853150"/>
              <a:gd name="connsiteX175" fmla="*/ 104636 w 324091"/>
              <a:gd name="connsiteY175" fmla="*/ 1744495 h 6853150"/>
              <a:gd name="connsiteX176" fmla="*/ 104635 w 324091"/>
              <a:gd name="connsiteY176" fmla="*/ 1744495 h 6853150"/>
              <a:gd name="connsiteX177" fmla="*/ 81775 w 324091"/>
              <a:gd name="connsiteY177" fmla="*/ 1767355 h 6853150"/>
              <a:gd name="connsiteX178" fmla="*/ 0 w 324091"/>
              <a:gd name="connsiteY178" fmla="*/ 1767355 h 6853150"/>
              <a:gd name="connsiteX179" fmla="*/ 0 w 324091"/>
              <a:gd name="connsiteY179" fmla="*/ 1523851 h 6853150"/>
              <a:gd name="connsiteX180" fmla="*/ 279104 w 324091"/>
              <a:gd name="connsiteY180" fmla="*/ 1523851 h 6853150"/>
              <a:gd name="connsiteX181" fmla="*/ 324091 w 324091"/>
              <a:gd name="connsiteY181" fmla="*/ 1568838 h 6853150"/>
              <a:gd name="connsiteX182" fmla="*/ 279104 w 324091"/>
              <a:gd name="connsiteY182" fmla="*/ 1613826 h 6853150"/>
              <a:gd name="connsiteX183" fmla="*/ 0 w 324091"/>
              <a:gd name="connsiteY183" fmla="*/ 1613826 h 6853150"/>
              <a:gd name="connsiteX184" fmla="*/ 0 w 324091"/>
              <a:gd name="connsiteY184" fmla="*/ 1346012 h 6853150"/>
              <a:gd name="connsiteX185" fmla="*/ 81776 w 324091"/>
              <a:gd name="connsiteY185" fmla="*/ 1346012 h 6853150"/>
              <a:gd name="connsiteX186" fmla="*/ 104636 w 324091"/>
              <a:gd name="connsiteY186" fmla="*/ 1368872 h 6853150"/>
              <a:gd name="connsiteX187" fmla="*/ 104635 w 324091"/>
              <a:gd name="connsiteY187" fmla="*/ 1368872 h 6853150"/>
              <a:gd name="connsiteX188" fmla="*/ 81775 w 324091"/>
              <a:gd name="connsiteY188" fmla="*/ 1391732 h 6853150"/>
              <a:gd name="connsiteX189" fmla="*/ 0 w 324091"/>
              <a:gd name="connsiteY189" fmla="*/ 1391732 h 6853150"/>
              <a:gd name="connsiteX190" fmla="*/ 0 w 324091"/>
              <a:gd name="connsiteY190" fmla="*/ 1192484 h 6853150"/>
              <a:gd name="connsiteX191" fmla="*/ 173216 w 324091"/>
              <a:gd name="connsiteY191" fmla="*/ 1192484 h 6853150"/>
              <a:gd name="connsiteX192" fmla="*/ 196076 w 324091"/>
              <a:gd name="connsiteY192" fmla="*/ 1215344 h 6853150"/>
              <a:gd name="connsiteX193" fmla="*/ 196075 w 324091"/>
              <a:gd name="connsiteY193" fmla="*/ 1215344 h 6853150"/>
              <a:gd name="connsiteX194" fmla="*/ 173215 w 324091"/>
              <a:gd name="connsiteY194" fmla="*/ 1238205 h 6853150"/>
              <a:gd name="connsiteX195" fmla="*/ 0 w 324091"/>
              <a:gd name="connsiteY195" fmla="*/ 1238205 h 6853150"/>
              <a:gd name="connsiteX196" fmla="*/ 0 w 324091"/>
              <a:gd name="connsiteY196" fmla="*/ 1038956 h 6853150"/>
              <a:gd name="connsiteX197" fmla="*/ 81776 w 324091"/>
              <a:gd name="connsiteY197" fmla="*/ 1038956 h 6853150"/>
              <a:gd name="connsiteX198" fmla="*/ 104636 w 324091"/>
              <a:gd name="connsiteY198" fmla="*/ 1061817 h 6853150"/>
              <a:gd name="connsiteX199" fmla="*/ 104635 w 324091"/>
              <a:gd name="connsiteY199" fmla="*/ 1061817 h 6853150"/>
              <a:gd name="connsiteX200" fmla="*/ 81775 w 324091"/>
              <a:gd name="connsiteY200" fmla="*/ 1084677 h 6853150"/>
              <a:gd name="connsiteX201" fmla="*/ 0 w 324091"/>
              <a:gd name="connsiteY201" fmla="*/ 1084677 h 6853150"/>
              <a:gd name="connsiteX202" fmla="*/ 0 w 324091"/>
              <a:gd name="connsiteY202" fmla="*/ 841173 h 6853150"/>
              <a:gd name="connsiteX203" fmla="*/ 279104 w 324091"/>
              <a:gd name="connsiteY203" fmla="*/ 841173 h 6853150"/>
              <a:gd name="connsiteX204" fmla="*/ 324091 w 324091"/>
              <a:gd name="connsiteY204" fmla="*/ 886160 h 6853150"/>
              <a:gd name="connsiteX205" fmla="*/ 279104 w 324091"/>
              <a:gd name="connsiteY205" fmla="*/ 931147 h 6853150"/>
              <a:gd name="connsiteX206" fmla="*/ 0 w 324091"/>
              <a:gd name="connsiteY206" fmla="*/ 931147 h 6853150"/>
              <a:gd name="connsiteX207" fmla="*/ 0 w 324091"/>
              <a:gd name="connsiteY207" fmla="*/ 663334 h 6853150"/>
              <a:gd name="connsiteX208" fmla="*/ 81776 w 324091"/>
              <a:gd name="connsiteY208" fmla="*/ 663334 h 6853150"/>
              <a:gd name="connsiteX209" fmla="*/ 104636 w 324091"/>
              <a:gd name="connsiteY209" fmla="*/ 686194 h 6853150"/>
              <a:gd name="connsiteX210" fmla="*/ 104635 w 324091"/>
              <a:gd name="connsiteY210" fmla="*/ 686194 h 6853150"/>
              <a:gd name="connsiteX211" fmla="*/ 81775 w 324091"/>
              <a:gd name="connsiteY211" fmla="*/ 709054 h 6853150"/>
              <a:gd name="connsiteX212" fmla="*/ 0 w 324091"/>
              <a:gd name="connsiteY212" fmla="*/ 709054 h 6853150"/>
              <a:gd name="connsiteX213" fmla="*/ 0 w 324091"/>
              <a:gd name="connsiteY213" fmla="*/ 509806 h 6853150"/>
              <a:gd name="connsiteX214" fmla="*/ 173216 w 324091"/>
              <a:gd name="connsiteY214" fmla="*/ 509806 h 6853150"/>
              <a:gd name="connsiteX215" fmla="*/ 196076 w 324091"/>
              <a:gd name="connsiteY215" fmla="*/ 532666 h 6853150"/>
              <a:gd name="connsiteX216" fmla="*/ 196075 w 324091"/>
              <a:gd name="connsiteY216" fmla="*/ 532666 h 6853150"/>
              <a:gd name="connsiteX217" fmla="*/ 173215 w 324091"/>
              <a:gd name="connsiteY217" fmla="*/ 555526 h 6853150"/>
              <a:gd name="connsiteX218" fmla="*/ 0 w 324091"/>
              <a:gd name="connsiteY218" fmla="*/ 555526 h 6853150"/>
              <a:gd name="connsiteX219" fmla="*/ 0 w 324091"/>
              <a:gd name="connsiteY219" fmla="*/ 356279 h 6853150"/>
              <a:gd name="connsiteX220" fmla="*/ 81776 w 324091"/>
              <a:gd name="connsiteY220" fmla="*/ 356279 h 6853150"/>
              <a:gd name="connsiteX221" fmla="*/ 104636 w 324091"/>
              <a:gd name="connsiteY221" fmla="*/ 379139 h 6853150"/>
              <a:gd name="connsiteX222" fmla="*/ 104635 w 324091"/>
              <a:gd name="connsiteY222" fmla="*/ 379139 h 6853150"/>
              <a:gd name="connsiteX223" fmla="*/ 81775 w 324091"/>
              <a:gd name="connsiteY223" fmla="*/ 401999 h 6853150"/>
              <a:gd name="connsiteX224" fmla="*/ 0 w 324091"/>
              <a:gd name="connsiteY224" fmla="*/ 401999 h 6853150"/>
              <a:gd name="connsiteX225" fmla="*/ 0 w 324091"/>
              <a:gd name="connsiteY225" fmla="*/ 158496 h 6853150"/>
              <a:gd name="connsiteX226" fmla="*/ 279104 w 324091"/>
              <a:gd name="connsiteY226" fmla="*/ 158496 h 6853150"/>
              <a:gd name="connsiteX227" fmla="*/ 324091 w 324091"/>
              <a:gd name="connsiteY227" fmla="*/ 203483 h 6853150"/>
              <a:gd name="connsiteX228" fmla="*/ 279104 w 324091"/>
              <a:gd name="connsiteY228" fmla="*/ 248470 h 6853150"/>
              <a:gd name="connsiteX229" fmla="*/ 0 w 324091"/>
              <a:gd name="connsiteY229" fmla="*/ 248470 h 6853150"/>
              <a:gd name="connsiteX230" fmla="*/ 0 w 324091"/>
              <a:gd name="connsiteY230" fmla="*/ 0 h 6853150"/>
              <a:gd name="connsiteX231" fmla="*/ 81776 w 324091"/>
              <a:gd name="connsiteY231" fmla="*/ 0 h 6853150"/>
              <a:gd name="connsiteX232" fmla="*/ 104636 w 324091"/>
              <a:gd name="connsiteY232" fmla="*/ 22860 h 6853150"/>
              <a:gd name="connsiteX233" fmla="*/ 104635 w 324091"/>
              <a:gd name="connsiteY233" fmla="*/ 22860 h 6853150"/>
              <a:gd name="connsiteX234" fmla="*/ 81775 w 324091"/>
              <a:gd name="connsiteY234" fmla="*/ 45720 h 6853150"/>
              <a:gd name="connsiteX235" fmla="*/ 0 w 324091"/>
              <a:gd name="connsiteY235" fmla="*/ 45720 h 6853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</a:cxnLst>
            <a:rect l="l" t="t" r="r" b="b"/>
            <a:pathLst>
              <a:path w="324091" h="6853150">
                <a:moveTo>
                  <a:pt x="0" y="6807430"/>
                </a:moveTo>
                <a:lnTo>
                  <a:pt x="81776" y="6807430"/>
                </a:lnTo>
                <a:cubicBezTo>
                  <a:pt x="94401" y="6807430"/>
                  <a:pt x="104636" y="6817665"/>
                  <a:pt x="104636" y="6830290"/>
                </a:cubicBezTo>
                <a:lnTo>
                  <a:pt x="104635" y="6830290"/>
                </a:lnTo>
                <a:cubicBezTo>
                  <a:pt x="104635" y="6842915"/>
                  <a:pt x="94400" y="6853150"/>
                  <a:pt x="81775" y="6853150"/>
                </a:cubicBezTo>
                <a:lnTo>
                  <a:pt x="0" y="6853150"/>
                </a:lnTo>
                <a:close/>
                <a:moveTo>
                  <a:pt x="0" y="6653902"/>
                </a:moveTo>
                <a:lnTo>
                  <a:pt x="173216" y="6653902"/>
                </a:lnTo>
                <a:cubicBezTo>
                  <a:pt x="185841" y="6653902"/>
                  <a:pt x="196076" y="6664137"/>
                  <a:pt x="196076" y="6676762"/>
                </a:cubicBezTo>
                <a:lnTo>
                  <a:pt x="196075" y="6676762"/>
                </a:lnTo>
                <a:cubicBezTo>
                  <a:pt x="196075" y="6689387"/>
                  <a:pt x="185840" y="6699622"/>
                  <a:pt x="173215" y="6699622"/>
                </a:cubicBezTo>
                <a:lnTo>
                  <a:pt x="0" y="6699622"/>
                </a:lnTo>
                <a:close/>
                <a:moveTo>
                  <a:pt x="0" y="6500374"/>
                </a:moveTo>
                <a:lnTo>
                  <a:pt x="81776" y="6500374"/>
                </a:lnTo>
                <a:cubicBezTo>
                  <a:pt x="94401" y="6500374"/>
                  <a:pt x="104636" y="6510609"/>
                  <a:pt x="104636" y="6523234"/>
                </a:cubicBezTo>
                <a:lnTo>
                  <a:pt x="104635" y="6523234"/>
                </a:lnTo>
                <a:cubicBezTo>
                  <a:pt x="104635" y="6535859"/>
                  <a:pt x="94400" y="6546094"/>
                  <a:pt x="81775" y="6546094"/>
                </a:cubicBezTo>
                <a:lnTo>
                  <a:pt x="0" y="6546094"/>
                </a:lnTo>
                <a:close/>
                <a:moveTo>
                  <a:pt x="0" y="6302591"/>
                </a:moveTo>
                <a:lnTo>
                  <a:pt x="279104" y="6302591"/>
                </a:lnTo>
                <a:cubicBezTo>
                  <a:pt x="303950" y="6302591"/>
                  <a:pt x="324091" y="6322732"/>
                  <a:pt x="324091" y="6347578"/>
                </a:cubicBezTo>
                <a:cubicBezTo>
                  <a:pt x="324091" y="6372424"/>
                  <a:pt x="303950" y="6392565"/>
                  <a:pt x="279104" y="6392565"/>
                </a:cubicBezTo>
                <a:lnTo>
                  <a:pt x="0" y="6392565"/>
                </a:lnTo>
                <a:close/>
                <a:moveTo>
                  <a:pt x="0" y="6124755"/>
                </a:moveTo>
                <a:lnTo>
                  <a:pt x="81776" y="6124755"/>
                </a:lnTo>
                <a:cubicBezTo>
                  <a:pt x="94401" y="6124755"/>
                  <a:pt x="104636" y="6134990"/>
                  <a:pt x="104636" y="6147615"/>
                </a:cubicBezTo>
                <a:lnTo>
                  <a:pt x="104635" y="6147615"/>
                </a:lnTo>
                <a:cubicBezTo>
                  <a:pt x="104635" y="6160240"/>
                  <a:pt x="94400" y="6170475"/>
                  <a:pt x="81775" y="6170475"/>
                </a:cubicBezTo>
                <a:lnTo>
                  <a:pt x="0" y="6170475"/>
                </a:lnTo>
                <a:close/>
                <a:moveTo>
                  <a:pt x="0" y="5971227"/>
                </a:moveTo>
                <a:lnTo>
                  <a:pt x="173216" y="5971227"/>
                </a:lnTo>
                <a:cubicBezTo>
                  <a:pt x="185841" y="5971227"/>
                  <a:pt x="196076" y="5981462"/>
                  <a:pt x="196076" y="5994087"/>
                </a:cubicBezTo>
                <a:lnTo>
                  <a:pt x="196075" y="5994087"/>
                </a:lnTo>
                <a:cubicBezTo>
                  <a:pt x="196075" y="6006712"/>
                  <a:pt x="185840" y="6016947"/>
                  <a:pt x="173215" y="6016947"/>
                </a:cubicBezTo>
                <a:lnTo>
                  <a:pt x="0" y="6016947"/>
                </a:lnTo>
                <a:close/>
                <a:moveTo>
                  <a:pt x="0" y="5817699"/>
                </a:moveTo>
                <a:lnTo>
                  <a:pt x="81776" y="5817699"/>
                </a:lnTo>
                <a:cubicBezTo>
                  <a:pt x="94401" y="5817699"/>
                  <a:pt x="104636" y="5827934"/>
                  <a:pt x="104636" y="5840559"/>
                </a:cubicBezTo>
                <a:lnTo>
                  <a:pt x="104635" y="5840559"/>
                </a:lnTo>
                <a:cubicBezTo>
                  <a:pt x="104635" y="5853184"/>
                  <a:pt x="94400" y="5863419"/>
                  <a:pt x="81775" y="5863419"/>
                </a:cubicBezTo>
                <a:lnTo>
                  <a:pt x="0" y="5863419"/>
                </a:lnTo>
                <a:close/>
                <a:moveTo>
                  <a:pt x="0" y="5619916"/>
                </a:moveTo>
                <a:lnTo>
                  <a:pt x="279104" y="5619916"/>
                </a:lnTo>
                <a:cubicBezTo>
                  <a:pt x="303950" y="5619916"/>
                  <a:pt x="324091" y="5640057"/>
                  <a:pt x="324091" y="5664903"/>
                </a:cubicBezTo>
                <a:cubicBezTo>
                  <a:pt x="324091" y="5689749"/>
                  <a:pt x="303950" y="5709890"/>
                  <a:pt x="279104" y="5709890"/>
                </a:cubicBezTo>
                <a:lnTo>
                  <a:pt x="0" y="5709890"/>
                </a:lnTo>
                <a:close/>
                <a:moveTo>
                  <a:pt x="0" y="5442077"/>
                </a:moveTo>
                <a:lnTo>
                  <a:pt x="81776" y="5442077"/>
                </a:lnTo>
                <a:cubicBezTo>
                  <a:pt x="94401" y="5442077"/>
                  <a:pt x="104636" y="5452312"/>
                  <a:pt x="104636" y="5464937"/>
                </a:cubicBezTo>
                <a:lnTo>
                  <a:pt x="104635" y="5464937"/>
                </a:lnTo>
                <a:cubicBezTo>
                  <a:pt x="104635" y="5477562"/>
                  <a:pt x="94400" y="5487797"/>
                  <a:pt x="81775" y="5487797"/>
                </a:cubicBezTo>
                <a:lnTo>
                  <a:pt x="0" y="5487797"/>
                </a:lnTo>
                <a:close/>
                <a:moveTo>
                  <a:pt x="0" y="5288549"/>
                </a:moveTo>
                <a:lnTo>
                  <a:pt x="173216" y="5288549"/>
                </a:lnTo>
                <a:cubicBezTo>
                  <a:pt x="185841" y="5288549"/>
                  <a:pt x="196076" y="5298784"/>
                  <a:pt x="196076" y="5311409"/>
                </a:cubicBezTo>
                <a:lnTo>
                  <a:pt x="196075" y="5311409"/>
                </a:lnTo>
                <a:cubicBezTo>
                  <a:pt x="196075" y="5324034"/>
                  <a:pt x="185840" y="5334269"/>
                  <a:pt x="173215" y="5334269"/>
                </a:cubicBezTo>
                <a:lnTo>
                  <a:pt x="0" y="5334269"/>
                </a:lnTo>
                <a:close/>
                <a:moveTo>
                  <a:pt x="0" y="5135021"/>
                </a:moveTo>
                <a:lnTo>
                  <a:pt x="81776" y="5135021"/>
                </a:lnTo>
                <a:cubicBezTo>
                  <a:pt x="94401" y="5135021"/>
                  <a:pt x="104636" y="5145256"/>
                  <a:pt x="104636" y="5157881"/>
                </a:cubicBezTo>
                <a:lnTo>
                  <a:pt x="104635" y="5157881"/>
                </a:lnTo>
                <a:cubicBezTo>
                  <a:pt x="104635" y="5170506"/>
                  <a:pt x="94400" y="5180741"/>
                  <a:pt x="81775" y="5180741"/>
                </a:cubicBezTo>
                <a:lnTo>
                  <a:pt x="0" y="5180741"/>
                </a:lnTo>
                <a:close/>
                <a:moveTo>
                  <a:pt x="0" y="4937238"/>
                </a:moveTo>
                <a:lnTo>
                  <a:pt x="279104" y="4937238"/>
                </a:lnTo>
                <a:cubicBezTo>
                  <a:pt x="303950" y="4937238"/>
                  <a:pt x="324091" y="4957379"/>
                  <a:pt x="324091" y="4982225"/>
                </a:cubicBezTo>
                <a:cubicBezTo>
                  <a:pt x="324091" y="5007071"/>
                  <a:pt x="303950" y="5027212"/>
                  <a:pt x="279104" y="5027212"/>
                </a:cubicBezTo>
                <a:lnTo>
                  <a:pt x="0" y="5027212"/>
                </a:lnTo>
                <a:close/>
                <a:moveTo>
                  <a:pt x="0" y="4759399"/>
                </a:moveTo>
                <a:lnTo>
                  <a:pt x="81776" y="4759399"/>
                </a:lnTo>
                <a:cubicBezTo>
                  <a:pt x="94401" y="4759399"/>
                  <a:pt x="104636" y="4769634"/>
                  <a:pt x="104636" y="4782259"/>
                </a:cubicBezTo>
                <a:lnTo>
                  <a:pt x="104635" y="4782259"/>
                </a:lnTo>
                <a:cubicBezTo>
                  <a:pt x="104635" y="4794884"/>
                  <a:pt x="94400" y="4805119"/>
                  <a:pt x="81775" y="4805119"/>
                </a:cubicBezTo>
                <a:lnTo>
                  <a:pt x="0" y="4805119"/>
                </a:lnTo>
                <a:close/>
                <a:moveTo>
                  <a:pt x="0" y="4605871"/>
                </a:moveTo>
                <a:lnTo>
                  <a:pt x="173216" y="4605871"/>
                </a:lnTo>
                <a:cubicBezTo>
                  <a:pt x="185841" y="4605871"/>
                  <a:pt x="196076" y="4616106"/>
                  <a:pt x="196076" y="4628731"/>
                </a:cubicBezTo>
                <a:lnTo>
                  <a:pt x="196075" y="4628731"/>
                </a:lnTo>
                <a:cubicBezTo>
                  <a:pt x="196075" y="4641356"/>
                  <a:pt x="185840" y="4651591"/>
                  <a:pt x="173215" y="4651591"/>
                </a:cubicBezTo>
                <a:lnTo>
                  <a:pt x="0" y="4651591"/>
                </a:lnTo>
                <a:close/>
                <a:moveTo>
                  <a:pt x="0" y="4452343"/>
                </a:moveTo>
                <a:lnTo>
                  <a:pt x="81776" y="4452343"/>
                </a:lnTo>
                <a:cubicBezTo>
                  <a:pt x="94401" y="4452343"/>
                  <a:pt x="104636" y="4462578"/>
                  <a:pt x="104636" y="4475203"/>
                </a:cubicBezTo>
                <a:lnTo>
                  <a:pt x="104635" y="4475203"/>
                </a:lnTo>
                <a:cubicBezTo>
                  <a:pt x="104635" y="4487828"/>
                  <a:pt x="94400" y="4498063"/>
                  <a:pt x="81775" y="4498063"/>
                </a:cubicBezTo>
                <a:lnTo>
                  <a:pt x="0" y="4498063"/>
                </a:lnTo>
                <a:close/>
                <a:moveTo>
                  <a:pt x="0" y="4254560"/>
                </a:moveTo>
                <a:lnTo>
                  <a:pt x="279104" y="4254560"/>
                </a:lnTo>
                <a:cubicBezTo>
                  <a:pt x="303950" y="4254560"/>
                  <a:pt x="324091" y="4274701"/>
                  <a:pt x="324091" y="4299547"/>
                </a:cubicBezTo>
                <a:cubicBezTo>
                  <a:pt x="324091" y="4324393"/>
                  <a:pt x="303950" y="4344534"/>
                  <a:pt x="279104" y="4344534"/>
                </a:cubicBezTo>
                <a:lnTo>
                  <a:pt x="0" y="4344534"/>
                </a:lnTo>
                <a:close/>
                <a:moveTo>
                  <a:pt x="0" y="4076721"/>
                </a:moveTo>
                <a:lnTo>
                  <a:pt x="81776" y="4076721"/>
                </a:lnTo>
                <a:cubicBezTo>
                  <a:pt x="94401" y="4076721"/>
                  <a:pt x="104636" y="4086956"/>
                  <a:pt x="104636" y="4099581"/>
                </a:cubicBezTo>
                <a:lnTo>
                  <a:pt x="104635" y="4099581"/>
                </a:lnTo>
                <a:cubicBezTo>
                  <a:pt x="104635" y="4112206"/>
                  <a:pt x="94400" y="4122441"/>
                  <a:pt x="81775" y="4122441"/>
                </a:cubicBezTo>
                <a:lnTo>
                  <a:pt x="0" y="4122441"/>
                </a:lnTo>
                <a:close/>
                <a:moveTo>
                  <a:pt x="0" y="3923193"/>
                </a:moveTo>
                <a:lnTo>
                  <a:pt x="173216" y="3923193"/>
                </a:lnTo>
                <a:cubicBezTo>
                  <a:pt x="185841" y="3923193"/>
                  <a:pt x="196076" y="3933428"/>
                  <a:pt x="196076" y="3946053"/>
                </a:cubicBezTo>
                <a:lnTo>
                  <a:pt x="196075" y="3946053"/>
                </a:lnTo>
                <a:cubicBezTo>
                  <a:pt x="196075" y="3958678"/>
                  <a:pt x="185840" y="3968913"/>
                  <a:pt x="173215" y="3968913"/>
                </a:cubicBezTo>
                <a:lnTo>
                  <a:pt x="0" y="3968913"/>
                </a:lnTo>
                <a:close/>
                <a:moveTo>
                  <a:pt x="0" y="3769665"/>
                </a:moveTo>
                <a:lnTo>
                  <a:pt x="81776" y="3769665"/>
                </a:lnTo>
                <a:cubicBezTo>
                  <a:pt x="94401" y="3769665"/>
                  <a:pt x="104636" y="3779900"/>
                  <a:pt x="104636" y="3792525"/>
                </a:cubicBezTo>
                <a:lnTo>
                  <a:pt x="104635" y="3792525"/>
                </a:lnTo>
                <a:cubicBezTo>
                  <a:pt x="104635" y="3805150"/>
                  <a:pt x="94400" y="3815385"/>
                  <a:pt x="81775" y="3815385"/>
                </a:cubicBezTo>
                <a:lnTo>
                  <a:pt x="0" y="3815385"/>
                </a:lnTo>
                <a:close/>
                <a:moveTo>
                  <a:pt x="0" y="3571882"/>
                </a:moveTo>
                <a:lnTo>
                  <a:pt x="279104" y="3571882"/>
                </a:lnTo>
                <a:cubicBezTo>
                  <a:pt x="303950" y="3571882"/>
                  <a:pt x="324091" y="3592023"/>
                  <a:pt x="324091" y="3616869"/>
                </a:cubicBezTo>
                <a:cubicBezTo>
                  <a:pt x="324091" y="3641715"/>
                  <a:pt x="303950" y="3661856"/>
                  <a:pt x="279104" y="3661856"/>
                </a:cubicBezTo>
                <a:lnTo>
                  <a:pt x="0" y="3661856"/>
                </a:lnTo>
                <a:close/>
                <a:moveTo>
                  <a:pt x="0" y="3394043"/>
                </a:moveTo>
                <a:lnTo>
                  <a:pt x="81776" y="3394043"/>
                </a:lnTo>
                <a:cubicBezTo>
                  <a:pt x="94401" y="3394043"/>
                  <a:pt x="104636" y="3404279"/>
                  <a:pt x="104636" y="3416905"/>
                </a:cubicBezTo>
                <a:lnTo>
                  <a:pt x="104635" y="3416905"/>
                </a:lnTo>
                <a:cubicBezTo>
                  <a:pt x="104635" y="3429528"/>
                  <a:pt x="94400" y="3439763"/>
                  <a:pt x="81775" y="3439763"/>
                </a:cubicBezTo>
                <a:lnTo>
                  <a:pt x="0" y="3439763"/>
                </a:lnTo>
                <a:close/>
                <a:moveTo>
                  <a:pt x="0" y="3240516"/>
                </a:moveTo>
                <a:lnTo>
                  <a:pt x="173216" y="3240516"/>
                </a:lnTo>
                <a:cubicBezTo>
                  <a:pt x="185841" y="3240516"/>
                  <a:pt x="196076" y="3250752"/>
                  <a:pt x="196076" y="3263376"/>
                </a:cubicBezTo>
                <a:lnTo>
                  <a:pt x="196075" y="3263376"/>
                </a:lnTo>
                <a:cubicBezTo>
                  <a:pt x="196075" y="3276001"/>
                  <a:pt x="185840" y="3286236"/>
                  <a:pt x="173215" y="3286236"/>
                </a:cubicBezTo>
                <a:lnTo>
                  <a:pt x="0" y="3286236"/>
                </a:lnTo>
                <a:close/>
                <a:moveTo>
                  <a:pt x="0" y="3086989"/>
                </a:moveTo>
                <a:lnTo>
                  <a:pt x="81776" y="3086989"/>
                </a:lnTo>
                <a:cubicBezTo>
                  <a:pt x="94401" y="3086989"/>
                  <a:pt x="104636" y="3097224"/>
                  <a:pt x="104636" y="3109849"/>
                </a:cubicBezTo>
                <a:lnTo>
                  <a:pt x="104635" y="3109849"/>
                </a:lnTo>
                <a:cubicBezTo>
                  <a:pt x="104635" y="3122474"/>
                  <a:pt x="94400" y="3132709"/>
                  <a:pt x="81775" y="3132709"/>
                </a:cubicBezTo>
                <a:lnTo>
                  <a:pt x="0" y="3132709"/>
                </a:lnTo>
                <a:close/>
                <a:moveTo>
                  <a:pt x="0" y="2889206"/>
                </a:moveTo>
                <a:lnTo>
                  <a:pt x="279104" y="2889206"/>
                </a:lnTo>
                <a:cubicBezTo>
                  <a:pt x="303950" y="2889206"/>
                  <a:pt x="324091" y="2909347"/>
                  <a:pt x="324091" y="2934194"/>
                </a:cubicBezTo>
                <a:cubicBezTo>
                  <a:pt x="324091" y="2959039"/>
                  <a:pt x="303950" y="2979180"/>
                  <a:pt x="279104" y="2979180"/>
                </a:cubicBezTo>
                <a:lnTo>
                  <a:pt x="0" y="2979180"/>
                </a:lnTo>
                <a:close/>
                <a:moveTo>
                  <a:pt x="0" y="2711367"/>
                </a:moveTo>
                <a:lnTo>
                  <a:pt x="81776" y="2711367"/>
                </a:lnTo>
                <a:cubicBezTo>
                  <a:pt x="94401" y="2711367"/>
                  <a:pt x="104636" y="2721602"/>
                  <a:pt x="104636" y="2734227"/>
                </a:cubicBezTo>
                <a:lnTo>
                  <a:pt x="104635" y="2734227"/>
                </a:lnTo>
                <a:cubicBezTo>
                  <a:pt x="104635" y="2746852"/>
                  <a:pt x="94400" y="2757087"/>
                  <a:pt x="81775" y="2757087"/>
                </a:cubicBezTo>
                <a:lnTo>
                  <a:pt x="0" y="2757087"/>
                </a:lnTo>
                <a:close/>
                <a:moveTo>
                  <a:pt x="0" y="2557839"/>
                </a:moveTo>
                <a:lnTo>
                  <a:pt x="173216" y="2557839"/>
                </a:lnTo>
                <a:cubicBezTo>
                  <a:pt x="185841" y="2557839"/>
                  <a:pt x="196076" y="2568074"/>
                  <a:pt x="196076" y="2580699"/>
                </a:cubicBezTo>
                <a:lnTo>
                  <a:pt x="196075" y="2580699"/>
                </a:lnTo>
                <a:cubicBezTo>
                  <a:pt x="196075" y="2593324"/>
                  <a:pt x="185840" y="2603559"/>
                  <a:pt x="173215" y="2603559"/>
                </a:cubicBezTo>
                <a:lnTo>
                  <a:pt x="0" y="2603559"/>
                </a:lnTo>
                <a:close/>
                <a:moveTo>
                  <a:pt x="0" y="2404312"/>
                </a:moveTo>
                <a:lnTo>
                  <a:pt x="81776" y="2404312"/>
                </a:lnTo>
                <a:cubicBezTo>
                  <a:pt x="94401" y="2404312"/>
                  <a:pt x="104636" y="2414546"/>
                  <a:pt x="104636" y="2427171"/>
                </a:cubicBezTo>
                <a:lnTo>
                  <a:pt x="104635" y="2427171"/>
                </a:lnTo>
                <a:cubicBezTo>
                  <a:pt x="104635" y="2439796"/>
                  <a:pt x="94400" y="2450032"/>
                  <a:pt x="81775" y="2450032"/>
                </a:cubicBezTo>
                <a:lnTo>
                  <a:pt x="0" y="2450032"/>
                </a:lnTo>
                <a:close/>
                <a:moveTo>
                  <a:pt x="0" y="2206528"/>
                </a:moveTo>
                <a:lnTo>
                  <a:pt x="279104" y="2206528"/>
                </a:lnTo>
                <a:cubicBezTo>
                  <a:pt x="303950" y="2206528"/>
                  <a:pt x="324091" y="2226669"/>
                  <a:pt x="324091" y="2251515"/>
                </a:cubicBezTo>
                <a:cubicBezTo>
                  <a:pt x="324091" y="2276362"/>
                  <a:pt x="303950" y="2296503"/>
                  <a:pt x="279104" y="2296503"/>
                </a:cubicBezTo>
                <a:lnTo>
                  <a:pt x="0" y="2296503"/>
                </a:lnTo>
                <a:close/>
                <a:moveTo>
                  <a:pt x="0" y="2028689"/>
                </a:moveTo>
                <a:lnTo>
                  <a:pt x="81776" y="2028689"/>
                </a:lnTo>
                <a:cubicBezTo>
                  <a:pt x="94401" y="2028689"/>
                  <a:pt x="104636" y="2038925"/>
                  <a:pt x="104636" y="2051550"/>
                </a:cubicBezTo>
                <a:lnTo>
                  <a:pt x="104635" y="2051550"/>
                </a:lnTo>
                <a:cubicBezTo>
                  <a:pt x="104635" y="2064175"/>
                  <a:pt x="94400" y="2074409"/>
                  <a:pt x="81775" y="2074409"/>
                </a:cubicBezTo>
                <a:lnTo>
                  <a:pt x="0" y="2074409"/>
                </a:lnTo>
                <a:close/>
                <a:moveTo>
                  <a:pt x="0" y="1875162"/>
                </a:moveTo>
                <a:lnTo>
                  <a:pt x="173216" y="1875162"/>
                </a:lnTo>
                <a:cubicBezTo>
                  <a:pt x="185841" y="1875162"/>
                  <a:pt x="196076" y="1885397"/>
                  <a:pt x="196076" y="1898022"/>
                </a:cubicBezTo>
                <a:lnTo>
                  <a:pt x="196075" y="1898022"/>
                </a:lnTo>
                <a:cubicBezTo>
                  <a:pt x="196075" y="1910647"/>
                  <a:pt x="185840" y="1920882"/>
                  <a:pt x="173215" y="1920882"/>
                </a:cubicBezTo>
                <a:lnTo>
                  <a:pt x="0" y="1920882"/>
                </a:lnTo>
                <a:close/>
                <a:moveTo>
                  <a:pt x="0" y="1721635"/>
                </a:moveTo>
                <a:lnTo>
                  <a:pt x="81776" y="1721635"/>
                </a:lnTo>
                <a:cubicBezTo>
                  <a:pt x="94401" y="1721635"/>
                  <a:pt x="104636" y="1731870"/>
                  <a:pt x="104636" y="1744495"/>
                </a:cubicBezTo>
                <a:lnTo>
                  <a:pt x="104635" y="1744495"/>
                </a:lnTo>
                <a:cubicBezTo>
                  <a:pt x="104635" y="1757120"/>
                  <a:pt x="94400" y="1767355"/>
                  <a:pt x="81775" y="1767355"/>
                </a:cubicBezTo>
                <a:lnTo>
                  <a:pt x="0" y="1767355"/>
                </a:lnTo>
                <a:close/>
                <a:moveTo>
                  <a:pt x="0" y="1523851"/>
                </a:moveTo>
                <a:lnTo>
                  <a:pt x="279104" y="1523851"/>
                </a:lnTo>
                <a:cubicBezTo>
                  <a:pt x="303950" y="1523851"/>
                  <a:pt x="324091" y="1543992"/>
                  <a:pt x="324091" y="1568838"/>
                </a:cubicBezTo>
                <a:cubicBezTo>
                  <a:pt x="324091" y="1593684"/>
                  <a:pt x="303950" y="1613826"/>
                  <a:pt x="279104" y="1613826"/>
                </a:cubicBezTo>
                <a:lnTo>
                  <a:pt x="0" y="1613826"/>
                </a:lnTo>
                <a:close/>
                <a:moveTo>
                  <a:pt x="0" y="1346012"/>
                </a:moveTo>
                <a:lnTo>
                  <a:pt x="81776" y="1346012"/>
                </a:lnTo>
                <a:cubicBezTo>
                  <a:pt x="94401" y="1346012"/>
                  <a:pt x="104636" y="1356247"/>
                  <a:pt x="104636" y="1368872"/>
                </a:cubicBezTo>
                <a:lnTo>
                  <a:pt x="104635" y="1368872"/>
                </a:lnTo>
                <a:cubicBezTo>
                  <a:pt x="104635" y="1381497"/>
                  <a:pt x="94400" y="1391732"/>
                  <a:pt x="81775" y="1391732"/>
                </a:cubicBezTo>
                <a:lnTo>
                  <a:pt x="0" y="1391732"/>
                </a:lnTo>
                <a:close/>
                <a:moveTo>
                  <a:pt x="0" y="1192484"/>
                </a:moveTo>
                <a:lnTo>
                  <a:pt x="173216" y="1192484"/>
                </a:lnTo>
                <a:cubicBezTo>
                  <a:pt x="185841" y="1192484"/>
                  <a:pt x="196076" y="1202719"/>
                  <a:pt x="196076" y="1215344"/>
                </a:cubicBezTo>
                <a:lnTo>
                  <a:pt x="196075" y="1215344"/>
                </a:lnTo>
                <a:cubicBezTo>
                  <a:pt x="196075" y="1227969"/>
                  <a:pt x="185840" y="1238205"/>
                  <a:pt x="173215" y="1238205"/>
                </a:cubicBezTo>
                <a:lnTo>
                  <a:pt x="0" y="1238205"/>
                </a:lnTo>
                <a:close/>
                <a:moveTo>
                  <a:pt x="0" y="1038956"/>
                </a:moveTo>
                <a:lnTo>
                  <a:pt x="81776" y="1038956"/>
                </a:lnTo>
                <a:cubicBezTo>
                  <a:pt x="94401" y="1038956"/>
                  <a:pt x="104636" y="1049192"/>
                  <a:pt x="104636" y="1061817"/>
                </a:cubicBezTo>
                <a:lnTo>
                  <a:pt x="104635" y="1061817"/>
                </a:lnTo>
                <a:cubicBezTo>
                  <a:pt x="104635" y="1074442"/>
                  <a:pt x="94400" y="1084677"/>
                  <a:pt x="81775" y="1084677"/>
                </a:cubicBezTo>
                <a:lnTo>
                  <a:pt x="0" y="1084677"/>
                </a:lnTo>
                <a:close/>
                <a:moveTo>
                  <a:pt x="0" y="841173"/>
                </a:moveTo>
                <a:lnTo>
                  <a:pt x="279104" y="841173"/>
                </a:lnTo>
                <a:cubicBezTo>
                  <a:pt x="303950" y="841173"/>
                  <a:pt x="324091" y="861314"/>
                  <a:pt x="324091" y="886160"/>
                </a:cubicBezTo>
                <a:cubicBezTo>
                  <a:pt x="324091" y="911007"/>
                  <a:pt x="303950" y="931147"/>
                  <a:pt x="279104" y="931147"/>
                </a:cubicBezTo>
                <a:lnTo>
                  <a:pt x="0" y="931147"/>
                </a:lnTo>
                <a:close/>
                <a:moveTo>
                  <a:pt x="0" y="663334"/>
                </a:moveTo>
                <a:lnTo>
                  <a:pt x="81776" y="663334"/>
                </a:lnTo>
                <a:cubicBezTo>
                  <a:pt x="94401" y="663334"/>
                  <a:pt x="104636" y="673569"/>
                  <a:pt x="104636" y="686194"/>
                </a:cubicBezTo>
                <a:lnTo>
                  <a:pt x="104635" y="686194"/>
                </a:lnTo>
                <a:cubicBezTo>
                  <a:pt x="104635" y="698819"/>
                  <a:pt x="94400" y="709054"/>
                  <a:pt x="81775" y="709054"/>
                </a:cubicBezTo>
                <a:lnTo>
                  <a:pt x="0" y="709054"/>
                </a:lnTo>
                <a:close/>
                <a:moveTo>
                  <a:pt x="0" y="509806"/>
                </a:moveTo>
                <a:lnTo>
                  <a:pt x="173216" y="509806"/>
                </a:lnTo>
                <a:cubicBezTo>
                  <a:pt x="185841" y="509806"/>
                  <a:pt x="196076" y="520041"/>
                  <a:pt x="196076" y="532666"/>
                </a:cubicBezTo>
                <a:lnTo>
                  <a:pt x="196075" y="532666"/>
                </a:lnTo>
                <a:cubicBezTo>
                  <a:pt x="196075" y="545291"/>
                  <a:pt x="185840" y="555526"/>
                  <a:pt x="173215" y="555526"/>
                </a:cubicBezTo>
                <a:lnTo>
                  <a:pt x="0" y="555526"/>
                </a:lnTo>
                <a:close/>
                <a:moveTo>
                  <a:pt x="0" y="356279"/>
                </a:moveTo>
                <a:lnTo>
                  <a:pt x="81776" y="356279"/>
                </a:lnTo>
                <a:cubicBezTo>
                  <a:pt x="94401" y="356279"/>
                  <a:pt x="104636" y="366514"/>
                  <a:pt x="104636" y="379139"/>
                </a:cubicBezTo>
                <a:lnTo>
                  <a:pt x="104635" y="379139"/>
                </a:lnTo>
                <a:cubicBezTo>
                  <a:pt x="104635" y="391764"/>
                  <a:pt x="94400" y="401999"/>
                  <a:pt x="81775" y="401999"/>
                </a:cubicBezTo>
                <a:lnTo>
                  <a:pt x="0" y="401999"/>
                </a:lnTo>
                <a:close/>
                <a:moveTo>
                  <a:pt x="0" y="158496"/>
                </a:moveTo>
                <a:lnTo>
                  <a:pt x="279104" y="158496"/>
                </a:lnTo>
                <a:cubicBezTo>
                  <a:pt x="303950" y="158496"/>
                  <a:pt x="324091" y="178637"/>
                  <a:pt x="324091" y="203483"/>
                </a:cubicBezTo>
                <a:cubicBezTo>
                  <a:pt x="324091" y="228329"/>
                  <a:pt x="303950" y="248470"/>
                  <a:pt x="279104" y="248470"/>
                </a:cubicBezTo>
                <a:lnTo>
                  <a:pt x="0" y="248470"/>
                </a:lnTo>
                <a:close/>
                <a:moveTo>
                  <a:pt x="0" y="0"/>
                </a:moveTo>
                <a:lnTo>
                  <a:pt x="81776" y="0"/>
                </a:lnTo>
                <a:cubicBezTo>
                  <a:pt x="94401" y="0"/>
                  <a:pt x="104636" y="10235"/>
                  <a:pt x="104636" y="22860"/>
                </a:cubicBezTo>
                <a:lnTo>
                  <a:pt x="104635" y="22860"/>
                </a:lnTo>
                <a:cubicBezTo>
                  <a:pt x="104635" y="35485"/>
                  <a:pt x="94400" y="45720"/>
                  <a:pt x="81775" y="45720"/>
                </a:cubicBezTo>
                <a:lnTo>
                  <a:pt x="0" y="45720"/>
                </a:lnTo>
                <a:close/>
              </a:path>
            </a:pathLst>
          </a:custGeom>
          <a:solidFill>
            <a:schemeClr val="bg1">
              <a:alpha val="3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293027" y="552617"/>
            <a:ext cx="9385073" cy="1304513"/>
          </a:xfrm>
        </p:spPr>
        <p:txBody>
          <a:bodyPr anchor="ctr">
            <a:noAutofit/>
          </a:bodyPr>
          <a:lstStyle>
            <a:lvl1pPr algn="l">
              <a:defRPr sz="3999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331113" y="2211598"/>
            <a:ext cx="9108607" cy="165576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3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7" name="Freeform 5">
            <a:extLst>
              <a:ext uri="{FF2B5EF4-FFF2-40B4-BE49-F238E27FC236}">
                <a16:creationId xmlns:a16="http://schemas.microsoft.com/office/drawing/2014/main" id="{CE158412-5867-4F5E-B242-6EAEC179D18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89514" y="772481"/>
            <a:ext cx="899895" cy="88088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18" name="Picture 17" descr="Logo&#10;&#10;Description automatically generated">
            <a:extLst>
              <a:ext uri="{FF2B5EF4-FFF2-40B4-BE49-F238E27FC236}">
                <a16:creationId xmlns:a16="http://schemas.microsoft.com/office/drawing/2014/main" id="{5C1FB8C5-A834-48AC-9BF0-5A968B1631A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32883" y="6120714"/>
            <a:ext cx="1017656" cy="420241"/>
          </a:xfrm>
          <a:prstGeom prst="rect">
            <a:avLst/>
          </a:prstGeom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B364B7E4-49EA-413B-B078-9DFD3CD8EC2D}"/>
              </a:ext>
            </a:extLst>
          </p:cNvPr>
          <p:cNvGrpSpPr/>
          <p:nvPr userDrawn="1"/>
        </p:nvGrpSpPr>
        <p:grpSpPr>
          <a:xfrm>
            <a:off x="11803080" y="979776"/>
            <a:ext cx="221196" cy="228600"/>
            <a:chOff x="11806154" y="979776"/>
            <a:chExt cx="221254" cy="228600"/>
          </a:xfrm>
        </p:grpSpPr>
        <p:sp>
          <p:nvSpPr>
            <p:cNvPr id="20" name="Round Same-side Corner of Rectangle 79">
              <a:extLst>
                <a:ext uri="{FF2B5EF4-FFF2-40B4-BE49-F238E27FC236}">
                  <a16:creationId xmlns:a16="http://schemas.microsoft.com/office/drawing/2014/main" id="{1DFAF9E8-E8F7-43BD-AACB-F9CDF853D4DB}"/>
                </a:ext>
              </a:extLst>
            </p:cNvPr>
            <p:cNvSpPr/>
            <p:nvPr/>
          </p:nvSpPr>
          <p:spPr>
            <a:xfrm rot="5400000">
              <a:off x="11802481" y="983449"/>
              <a:ext cx="228600" cy="221254"/>
            </a:xfrm>
            <a:prstGeom prst="round2SameRect">
              <a:avLst>
                <a:gd name="adj1" fmla="val 0"/>
                <a:gd name="adj2" fmla="val 50000"/>
              </a:avLst>
            </a:prstGeom>
            <a:solidFill>
              <a:schemeClr val="tx2"/>
            </a:solidFill>
            <a:ln w="9525">
              <a:noFill/>
            </a:ln>
            <a:effectLst>
              <a:innerShdw blurRad="63500" dist="25400" dir="5400000">
                <a:prstClr val="black">
                  <a:alpha val="32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2D7B9970-49C7-4AF2-AB68-7D49F3CDEBD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1843840" y="1010005"/>
              <a:ext cx="155448" cy="155448"/>
            </a:xfrm>
            <a:prstGeom prst="rect">
              <a:avLst/>
            </a:prstGeom>
          </p:spPr>
        </p:pic>
      </p:grpSp>
      <p:sp>
        <p:nvSpPr>
          <p:cNvPr id="22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E2E71B5F-E824-4D38-9974-F87934626EBF}"/>
              </a:ext>
            </a:extLst>
          </p:cNvPr>
          <p:cNvSpPr/>
          <p:nvPr userDrawn="1"/>
        </p:nvSpPr>
        <p:spPr>
          <a:xfrm rot="5400000">
            <a:off x="11809682" y="871594"/>
            <a:ext cx="320468" cy="437817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673308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FE66A838-00C6-42AB-A5B7-48ED587794E3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3D70FA7-E522-416F-9C5A-9D73E495A5C1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7" name="TextBox 96">
            <a:hlinkClick r:id="" action="ppaction://noaction"/>
            <a:extLst>
              <a:ext uri="{FF2B5EF4-FFF2-40B4-BE49-F238E27FC236}">
                <a16:creationId xmlns:a16="http://schemas.microsoft.com/office/drawing/2014/main" id="{593FC829-6CCC-4D30-8468-B9BF4CB51EC7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98" name="Round Same-side Corner of Rectangle 79">
            <a:extLst>
              <a:ext uri="{FF2B5EF4-FFF2-40B4-BE49-F238E27FC236}">
                <a16:creationId xmlns:a16="http://schemas.microsoft.com/office/drawing/2014/main" id="{B358AAFE-318C-4629-9F49-D9DBA46F85EC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3" name="Round Same-side Corner of Rectangle 79">
            <a:extLst>
              <a:ext uri="{FF2B5EF4-FFF2-40B4-BE49-F238E27FC236}">
                <a16:creationId xmlns:a16="http://schemas.microsoft.com/office/drawing/2014/main" id="{2ECBAE96-C7A6-4C08-A0C9-6BAA9D0415FF}"/>
              </a:ext>
            </a:extLst>
          </p:cNvPr>
          <p:cNvSpPr/>
          <p:nvPr userDrawn="1"/>
        </p:nvSpPr>
        <p:spPr>
          <a:xfrm rot="5400000">
            <a:off x="11223834" y="426031"/>
            <a:ext cx="357978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tx2">
              <a:alpha val="2100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0" name="TextBox 59">
            <a:hlinkClick r:id="" action="ppaction://noaction"/>
            <a:extLst>
              <a:ext uri="{FF2B5EF4-FFF2-40B4-BE49-F238E27FC236}">
                <a16:creationId xmlns:a16="http://schemas.microsoft.com/office/drawing/2014/main" id="{12DD9183-2641-E643-9759-BBCC8D3C1E83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96" name="Round Same-side Corner of Rectangle 79">
            <a:extLst>
              <a:ext uri="{FF2B5EF4-FFF2-40B4-BE49-F238E27FC236}">
                <a16:creationId xmlns:a16="http://schemas.microsoft.com/office/drawing/2014/main" id="{75C801CE-9FCA-486D-96A7-6973FA449CCA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2" name="Round Same-side Corner of Rectangle 79">
            <a:extLst>
              <a:ext uri="{FF2B5EF4-FFF2-40B4-BE49-F238E27FC236}">
                <a16:creationId xmlns:a16="http://schemas.microsoft.com/office/drawing/2014/main" id="{7517B9FE-5E74-4EFC-9133-33671B7A62B7}"/>
              </a:ext>
            </a:extLst>
          </p:cNvPr>
          <p:cNvSpPr/>
          <p:nvPr userDrawn="1"/>
        </p:nvSpPr>
        <p:spPr>
          <a:xfrm rot="5400000">
            <a:off x="10613117" y="1819454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3" name="TextBox 12">
            <a:hlinkClick r:id="" action="ppaction://noaction"/>
            <a:extLst>
              <a:ext uri="{FF2B5EF4-FFF2-40B4-BE49-F238E27FC236}">
                <a16:creationId xmlns:a16="http://schemas.microsoft.com/office/drawing/2014/main" id="{C0837466-B889-4D1B-B10B-DB65993BEF0A}"/>
              </a:ext>
            </a:extLst>
          </p:cNvPr>
          <p:cNvSpPr txBox="1"/>
          <p:nvPr userDrawn="1"/>
        </p:nvSpPr>
        <p:spPr>
          <a:xfrm>
            <a:off x="10870644" y="1860803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14" name="Round Same-side Corner of Rectangle 79">
            <a:extLst>
              <a:ext uri="{FF2B5EF4-FFF2-40B4-BE49-F238E27FC236}">
                <a16:creationId xmlns:a16="http://schemas.microsoft.com/office/drawing/2014/main" id="{9C196DAC-1FA0-4E5D-90FE-B6694C979DDA}"/>
              </a:ext>
            </a:extLst>
          </p:cNvPr>
          <p:cNvSpPr/>
          <p:nvPr userDrawn="1"/>
        </p:nvSpPr>
        <p:spPr>
          <a:xfrm rot="5400000">
            <a:off x="10613117" y="2180288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5" name="TextBox 14">
            <a:hlinkClick r:id="" action="ppaction://noaction"/>
            <a:extLst>
              <a:ext uri="{FF2B5EF4-FFF2-40B4-BE49-F238E27FC236}">
                <a16:creationId xmlns:a16="http://schemas.microsoft.com/office/drawing/2014/main" id="{6FE0EA3D-0963-416B-96C2-CBF020465E8E}"/>
              </a:ext>
            </a:extLst>
          </p:cNvPr>
          <p:cNvSpPr txBox="1"/>
          <p:nvPr userDrawn="1"/>
        </p:nvSpPr>
        <p:spPr>
          <a:xfrm>
            <a:off x="10870644" y="2221637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EAF5107B-0DF8-4F35-8DDF-557CD75C0F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A6683A0D-E98C-440D-8C7A-DDADFEBEFA1B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69B97565-766C-4682-AA18-5BB88BDF2C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10" name="Freeform 25">
            <a:extLst>
              <a:ext uri="{FF2B5EF4-FFF2-40B4-BE49-F238E27FC236}">
                <a16:creationId xmlns:a16="http://schemas.microsoft.com/office/drawing/2014/main" id="{68D6684C-2091-4ED4-9531-6A5D0C5483E8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1859118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22" name="Round Same-side Corner of Rectangle 79">
            <a:extLst>
              <a:ext uri="{FF2B5EF4-FFF2-40B4-BE49-F238E27FC236}">
                <a16:creationId xmlns:a16="http://schemas.microsoft.com/office/drawing/2014/main" id="{CB3BF8E1-2A78-4AE2-86D4-5FAAC392F041}"/>
              </a:ext>
            </a:extLst>
          </p:cNvPr>
          <p:cNvSpPr/>
          <p:nvPr userDrawn="1"/>
        </p:nvSpPr>
        <p:spPr>
          <a:xfrm rot="5400000">
            <a:off x="10615976" y="2552213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3" name="TextBox 22">
            <a:hlinkClick r:id="" action="ppaction://noaction"/>
            <a:extLst>
              <a:ext uri="{FF2B5EF4-FFF2-40B4-BE49-F238E27FC236}">
                <a16:creationId xmlns:a16="http://schemas.microsoft.com/office/drawing/2014/main" id="{2597F388-EF24-48BC-B981-9CA5EE83D0F6}"/>
              </a:ext>
            </a:extLst>
          </p:cNvPr>
          <p:cNvSpPr txBox="1"/>
          <p:nvPr userDrawn="1"/>
        </p:nvSpPr>
        <p:spPr>
          <a:xfrm>
            <a:off x="10873503" y="2593562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24" name="Freeform 21">
            <a:extLst>
              <a:ext uri="{FF2B5EF4-FFF2-40B4-BE49-F238E27FC236}">
                <a16:creationId xmlns:a16="http://schemas.microsoft.com/office/drawing/2014/main" id="{A465B29B-0F5F-4B1A-9C54-A7E10993427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2601787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25" name="Graphic 28" descr="List">
            <a:extLst>
              <a:ext uri="{FF2B5EF4-FFF2-40B4-BE49-F238E27FC236}">
                <a16:creationId xmlns:a16="http://schemas.microsoft.com/office/drawing/2014/main" id="{4FF55F53-7BAA-413C-BA1C-85A4DFE8C483}"/>
              </a:ext>
            </a:extLst>
          </p:cNvPr>
          <p:cNvGrpSpPr/>
          <p:nvPr userDrawn="1"/>
        </p:nvGrpSpPr>
        <p:grpSpPr>
          <a:xfrm>
            <a:off x="10657446" y="2213495"/>
            <a:ext cx="103548" cy="146640"/>
            <a:chOff x="981871" y="1231905"/>
            <a:chExt cx="246063" cy="317501"/>
          </a:xfrm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5965F8FA-2173-40A1-8AFD-4C91554DA2F7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2C1E18B4-E6FE-4645-9422-36C82334A0BE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5E92F2C0-5469-401C-AE3B-4E25F4EDCF2C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5A4B1DF-41F0-420E-9F5F-1ABFCD8FB239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7CC730A8-6FA4-41DE-B626-F5669BCD8C6D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B87AE37-E8F1-4A99-99C8-482AB31EAE48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1DA81CFB-E385-453E-9DF5-A0E0FE5D2A44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BB50D912-5DDD-4E61-8C8B-25CF92A2074C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F97019BC-179A-48EB-A509-4952AD72B3B1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36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9EAA248B-37E5-4DAC-AD41-CA965B7D1D86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7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DA1688C0-28E6-42EF-B32D-A513D79EE3C6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8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0F6FE5F6-99AE-4DA3-9D76-A9E933FDFCB0}"/>
              </a:ext>
            </a:extLst>
          </p:cNvPr>
          <p:cNvSpPr/>
          <p:nvPr userDrawn="1"/>
        </p:nvSpPr>
        <p:spPr>
          <a:xfrm rot="5400000">
            <a:off x="11265663" y="1151455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9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01AC31CB-7153-413F-B12D-F67A3CD7E7C2}"/>
              </a:ext>
            </a:extLst>
          </p:cNvPr>
          <p:cNvSpPr/>
          <p:nvPr userDrawn="1"/>
        </p:nvSpPr>
        <p:spPr>
          <a:xfrm rot="5400000">
            <a:off x="11265663" y="1514937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40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D483B634-A68D-49AF-B35D-1F8A17C8488C}"/>
              </a:ext>
            </a:extLst>
          </p:cNvPr>
          <p:cNvSpPr/>
          <p:nvPr userDrawn="1"/>
        </p:nvSpPr>
        <p:spPr>
          <a:xfrm rot="5400000">
            <a:off x="11265663" y="1878420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9593342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H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E89B9EF9-DBA7-4FF3-83B6-AD7BF45703F8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EDF5CFA-8760-4A29-830D-1B7A22A00FB3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B86FBB8-70D0-4852-842F-BDB0C7CC4774}"/>
              </a:ext>
            </a:extLst>
          </p:cNvPr>
          <p:cNvSpPr/>
          <p:nvPr userDrawn="1"/>
        </p:nvSpPr>
        <p:spPr>
          <a:xfrm>
            <a:off x="12097409" y="0"/>
            <a:ext cx="91416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33" name="Round Same-side Corner of Rectangle 79">
            <a:extLst>
              <a:ext uri="{FF2B5EF4-FFF2-40B4-BE49-F238E27FC236}">
                <a16:creationId xmlns:a16="http://schemas.microsoft.com/office/drawing/2014/main" id="{2ECBAE96-C7A6-4C08-A0C9-6BAA9D0415FF}"/>
              </a:ext>
            </a:extLst>
          </p:cNvPr>
          <p:cNvSpPr/>
          <p:nvPr userDrawn="1"/>
        </p:nvSpPr>
        <p:spPr>
          <a:xfrm rot="5400000">
            <a:off x="11223834" y="775776"/>
            <a:ext cx="357978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tx2">
              <a:alpha val="2100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9AF8F6DB-3A97-4547-BDCF-B5C0383B04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5" name="TextBox 24">
            <a:hlinkClick r:id="" action="ppaction://noaction"/>
            <a:extLst>
              <a:ext uri="{FF2B5EF4-FFF2-40B4-BE49-F238E27FC236}">
                <a16:creationId xmlns:a16="http://schemas.microsoft.com/office/drawing/2014/main" id="{1A9D5154-C6BE-423E-B3A6-06BC9E6C0BFB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26" name="Round Same-side Corner of Rectangle 79">
            <a:extLst>
              <a:ext uri="{FF2B5EF4-FFF2-40B4-BE49-F238E27FC236}">
                <a16:creationId xmlns:a16="http://schemas.microsoft.com/office/drawing/2014/main" id="{50EF600A-4F27-4C12-813E-C635A57E50E1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8" name="TextBox 27">
            <a:hlinkClick r:id="" action="ppaction://noaction"/>
            <a:extLst>
              <a:ext uri="{FF2B5EF4-FFF2-40B4-BE49-F238E27FC236}">
                <a16:creationId xmlns:a16="http://schemas.microsoft.com/office/drawing/2014/main" id="{66495980-A5B8-4956-AFCF-6D2CB110E01E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29" name="Round Same-side Corner of Rectangle 79">
            <a:extLst>
              <a:ext uri="{FF2B5EF4-FFF2-40B4-BE49-F238E27FC236}">
                <a16:creationId xmlns:a16="http://schemas.microsoft.com/office/drawing/2014/main" id="{708B5B87-9CC8-431E-A060-68D1750D2233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0" name="Round Same-side Corner of Rectangle 79">
            <a:extLst>
              <a:ext uri="{FF2B5EF4-FFF2-40B4-BE49-F238E27FC236}">
                <a16:creationId xmlns:a16="http://schemas.microsoft.com/office/drawing/2014/main" id="{4BDB5721-E44A-434B-8FED-B28E4FFDB3DF}"/>
              </a:ext>
            </a:extLst>
          </p:cNvPr>
          <p:cNvSpPr/>
          <p:nvPr userDrawn="1"/>
        </p:nvSpPr>
        <p:spPr>
          <a:xfrm rot="5400000">
            <a:off x="10613117" y="1819454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1" name="TextBox 30">
            <a:hlinkClick r:id="" action="ppaction://noaction"/>
            <a:extLst>
              <a:ext uri="{FF2B5EF4-FFF2-40B4-BE49-F238E27FC236}">
                <a16:creationId xmlns:a16="http://schemas.microsoft.com/office/drawing/2014/main" id="{9AD371BE-F72A-4976-ACCD-3F2C0EB38DB9}"/>
              </a:ext>
            </a:extLst>
          </p:cNvPr>
          <p:cNvSpPr txBox="1"/>
          <p:nvPr userDrawn="1"/>
        </p:nvSpPr>
        <p:spPr>
          <a:xfrm>
            <a:off x="10870644" y="1860803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32" name="Round Same-side Corner of Rectangle 79">
            <a:extLst>
              <a:ext uri="{FF2B5EF4-FFF2-40B4-BE49-F238E27FC236}">
                <a16:creationId xmlns:a16="http://schemas.microsoft.com/office/drawing/2014/main" id="{B57EDB31-4757-422F-8E42-CB53A7FC0EE9}"/>
              </a:ext>
            </a:extLst>
          </p:cNvPr>
          <p:cNvSpPr/>
          <p:nvPr userDrawn="1"/>
        </p:nvSpPr>
        <p:spPr>
          <a:xfrm rot="5400000">
            <a:off x="10613117" y="2180288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4" name="TextBox 33">
            <a:hlinkClick r:id="" action="ppaction://noaction"/>
            <a:extLst>
              <a:ext uri="{FF2B5EF4-FFF2-40B4-BE49-F238E27FC236}">
                <a16:creationId xmlns:a16="http://schemas.microsoft.com/office/drawing/2014/main" id="{81EF1990-80B0-4E17-A8DA-59DAF86D0D23}"/>
              </a:ext>
            </a:extLst>
          </p:cNvPr>
          <p:cNvSpPr txBox="1"/>
          <p:nvPr userDrawn="1"/>
        </p:nvSpPr>
        <p:spPr>
          <a:xfrm>
            <a:off x="10870644" y="2221637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35" name="Freeform 5">
            <a:extLst>
              <a:ext uri="{FF2B5EF4-FFF2-40B4-BE49-F238E27FC236}">
                <a16:creationId xmlns:a16="http://schemas.microsoft.com/office/drawing/2014/main" id="{E7EA14CA-3587-4126-8D15-575A51263C1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 w="539" cap="flat">
            <a:noFill/>
            <a:prstDash val="solid"/>
            <a:miter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36" name="Graphic 35">
            <a:extLst>
              <a:ext uri="{FF2B5EF4-FFF2-40B4-BE49-F238E27FC236}">
                <a16:creationId xmlns:a16="http://schemas.microsoft.com/office/drawing/2014/main" id="{4293FF83-85BC-41B8-90AE-8E308468E1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37" name="Freeform 25">
            <a:extLst>
              <a:ext uri="{FF2B5EF4-FFF2-40B4-BE49-F238E27FC236}">
                <a16:creationId xmlns:a16="http://schemas.microsoft.com/office/drawing/2014/main" id="{3BDC39AC-B907-4CF9-AF7F-EC681910203D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1859118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38" name="Round Same-side Corner of Rectangle 79">
            <a:extLst>
              <a:ext uri="{FF2B5EF4-FFF2-40B4-BE49-F238E27FC236}">
                <a16:creationId xmlns:a16="http://schemas.microsoft.com/office/drawing/2014/main" id="{27D6C261-3E42-4937-BE74-F024841C1BE5}"/>
              </a:ext>
            </a:extLst>
          </p:cNvPr>
          <p:cNvSpPr/>
          <p:nvPr userDrawn="1"/>
        </p:nvSpPr>
        <p:spPr>
          <a:xfrm rot="5400000">
            <a:off x="10615976" y="2552213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9" name="TextBox 38">
            <a:hlinkClick r:id="" action="ppaction://noaction"/>
            <a:extLst>
              <a:ext uri="{FF2B5EF4-FFF2-40B4-BE49-F238E27FC236}">
                <a16:creationId xmlns:a16="http://schemas.microsoft.com/office/drawing/2014/main" id="{C0C9A588-2001-47B6-ABD0-FBCDC1AFB035}"/>
              </a:ext>
            </a:extLst>
          </p:cNvPr>
          <p:cNvSpPr txBox="1"/>
          <p:nvPr userDrawn="1"/>
        </p:nvSpPr>
        <p:spPr>
          <a:xfrm>
            <a:off x="10873503" y="2593562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40" name="Freeform 21">
            <a:extLst>
              <a:ext uri="{FF2B5EF4-FFF2-40B4-BE49-F238E27FC236}">
                <a16:creationId xmlns:a16="http://schemas.microsoft.com/office/drawing/2014/main" id="{EC795DFF-989A-48D9-A36C-FAB7E8A17DC5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2601787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41" name="Graphic 28" descr="List">
            <a:extLst>
              <a:ext uri="{FF2B5EF4-FFF2-40B4-BE49-F238E27FC236}">
                <a16:creationId xmlns:a16="http://schemas.microsoft.com/office/drawing/2014/main" id="{1A8217ED-FA1F-4056-AA60-1D1851546BEE}"/>
              </a:ext>
            </a:extLst>
          </p:cNvPr>
          <p:cNvGrpSpPr/>
          <p:nvPr userDrawn="1"/>
        </p:nvGrpSpPr>
        <p:grpSpPr>
          <a:xfrm>
            <a:off x="10657446" y="2213495"/>
            <a:ext cx="103548" cy="146640"/>
            <a:chOff x="981871" y="1231905"/>
            <a:chExt cx="246063" cy="317501"/>
          </a:xfrm>
        </p:grpSpPr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2628A865-68C8-48C5-BE63-36ED3E0D4286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32AF5730-2860-422B-BCAD-8A356CCD9844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EA30AC31-510F-4F83-B744-0E1427156829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D8A72AF-FA7C-4997-A355-E29BDF608849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2D040E54-B2F9-43D0-8D4E-CF83F81575E8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355F231-7D07-440B-919E-C295F8EA1DBE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D52FE616-09FB-4150-ABB9-54EE8BE85256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4890AE28-D996-4272-8582-7B3781A6E08D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8E55EF6-8DF7-42BE-83A9-13B2A6880A61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51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5A082980-1160-4C8C-8DAC-120CD4143B0A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2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11F38F13-39EE-4D2A-A977-08353AEAF651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FFE71B4B-9876-4ACA-9E1B-B201937D7D7F}"/>
              </a:ext>
            </a:extLst>
          </p:cNvPr>
          <p:cNvSpPr/>
          <p:nvPr userDrawn="1"/>
        </p:nvSpPr>
        <p:spPr>
          <a:xfrm rot="5400000">
            <a:off x="11265663" y="1151455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DA5D62D6-FE1B-4DAE-B3DE-58222D82E5F0}"/>
              </a:ext>
            </a:extLst>
          </p:cNvPr>
          <p:cNvSpPr/>
          <p:nvPr userDrawn="1"/>
        </p:nvSpPr>
        <p:spPr>
          <a:xfrm rot="5400000">
            <a:off x="11265663" y="1514937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B855D4F0-08CC-4625-9852-2C10E447A63B}"/>
              </a:ext>
            </a:extLst>
          </p:cNvPr>
          <p:cNvSpPr/>
          <p:nvPr userDrawn="1"/>
        </p:nvSpPr>
        <p:spPr>
          <a:xfrm rot="5400000">
            <a:off x="11265663" y="1878420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2965498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Pilla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doctor showing a person something on a tablet&#10;&#10;Description automatically generated with low confidence">
            <a:extLst>
              <a:ext uri="{FF2B5EF4-FFF2-40B4-BE49-F238E27FC236}">
                <a16:creationId xmlns:a16="http://schemas.microsoft.com/office/drawing/2014/main" id="{659DF624-16F7-4030-A5D1-C6F6BD8E77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752446" y="0"/>
            <a:ext cx="10284321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52DACC8-F68A-4E7E-B68C-7F1399D9114E}"/>
              </a:ext>
            </a:extLst>
          </p:cNvPr>
          <p:cNvSpPr/>
          <p:nvPr userDrawn="1"/>
        </p:nvSpPr>
        <p:spPr>
          <a:xfrm>
            <a:off x="2072100" y="6705600"/>
            <a:ext cx="8044625" cy="15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800">
                <a:solidFill>
                  <a:schemeClr val="tx1"/>
                </a:solidFill>
                <a:ea typeface="MS PGothic" pitchFamily="34" charset="-128"/>
              </a:rPr>
              <a:t>Pfizer Confidential – Internal Use Only, Not for Further Distribution</a:t>
            </a:r>
            <a:endParaRPr lang="en-US" sz="800">
              <a:solidFill>
                <a:schemeClr val="tx1"/>
              </a:solidFill>
              <a:ea typeface="MS PGothic" pitchFamily="34" charset="-128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C514C5-2143-4E16-837F-CF028230C903}"/>
              </a:ext>
            </a:extLst>
          </p:cNvPr>
          <p:cNvSpPr/>
          <p:nvPr userDrawn="1"/>
        </p:nvSpPr>
        <p:spPr>
          <a:xfrm>
            <a:off x="0" y="0"/>
            <a:ext cx="2011157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E1FD921-B9B9-4E01-8593-A27B37592D89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27281B-F7F1-4E3B-B238-0D64683B763A}"/>
              </a:ext>
            </a:extLst>
          </p:cNvPr>
          <p:cNvSpPr/>
          <p:nvPr userDrawn="1"/>
        </p:nvSpPr>
        <p:spPr>
          <a:xfrm>
            <a:off x="1897132" y="0"/>
            <a:ext cx="138452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3941344-CBA3-46F5-9801-595985401D8A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D2612D66-723A-4927-9CE6-16C13A003646}"/>
              </a:ext>
            </a:extLst>
          </p:cNvPr>
          <p:cNvSpPr/>
          <p:nvPr/>
        </p:nvSpPr>
        <p:spPr>
          <a:xfrm>
            <a:off x="0" y="141677"/>
            <a:ext cx="324007" cy="6853150"/>
          </a:xfrm>
          <a:custGeom>
            <a:avLst/>
            <a:gdLst>
              <a:gd name="connsiteX0" fmla="*/ 0 w 324091"/>
              <a:gd name="connsiteY0" fmla="*/ 6807430 h 6853150"/>
              <a:gd name="connsiteX1" fmla="*/ 81776 w 324091"/>
              <a:gd name="connsiteY1" fmla="*/ 6807430 h 6853150"/>
              <a:gd name="connsiteX2" fmla="*/ 104636 w 324091"/>
              <a:gd name="connsiteY2" fmla="*/ 6830290 h 6853150"/>
              <a:gd name="connsiteX3" fmla="*/ 104635 w 324091"/>
              <a:gd name="connsiteY3" fmla="*/ 6830290 h 6853150"/>
              <a:gd name="connsiteX4" fmla="*/ 81775 w 324091"/>
              <a:gd name="connsiteY4" fmla="*/ 6853150 h 6853150"/>
              <a:gd name="connsiteX5" fmla="*/ 0 w 324091"/>
              <a:gd name="connsiteY5" fmla="*/ 6853150 h 6853150"/>
              <a:gd name="connsiteX6" fmla="*/ 0 w 324091"/>
              <a:gd name="connsiteY6" fmla="*/ 6653902 h 6853150"/>
              <a:gd name="connsiteX7" fmla="*/ 173216 w 324091"/>
              <a:gd name="connsiteY7" fmla="*/ 6653902 h 6853150"/>
              <a:gd name="connsiteX8" fmla="*/ 196076 w 324091"/>
              <a:gd name="connsiteY8" fmla="*/ 6676762 h 6853150"/>
              <a:gd name="connsiteX9" fmla="*/ 196075 w 324091"/>
              <a:gd name="connsiteY9" fmla="*/ 6676762 h 6853150"/>
              <a:gd name="connsiteX10" fmla="*/ 173215 w 324091"/>
              <a:gd name="connsiteY10" fmla="*/ 6699622 h 6853150"/>
              <a:gd name="connsiteX11" fmla="*/ 0 w 324091"/>
              <a:gd name="connsiteY11" fmla="*/ 6699622 h 6853150"/>
              <a:gd name="connsiteX12" fmla="*/ 0 w 324091"/>
              <a:gd name="connsiteY12" fmla="*/ 6500374 h 6853150"/>
              <a:gd name="connsiteX13" fmla="*/ 81776 w 324091"/>
              <a:gd name="connsiteY13" fmla="*/ 6500374 h 6853150"/>
              <a:gd name="connsiteX14" fmla="*/ 104636 w 324091"/>
              <a:gd name="connsiteY14" fmla="*/ 6523234 h 6853150"/>
              <a:gd name="connsiteX15" fmla="*/ 104635 w 324091"/>
              <a:gd name="connsiteY15" fmla="*/ 6523234 h 6853150"/>
              <a:gd name="connsiteX16" fmla="*/ 81775 w 324091"/>
              <a:gd name="connsiteY16" fmla="*/ 6546094 h 6853150"/>
              <a:gd name="connsiteX17" fmla="*/ 0 w 324091"/>
              <a:gd name="connsiteY17" fmla="*/ 6546094 h 6853150"/>
              <a:gd name="connsiteX18" fmla="*/ 0 w 324091"/>
              <a:gd name="connsiteY18" fmla="*/ 6302591 h 6853150"/>
              <a:gd name="connsiteX19" fmla="*/ 279104 w 324091"/>
              <a:gd name="connsiteY19" fmla="*/ 6302591 h 6853150"/>
              <a:gd name="connsiteX20" fmla="*/ 324091 w 324091"/>
              <a:gd name="connsiteY20" fmla="*/ 6347578 h 6853150"/>
              <a:gd name="connsiteX21" fmla="*/ 279104 w 324091"/>
              <a:gd name="connsiteY21" fmla="*/ 6392565 h 6853150"/>
              <a:gd name="connsiteX22" fmla="*/ 0 w 324091"/>
              <a:gd name="connsiteY22" fmla="*/ 6392565 h 6853150"/>
              <a:gd name="connsiteX23" fmla="*/ 0 w 324091"/>
              <a:gd name="connsiteY23" fmla="*/ 6124755 h 6853150"/>
              <a:gd name="connsiteX24" fmla="*/ 81776 w 324091"/>
              <a:gd name="connsiteY24" fmla="*/ 6124755 h 6853150"/>
              <a:gd name="connsiteX25" fmla="*/ 104636 w 324091"/>
              <a:gd name="connsiteY25" fmla="*/ 6147615 h 6853150"/>
              <a:gd name="connsiteX26" fmla="*/ 104635 w 324091"/>
              <a:gd name="connsiteY26" fmla="*/ 6147615 h 6853150"/>
              <a:gd name="connsiteX27" fmla="*/ 81775 w 324091"/>
              <a:gd name="connsiteY27" fmla="*/ 6170475 h 6853150"/>
              <a:gd name="connsiteX28" fmla="*/ 0 w 324091"/>
              <a:gd name="connsiteY28" fmla="*/ 6170475 h 6853150"/>
              <a:gd name="connsiteX29" fmla="*/ 0 w 324091"/>
              <a:gd name="connsiteY29" fmla="*/ 5971227 h 6853150"/>
              <a:gd name="connsiteX30" fmla="*/ 173216 w 324091"/>
              <a:gd name="connsiteY30" fmla="*/ 5971227 h 6853150"/>
              <a:gd name="connsiteX31" fmla="*/ 196076 w 324091"/>
              <a:gd name="connsiteY31" fmla="*/ 5994087 h 6853150"/>
              <a:gd name="connsiteX32" fmla="*/ 196075 w 324091"/>
              <a:gd name="connsiteY32" fmla="*/ 5994087 h 6853150"/>
              <a:gd name="connsiteX33" fmla="*/ 173215 w 324091"/>
              <a:gd name="connsiteY33" fmla="*/ 6016947 h 6853150"/>
              <a:gd name="connsiteX34" fmla="*/ 0 w 324091"/>
              <a:gd name="connsiteY34" fmla="*/ 6016947 h 6853150"/>
              <a:gd name="connsiteX35" fmla="*/ 0 w 324091"/>
              <a:gd name="connsiteY35" fmla="*/ 5817699 h 6853150"/>
              <a:gd name="connsiteX36" fmla="*/ 81776 w 324091"/>
              <a:gd name="connsiteY36" fmla="*/ 5817699 h 6853150"/>
              <a:gd name="connsiteX37" fmla="*/ 104636 w 324091"/>
              <a:gd name="connsiteY37" fmla="*/ 5840559 h 6853150"/>
              <a:gd name="connsiteX38" fmla="*/ 104635 w 324091"/>
              <a:gd name="connsiteY38" fmla="*/ 5840559 h 6853150"/>
              <a:gd name="connsiteX39" fmla="*/ 81775 w 324091"/>
              <a:gd name="connsiteY39" fmla="*/ 5863419 h 6853150"/>
              <a:gd name="connsiteX40" fmla="*/ 0 w 324091"/>
              <a:gd name="connsiteY40" fmla="*/ 5863419 h 6853150"/>
              <a:gd name="connsiteX41" fmla="*/ 0 w 324091"/>
              <a:gd name="connsiteY41" fmla="*/ 5619916 h 6853150"/>
              <a:gd name="connsiteX42" fmla="*/ 279104 w 324091"/>
              <a:gd name="connsiteY42" fmla="*/ 5619916 h 6853150"/>
              <a:gd name="connsiteX43" fmla="*/ 324091 w 324091"/>
              <a:gd name="connsiteY43" fmla="*/ 5664903 h 6853150"/>
              <a:gd name="connsiteX44" fmla="*/ 279104 w 324091"/>
              <a:gd name="connsiteY44" fmla="*/ 5709890 h 6853150"/>
              <a:gd name="connsiteX45" fmla="*/ 0 w 324091"/>
              <a:gd name="connsiteY45" fmla="*/ 5709890 h 6853150"/>
              <a:gd name="connsiteX46" fmla="*/ 0 w 324091"/>
              <a:gd name="connsiteY46" fmla="*/ 5442077 h 6853150"/>
              <a:gd name="connsiteX47" fmla="*/ 81776 w 324091"/>
              <a:gd name="connsiteY47" fmla="*/ 5442077 h 6853150"/>
              <a:gd name="connsiteX48" fmla="*/ 104636 w 324091"/>
              <a:gd name="connsiteY48" fmla="*/ 5464937 h 6853150"/>
              <a:gd name="connsiteX49" fmla="*/ 104635 w 324091"/>
              <a:gd name="connsiteY49" fmla="*/ 5464937 h 6853150"/>
              <a:gd name="connsiteX50" fmla="*/ 81775 w 324091"/>
              <a:gd name="connsiteY50" fmla="*/ 5487797 h 6853150"/>
              <a:gd name="connsiteX51" fmla="*/ 0 w 324091"/>
              <a:gd name="connsiteY51" fmla="*/ 5487797 h 6853150"/>
              <a:gd name="connsiteX52" fmla="*/ 0 w 324091"/>
              <a:gd name="connsiteY52" fmla="*/ 5288549 h 6853150"/>
              <a:gd name="connsiteX53" fmla="*/ 173216 w 324091"/>
              <a:gd name="connsiteY53" fmla="*/ 5288549 h 6853150"/>
              <a:gd name="connsiteX54" fmla="*/ 196076 w 324091"/>
              <a:gd name="connsiteY54" fmla="*/ 5311409 h 6853150"/>
              <a:gd name="connsiteX55" fmla="*/ 196075 w 324091"/>
              <a:gd name="connsiteY55" fmla="*/ 5311409 h 6853150"/>
              <a:gd name="connsiteX56" fmla="*/ 173215 w 324091"/>
              <a:gd name="connsiteY56" fmla="*/ 5334269 h 6853150"/>
              <a:gd name="connsiteX57" fmla="*/ 0 w 324091"/>
              <a:gd name="connsiteY57" fmla="*/ 5334269 h 6853150"/>
              <a:gd name="connsiteX58" fmla="*/ 0 w 324091"/>
              <a:gd name="connsiteY58" fmla="*/ 5135021 h 6853150"/>
              <a:gd name="connsiteX59" fmla="*/ 81776 w 324091"/>
              <a:gd name="connsiteY59" fmla="*/ 5135021 h 6853150"/>
              <a:gd name="connsiteX60" fmla="*/ 104636 w 324091"/>
              <a:gd name="connsiteY60" fmla="*/ 5157881 h 6853150"/>
              <a:gd name="connsiteX61" fmla="*/ 104635 w 324091"/>
              <a:gd name="connsiteY61" fmla="*/ 5157881 h 6853150"/>
              <a:gd name="connsiteX62" fmla="*/ 81775 w 324091"/>
              <a:gd name="connsiteY62" fmla="*/ 5180741 h 6853150"/>
              <a:gd name="connsiteX63" fmla="*/ 0 w 324091"/>
              <a:gd name="connsiteY63" fmla="*/ 5180741 h 6853150"/>
              <a:gd name="connsiteX64" fmla="*/ 0 w 324091"/>
              <a:gd name="connsiteY64" fmla="*/ 4937238 h 6853150"/>
              <a:gd name="connsiteX65" fmla="*/ 279104 w 324091"/>
              <a:gd name="connsiteY65" fmla="*/ 4937238 h 6853150"/>
              <a:gd name="connsiteX66" fmla="*/ 324091 w 324091"/>
              <a:gd name="connsiteY66" fmla="*/ 4982225 h 6853150"/>
              <a:gd name="connsiteX67" fmla="*/ 279104 w 324091"/>
              <a:gd name="connsiteY67" fmla="*/ 5027212 h 6853150"/>
              <a:gd name="connsiteX68" fmla="*/ 0 w 324091"/>
              <a:gd name="connsiteY68" fmla="*/ 5027212 h 6853150"/>
              <a:gd name="connsiteX69" fmla="*/ 0 w 324091"/>
              <a:gd name="connsiteY69" fmla="*/ 4759399 h 6853150"/>
              <a:gd name="connsiteX70" fmla="*/ 81776 w 324091"/>
              <a:gd name="connsiteY70" fmla="*/ 4759399 h 6853150"/>
              <a:gd name="connsiteX71" fmla="*/ 104636 w 324091"/>
              <a:gd name="connsiteY71" fmla="*/ 4782259 h 6853150"/>
              <a:gd name="connsiteX72" fmla="*/ 104635 w 324091"/>
              <a:gd name="connsiteY72" fmla="*/ 4782259 h 6853150"/>
              <a:gd name="connsiteX73" fmla="*/ 81775 w 324091"/>
              <a:gd name="connsiteY73" fmla="*/ 4805119 h 6853150"/>
              <a:gd name="connsiteX74" fmla="*/ 0 w 324091"/>
              <a:gd name="connsiteY74" fmla="*/ 4805119 h 6853150"/>
              <a:gd name="connsiteX75" fmla="*/ 0 w 324091"/>
              <a:gd name="connsiteY75" fmla="*/ 4605871 h 6853150"/>
              <a:gd name="connsiteX76" fmla="*/ 173216 w 324091"/>
              <a:gd name="connsiteY76" fmla="*/ 4605871 h 6853150"/>
              <a:gd name="connsiteX77" fmla="*/ 196076 w 324091"/>
              <a:gd name="connsiteY77" fmla="*/ 4628731 h 6853150"/>
              <a:gd name="connsiteX78" fmla="*/ 196075 w 324091"/>
              <a:gd name="connsiteY78" fmla="*/ 4628731 h 6853150"/>
              <a:gd name="connsiteX79" fmla="*/ 173215 w 324091"/>
              <a:gd name="connsiteY79" fmla="*/ 4651591 h 6853150"/>
              <a:gd name="connsiteX80" fmla="*/ 0 w 324091"/>
              <a:gd name="connsiteY80" fmla="*/ 4651591 h 6853150"/>
              <a:gd name="connsiteX81" fmla="*/ 0 w 324091"/>
              <a:gd name="connsiteY81" fmla="*/ 4452343 h 6853150"/>
              <a:gd name="connsiteX82" fmla="*/ 81776 w 324091"/>
              <a:gd name="connsiteY82" fmla="*/ 4452343 h 6853150"/>
              <a:gd name="connsiteX83" fmla="*/ 104636 w 324091"/>
              <a:gd name="connsiteY83" fmla="*/ 4475203 h 6853150"/>
              <a:gd name="connsiteX84" fmla="*/ 104635 w 324091"/>
              <a:gd name="connsiteY84" fmla="*/ 4475203 h 6853150"/>
              <a:gd name="connsiteX85" fmla="*/ 81775 w 324091"/>
              <a:gd name="connsiteY85" fmla="*/ 4498063 h 6853150"/>
              <a:gd name="connsiteX86" fmla="*/ 0 w 324091"/>
              <a:gd name="connsiteY86" fmla="*/ 4498063 h 6853150"/>
              <a:gd name="connsiteX87" fmla="*/ 0 w 324091"/>
              <a:gd name="connsiteY87" fmla="*/ 4254560 h 6853150"/>
              <a:gd name="connsiteX88" fmla="*/ 279104 w 324091"/>
              <a:gd name="connsiteY88" fmla="*/ 4254560 h 6853150"/>
              <a:gd name="connsiteX89" fmla="*/ 324091 w 324091"/>
              <a:gd name="connsiteY89" fmla="*/ 4299547 h 6853150"/>
              <a:gd name="connsiteX90" fmla="*/ 279104 w 324091"/>
              <a:gd name="connsiteY90" fmla="*/ 4344534 h 6853150"/>
              <a:gd name="connsiteX91" fmla="*/ 0 w 324091"/>
              <a:gd name="connsiteY91" fmla="*/ 4344534 h 6853150"/>
              <a:gd name="connsiteX92" fmla="*/ 0 w 324091"/>
              <a:gd name="connsiteY92" fmla="*/ 4076721 h 6853150"/>
              <a:gd name="connsiteX93" fmla="*/ 81776 w 324091"/>
              <a:gd name="connsiteY93" fmla="*/ 4076721 h 6853150"/>
              <a:gd name="connsiteX94" fmla="*/ 104636 w 324091"/>
              <a:gd name="connsiteY94" fmla="*/ 4099581 h 6853150"/>
              <a:gd name="connsiteX95" fmla="*/ 104635 w 324091"/>
              <a:gd name="connsiteY95" fmla="*/ 4099581 h 6853150"/>
              <a:gd name="connsiteX96" fmla="*/ 81775 w 324091"/>
              <a:gd name="connsiteY96" fmla="*/ 4122441 h 6853150"/>
              <a:gd name="connsiteX97" fmla="*/ 0 w 324091"/>
              <a:gd name="connsiteY97" fmla="*/ 4122441 h 6853150"/>
              <a:gd name="connsiteX98" fmla="*/ 0 w 324091"/>
              <a:gd name="connsiteY98" fmla="*/ 3923193 h 6853150"/>
              <a:gd name="connsiteX99" fmla="*/ 173216 w 324091"/>
              <a:gd name="connsiteY99" fmla="*/ 3923193 h 6853150"/>
              <a:gd name="connsiteX100" fmla="*/ 196076 w 324091"/>
              <a:gd name="connsiteY100" fmla="*/ 3946053 h 6853150"/>
              <a:gd name="connsiteX101" fmla="*/ 196075 w 324091"/>
              <a:gd name="connsiteY101" fmla="*/ 3946053 h 6853150"/>
              <a:gd name="connsiteX102" fmla="*/ 173215 w 324091"/>
              <a:gd name="connsiteY102" fmla="*/ 3968913 h 6853150"/>
              <a:gd name="connsiteX103" fmla="*/ 0 w 324091"/>
              <a:gd name="connsiteY103" fmla="*/ 3968913 h 6853150"/>
              <a:gd name="connsiteX104" fmla="*/ 0 w 324091"/>
              <a:gd name="connsiteY104" fmla="*/ 3769665 h 6853150"/>
              <a:gd name="connsiteX105" fmla="*/ 81776 w 324091"/>
              <a:gd name="connsiteY105" fmla="*/ 3769665 h 6853150"/>
              <a:gd name="connsiteX106" fmla="*/ 104636 w 324091"/>
              <a:gd name="connsiteY106" fmla="*/ 3792525 h 6853150"/>
              <a:gd name="connsiteX107" fmla="*/ 104635 w 324091"/>
              <a:gd name="connsiteY107" fmla="*/ 3792525 h 6853150"/>
              <a:gd name="connsiteX108" fmla="*/ 81775 w 324091"/>
              <a:gd name="connsiteY108" fmla="*/ 3815385 h 6853150"/>
              <a:gd name="connsiteX109" fmla="*/ 0 w 324091"/>
              <a:gd name="connsiteY109" fmla="*/ 3815385 h 6853150"/>
              <a:gd name="connsiteX110" fmla="*/ 0 w 324091"/>
              <a:gd name="connsiteY110" fmla="*/ 3571882 h 6853150"/>
              <a:gd name="connsiteX111" fmla="*/ 279104 w 324091"/>
              <a:gd name="connsiteY111" fmla="*/ 3571882 h 6853150"/>
              <a:gd name="connsiteX112" fmla="*/ 324091 w 324091"/>
              <a:gd name="connsiteY112" fmla="*/ 3616869 h 6853150"/>
              <a:gd name="connsiteX113" fmla="*/ 279104 w 324091"/>
              <a:gd name="connsiteY113" fmla="*/ 3661856 h 6853150"/>
              <a:gd name="connsiteX114" fmla="*/ 0 w 324091"/>
              <a:gd name="connsiteY114" fmla="*/ 3661856 h 6853150"/>
              <a:gd name="connsiteX115" fmla="*/ 0 w 324091"/>
              <a:gd name="connsiteY115" fmla="*/ 3394043 h 6853150"/>
              <a:gd name="connsiteX116" fmla="*/ 81776 w 324091"/>
              <a:gd name="connsiteY116" fmla="*/ 3394043 h 6853150"/>
              <a:gd name="connsiteX117" fmla="*/ 104636 w 324091"/>
              <a:gd name="connsiteY117" fmla="*/ 3416905 h 6853150"/>
              <a:gd name="connsiteX118" fmla="*/ 104635 w 324091"/>
              <a:gd name="connsiteY118" fmla="*/ 3416905 h 6853150"/>
              <a:gd name="connsiteX119" fmla="*/ 81775 w 324091"/>
              <a:gd name="connsiteY119" fmla="*/ 3439763 h 6853150"/>
              <a:gd name="connsiteX120" fmla="*/ 0 w 324091"/>
              <a:gd name="connsiteY120" fmla="*/ 3439763 h 6853150"/>
              <a:gd name="connsiteX121" fmla="*/ 0 w 324091"/>
              <a:gd name="connsiteY121" fmla="*/ 3240516 h 6853150"/>
              <a:gd name="connsiteX122" fmla="*/ 173216 w 324091"/>
              <a:gd name="connsiteY122" fmla="*/ 3240516 h 6853150"/>
              <a:gd name="connsiteX123" fmla="*/ 196076 w 324091"/>
              <a:gd name="connsiteY123" fmla="*/ 3263376 h 6853150"/>
              <a:gd name="connsiteX124" fmla="*/ 196075 w 324091"/>
              <a:gd name="connsiteY124" fmla="*/ 3263376 h 6853150"/>
              <a:gd name="connsiteX125" fmla="*/ 173215 w 324091"/>
              <a:gd name="connsiteY125" fmla="*/ 3286236 h 6853150"/>
              <a:gd name="connsiteX126" fmla="*/ 0 w 324091"/>
              <a:gd name="connsiteY126" fmla="*/ 3286236 h 6853150"/>
              <a:gd name="connsiteX127" fmla="*/ 0 w 324091"/>
              <a:gd name="connsiteY127" fmla="*/ 3086989 h 6853150"/>
              <a:gd name="connsiteX128" fmla="*/ 81776 w 324091"/>
              <a:gd name="connsiteY128" fmla="*/ 3086989 h 6853150"/>
              <a:gd name="connsiteX129" fmla="*/ 104636 w 324091"/>
              <a:gd name="connsiteY129" fmla="*/ 3109849 h 6853150"/>
              <a:gd name="connsiteX130" fmla="*/ 104635 w 324091"/>
              <a:gd name="connsiteY130" fmla="*/ 3109849 h 6853150"/>
              <a:gd name="connsiteX131" fmla="*/ 81775 w 324091"/>
              <a:gd name="connsiteY131" fmla="*/ 3132709 h 6853150"/>
              <a:gd name="connsiteX132" fmla="*/ 0 w 324091"/>
              <a:gd name="connsiteY132" fmla="*/ 3132709 h 6853150"/>
              <a:gd name="connsiteX133" fmla="*/ 0 w 324091"/>
              <a:gd name="connsiteY133" fmla="*/ 2889206 h 6853150"/>
              <a:gd name="connsiteX134" fmla="*/ 279104 w 324091"/>
              <a:gd name="connsiteY134" fmla="*/ 2889206 h 6853150"/>
              <a:gd name="connsiteX135" fmla="*/ 324091 w 324091"/>
              <a:gd name="connsiteY135" fmla="*/ 2934194 h 6853150"/>
              <a:gd name="connsiteX136" fmla="*/ 279104 w 324091"/>
              <a:gd name="connsiteY136" fmla="*/ 2979180 h 6853150"/>
              <a:gd name="connsiteX137" fmla="*/ 0 w 324091"/>
              <a:gd name="connsiteY137" fmla="*/ 2979180 h 6853150"/>
              <a:gd name="connsiteX138" fmla="*/ 0 w 324091"/>
              <a:gd name="connsiteY138" fmla="*/ 2711367 h 6853150"/>
              <a:gd name="connsiteX139" fmla="*/ 81776 w 324091"/>
              <a:gd name="connsiteY139" fmla="*/ 2711367 h 6853150"/>
              <a:gd name="connsiteX140" fmla="*/ 104636 w 324091"/>
              <a:gd name="connsiteY140" fmla="*/ 2734227 h 6853150"/>
              <a:gd name="connsiteX141" fmla="*/ 104635 w 324091"/>
              <a:gd name="connsiteY141" fmla="*/ 2734227 h 6853150"/>
              <a:gd name="connsiteX142" fmla="*/ 81775 w 324091"/>
              <a:gd name="connsiteY142" fmla="*/ 2757087 h 6853150"/>
              <a:gd name="connsiteX143" fmla="*/ 0 w 324091"/>
              <a:gd name="connsiteY143" fmla="*/ 2757087 h 6853150"/>
              <a:gd name="connsiteX144" fmla="*/ 0 w 324091"/>
              <a:gd name="connsiteY144" fmla="*/ 2557839 h 6853150"/>
              <a:gd name="connsiteX145" fmla="*/ 173216 w 324091"/>
              <a:gd name="connsiteY145" fmla="*/ 2557839 h 6853150"/>
              <a:gd name="connsiteX146" fmla="*/ 196076 w 324091"/>
              <a:gd name="connsiteY146" fmla="*/ 2580699 h 6853150"/>
              <a:gd name="connsiteX147" fmla="*/ 196075 w 324091"/>
              <a:gd name="connsiteY147" fmla="*/ 2580699 h 6853150"/>
              <a:gd name="connsiteX148" fmla="*/ 173215 w 324091"/>
              <a:gd name="connsiteY148" fmla="*/ 2603559 h 6853150"/>
              <a:gd name="connsiteX149" fmla="*/ 0 w 324091"/>
              <a:gd name="connsiteY149" fmla="*/ 2603559 h 6853150"/>
              <a:gd name="connsiteX150" fmla="*/ 0 w 324091"/>
              <a:gd name="connsiteY150" fmla="*/ 2404312 h 6853150"/>
              <a:gd name="connsiteX151" fmla="*/ 81776 w 324091"/>
              <a:gd name="connsiteY151" fmla="*/ 2404312 h 6853150"/>
              <a:gd name="connsiteX152" fmla="*/ 104636 w 324091"/>
              <a:gd name="connsiteY152" fmla="*/ 2427171 h 6853150"/>
              <a:gd name="connsiteX153" fmla="*/ 104635 w 324091"/>
              <a:gd name="connsiteY153" fmla="*/ 2427171 h 6853150"/>
              <a:gd name="connsiteX154" fmla="*/ 81775 w 324091"/>
              <a:gd name="connsiteY154" fmla="*/ 2450032 h 6853150"/>
              <a:gd name="connsiteX155" fmla="*/ 0 w 324091"/>
              <a:gd name="connsiteY155" fmla="*/ 2450032 h 6853150"/>
              <a:gd name="connsiteX156" fmla="*/ 0 w 324091"/>
              <a:gd name="connsiteY156" fmla="*/ 2206528 h 6853150"/>
              <a:gd name="connsiteX157" fmla="*/ 279104 w 324091"/>
              <a:gd name="connsiteY157" fmla="*/ 2206528 h 6853150"/>
              <a:gd name="connsiteX158" fmla="*/ 324091 w 324091"/>
              <a:gd name="connsiteY158" fmla="*/ 2251515 h 6853150"/>
              <a:gd name="connsiteX159" fmla="*/ 279104 w 324091"/>
              <a:gd name="connsiteY159" fmla="*/ 2296503 h 6853150"/>
              <a:gd name="connsiteX160" fmla="*/ 0 w 324091"/>
              <a:gd name="connsiteY160" fmla="*/ 2296503 h 6853150"/>
              <a:gd name="connsiteX161" fmla="*/ 0 w 324091"/>
              <a:gd name="connsiteY161" fmla="*/ 2028689 h 6853150"/>
              <a:gd name="connsiteX162" fmla="*/ 81776 w 324091"/>
              <a:gd name="connsiteY162" fmla="*/ 2028689 h 6853150"/>
              <a:gd name="connsiteX163" fmla="*/ 104636 w 324091"/>
              <a:gd name="connsiteY163" fmla="*/ 2051550 h 6853150"/>
              <a:gd name="connsiteX164" fmla="*/ 104635 w 324091"/>
              <a:gd name="connsiteY164" fmla="*/ 2051550 h 6853150"/>
              <a:gd name="connsiteX165" fmla="*/ 81775 w 324091"/>
              <a:gd name="connsiteY165" fmla="*/ 2074409 h 6853150"/>
              <a:gd name="connsiteX166" fmla="*/ 0 w 324091"/>
              <a:gd name="connsiteY166" fmla="*/ 2074409 h 6853150"/>
              <a:gd name="connsiteX167" fmla="*/ 0 w 324091"/>
              <a:gd name="connsiteY167" fmla="*/ 1875162 h 6853150"/>
              <a:gd name="connsiteX168" fmla="*/ 173216 w 324091"/>
              <a:gd name="connsiteY168" fmla="*/ 1875162 h 6853150"/>
              <a:gd name="connsiteX169" fmla="*/ 196076 w 324091"/>
              <a:gd name="connsiteY169" fmla="*/ 1898022 h 6853150"/>
              <a:gd name="connsiteX170" fmla="*/ 196075 w 324091"/>
              <a:gd name="connsiteY170" fmla="*/ 1898022 h 6853150"/>
              <a:gd name="connsiteX171" fmla="*/ 173215 w 324091"/>
              <a:gd name="connsiteY171" fmla="*/ 1920882 h 6853150"/>
              <a:gd name="connsiteX172" fmla="*/ 0 w 324091"/>
              <a:gd name="connsiteY172" fmla="*/ 1920882 h 6853150"/>
              <a:gd name="connsiteX173" fmla="*/ 0 w 324091"/>
              <a:gd name="connsiteY173" fmla="*/ 1721635 h 6853150"/>
              <a:gd name="connsiteX174" fmla="*/ 81776 w 324091"/>
              <a:gd name="connsiteY174" fmla="*/ 1721635 h 6853150"/>
              <a:gd name="connsiteX175" fmla="*/ 104636 w 324091"/>
              <a:gd name="connsiteY175" fmla="*/ 1744495 h 6853150"/>
              <a:gd name="connsiteX176" fmla="*/ 104635 w 324091"/>
              <a:gd name="connsiteY176" fmla="*/ 1744495 h 6853150"/>
              <a:gd name="connsiteX177" fmla="*/ 81775 w 324091"/>
              <a:gd name="connsiteY177" fmla="*/ 1767355 h 6853150"/>
              <a:gd name="connsiteX178" fmla="*/ 0 w 324091"/>
              <a:gd name="connsiteY178" fmla="*/ 1767355 h 6853150"/>
              <a:gd name="connsiteX179" fmla="*/ 0 w 324091"/>
              <a:gd name="connsiteY179" fmla="*/ 1523851 h 6853150"/>
              <a:gd name="connsiteX180" fmla="*/ 279104 w 324091"/>
              <a:gd name="connsiteY180" fmla="*/ 1523851 h 6853150"/>
              <a:gd name="connsiteX181" fmla="*/ 324091 w 324091"/>
              <a:gd name="connsiteY181" fmla="*/ 1568838 h 6853150"/>
              <a:gd name="connsiteX182" fmla="*/ 279104 w 324091"/>
              <a:gd name="connsiteY182" fmla="*/ 1613826 h 6853150"/>
              <a:gd name="connsiteX183" fmla="*/ 0 w 324091"/>
              <a:gd name="connsiteY183" fmla="*/ 1613826 h 6853150"/>
              <a:gd name="connsiteX184" fmla="*/ 0 w 324091"/>
              <a:gd name="connsiteY184" fmla="*/ 1346012 h 6853150"/>
              <a:gd name="connsiteX185" fmla="*/ 81776 w 324091"/>
              <a:gd name="connsiteY185" fmla="*/ 1346012 h 6853150"/>
              <a:gd name="connsiteX186" fmla="*/ 104636 w 324091"/>
              <a:gd name="connsiteY186" fmla="*/ 1368872 h 6853150"/>
              <a:gd name="connsiteX187" fmla="*/ 104635 w 324091"/>
              <a:gd name="connsiteY187" fmla="*/ 1368872 h 6853150"/>
              <a:gd name="connsiteX188" fmla="*/ 81775 w 324091"/>
              <a:gd name="connsiteY188" fmla="*/ 1391732 h 6853150"/>
              <a:gd name="connsiteX189" fmla="*/ 0 w 324091"/>
              <a:gd name="connsiteY189" fmla="*/ 1391732 h 6853150"/>
              <a:gd name="connsiteX190" fmla="*/ 0 w 324091"/>
              <a:gd name="connsiteY190" fmla="*/ 1192484 h 6853150"/>
              <a:gd name="connsiteX191" fmla="*/ 173216 w 324091"/>
              <a:gd name="connsiteY191" fmla="*/ 1192484 h 6853150"/>
              <a:gd name="connsiteX192" fmla="*/ 196076 w 324091"/>
              <a:gd name="connsiteY192" fmla="*/ 1215344 h 6853150"/>
              <a:gd name="connsiteX193" fmla="*/ 196075 w 324091"/>
              <a:gd name="connsiteY193" fmla="*/ 1215344 h 6853150"/>
              <a:gd name="connsiteX194" fmla="*/ 173215 w 324091"/>
              <a:gd name="connsiteY194" fmla="*/ 1238205 h 6853150"/>
              <a:gd name="connsiteX195" fmla="*/ 0 w 324091"/>
              <a:gd name="connsiteY195" fmla="*/ 1238205 h 6853150"/>
              <a:gd name="connsiteX196" fmla="*/ 0 w 324091"/>
              <a:gd name="connsiteY196" fmla="*/ 1038956 h 6853150"/>
              <a:gd name="connsiteX197" fmla="*/ 81776 w 324091"/>
              <a:gd name="connsiteY197" fmla="*/ 1038956 h 6853150"/>
              <a:gd name="connsiteX198" fmla="*/ 104636 w 324091"/>
              <a:gd name="connsiteY198" fmla="*/ 1061817 h 6853150"/>
              <a:gd name="connsiteX199" fmla="*/ 104635 w 324091"/>
              <a:gd name="connsiteY199" fmla="*/ 1061817 h 6853150"/>
              <a:gd name="connsiteX200" fmla="*/ 81775 w 324091"/>
              <a:gd name="connsiteY200" fmla="*/ 1084677 h 6853150"/>
              <a:gd name="connsiteX201" fmla="*/ 0 w 324091"/>
              <a:gd name="connsiteY201" fmla="*/ 1084677 h 6853150"/>
              <a:gd name="connsiteX202" fmla="*/ 0 w 324091"/>
              <a:gd name="connsiteY202" fmla="*/ 841173 h 6853150"/>
              <a:gd name="connsiteX203" fmla="*/ 279104 w 324091"/>
              <a:gd name="connsiteY203" fmla="*/ 841173 h 6853150"/>
              <a:gd name="connsiteX204" fmla="*/ 324091 w 324091"/>
              <a:gd name="connsiteY204" fmla="*/ 886160 h 6853150"/>
              <a:gd name="connsiteX205" fmla="*/ 279104 w 324091"/>
              <a:gd name="connsiteY205" fmla="*/ 931147 h 6853150"/>
              <a:gd name="connsiteX206" fmla="*/ 0 w 324091"/>
              <a:gd name="connsiteY206" fmla="*/ 931147 h 6853150"/>
              <a:gd name="connsiteX207" fmla="*/ 0 w 324091"/>
              <a:gd name="connsiteY207" fmla="*/ 663334 h 6853150"/>
              <a:gd name="connsiteX208" fmla="*/ 81776 w 324091"/>
              <a:gd name="connsiteY208" fmla="*/ 663334 h 6853150"/>
              <a:gd name="connsiteX209" fmla="*/ 104636 w 324091"/>
              <a:gd name="connsiteY209" fmla="*/ 686194 h 6853150"/>
              <a:gd name="connsiteX210" fmla="*/ 104635 w 324091"/>
              <a:gd name="connsiteY210" fmla="*/ 686194 h 6853150"/>
              <a:gd name="connsiteX211" fmla="*/ 81775 w 324091"/>
              <a:gd name="connsiteY211" fmla="*/ 709054 h 6853150"/>
              <a:gd name="connsiteX212" fmla="*/ 0 w 324091"/>
              <a:gd name="connsiteY212" fmla="*/ 709054 h 6853150"/>
              <a:gd name="connsiteX213" fmla="*/ 0 w 324091"/>
              <a:gd name="connsiteY213" fmla="*/ 509806 h 6853150"/>
              <a:gd name="connsiteX214" fmla="*/ 173216 w 324091"/>
              <a:gd name="connsiteY214" fmla="*/ 509806 h 6853150"/>
              <a:gd name="connsiteX215" fmla="*/ 196076 w 324091"/>
              <a:gd name="connsiteY215" fmla="*/ 532666 h 6853150"/>
              <a:gd name="connsiteX216" fmla="*/ 196075 w 324091"/>
              <a:gd name="connsiteY216" fmla="*/ 532666 h 6853150"/>
              <a:gd name="connsiteX217" fmla="*/ 173215 w 324091"/>
              <a:gd name="connsiteY217" fmla="*/ 555526 h 6853150"/>
              <a:gd name="connsiteX218" fmla="*/ 0 w 324091"/>
              <a:gd name="connsiteY218" fmla="*/ 555526 h 6853150"/>
              <a:gd name="connsiteX219" fmla="*/ 0 w 324091"/>
              <a:gd name="connsiteY219" fmla="*/ 356279 h 6853150"/>
              <a:gd name="connsiteX220" fmla="*/ 81776 w 324091"/>
              <a:gd name="connsiteY220" fmla="*/ 356279 h 6853150"/>
              <a:gd name="connsiteX221" fmla="*/ 104636 w 324091"/>
              <a:gd name="connsiteY221" fmla="*/ 379139 h 6853150"/>
              <a:gd name="connsiteX222" fmla="*/ 104635 w 324091"/>
              <a:gd name="connsiteY222" fmla="*/ 379139 h 6853150"/>
              <a:gd name="connsiteX223" fmla="*/ 81775 w 324091"/>
              <a:gd name="connsiteY223" fmla="*/ 401999 h 6853150"/>
              <a:gd name="connsiteX224" fmla="*/ 0 w 324091"/>
              <a:gd name="connsiteY224" fmla="*/ 401999 h 6853150"/>
              <a:gd name="connsiteX225" fmla="*/ 0 w 324091"/>
              <a:gd name="connsiteY225" fmla="*/ 158496 h 6853150"/>
              <a:gd name="connsiteX226" fmla="*/ 279104 w 324091"/>
              <a:gd name="connsiteY226" fmla="*/ 158496 h 6853150"/>
              <a:gd name="connsiteX227" fmla="*/ 324091 w 324091"/>
              <a:gd name="connsiteY227" fmla="*/ 203483 h 6853150"/>
              <a:gd name="connsiteX228" fmla="*/ 279104 w 324091"/>
              <a:gd name="connsiteY228" fmla="*/ 248470 h 6853150"/>
              <a:gd name="connsiteX229" fmla="*/ 0 w 324091"/>
              <a:gd name="connsiteY229" fmla="*/ 248470 h 6853150"/>
              <a:gd name="connsiteX230" fmla="*/ 0 w 324091"/>
              <a:gd name="connsiteY230" fmla="*/ 0 h 6853150"/>
              <a:gd name="connsiteX231" fmla="*/ 81776 w 324091"/>
              <a:gd name="connsiteY231" fmla="*/ 0 h 6853150"/>
              <a:gd name="connsiteX232" fmla="*/ 104636 w 324091"/>
              <a:gd name="connsiteY232" fmla="*/ 22860 h 6853150"/>
              <a:gd name="connsiteX233" fmla="*/ 104635 w 324091"/>
              <a:gd name="connsiteY233" fmla="*/ 22860 h 6853150"/>
              <a:gd name="connsiteX234" fmla="*/ 81775 w 324091"/>
              <a:gd name="connsiteY234" fmla="*/ 45720 h 6853150"/>
              <a:gd name="connsiteX235" fmla="*/ 0 w 324091"/>
              <a:gd name="connsiteY235" fmla="*/ 45720 h 6853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</a:cxnLst>
            <a:rect l="l" t="t" r="r" b="b"/>
            <a:pathLst>
              <a:path w="324091" h="6853150">
                <a:moveTo>
                  <a:pt x="0" y="6807430"/>
                </a:moveTo>
                <a:lnTo>
                  <a:pt x="81776" y="6807430"/>
                </a:lnTo>
                <a:cubicBezTo>
                  <a:pt x="94401" y="6807430"/>
                  <a:pt x="104636" y="6817665"/>
                  <a:pt x="104636" y="6830290"/>
                </a:cubicBezTo>
                <a:lnTo>
                  <a:pt x="104635" y="6830290"/>
                </a:lnTo>
                <a:cubicBezTo>
                  <a:pt x="104635" y="6842915"/>
                  <a:pt x="94400" y="6853150"/>
                  <a:pt x="81775" y="6853150"/>
                </a:cubicBezTo>
                <a:lnTo>
                  <a:pt x="0" y="6853150"/>
                </a:lnTo>
                <a:close/>
                <a:moveTo>
                  <a:pt x="0" y="6653902"/>
                </a:moveTo>
                <a:lnTo>
                  <a:pt x="173216" y="6653902"/>
                </a:lnTo>
                <a:cubicBezTo>
                  <a:pt x="185841" y="6653902"/>
                  <a:pt x="196076" y="6664137"/>
                  <a:pt x="196076" y="6676762"/>
                </a:cubicBezTo>
                <a:lnTo>
                  <a:pt x="196075" y="6676762"/>
                </a:lnTo>
                <a:cubicBezTo>
                  <a:pt x="196075" y="6689387"/>
                  <a:pt x="185840" y="6699622"/>
                  <a:pt x="173215" y="6699622"/>
                </a:cubicBezTo>
                <a:lnTo>
                  <a:pt x="0" y="6699622"/>
                </a:lnTo>
                <a:close/>
                <a:moveTo>
                  <a:pt x="0" y="6500374"/>
                </a:moveTo>
                <a:lnTo>
                  <a:pt x="81776" y="6500374"/>
                </a:lnTo>
                <a:cubicBezTo>
                  <a:pt x="94401" y="6500374"/>
                  <a:pt x="104636" y="6510609"/>
                  <a:pt x="104636" y="6523234"/>
                </a:cubicBezTo>
                <a:lnTo>
                  <a:pt x="104635" y="6523234"/>
                </a:lnTo>
                <a:cubicBezTo>
                  <a:pt x="104635" y="6535859"/>
                  <a:pt x="94400" y="6546094"/>
                  <a:pt x="81775" y="6546094"/>
                </a:cubicBezTo>
                <a:lnTo>
                  <a:pt x="0" y="6546094"/>
                </a:lnTo>
                <a:close/>
                <a:moveTo>
                  <a:pt x="0" y="6302591"/>
                </a:moveTo>
                <a:lnTo>
                  <a:pt x="279104" y="6302591"/>
                </a:lnTo>
                <a:cubicBezTo>
                  <a:pt x="303950" y="6302591"/>
                  <a:pt x="324091" y="6322732"/>
                  <a:pt x="324091" y="6347578"/>
                </a:cubicBezTo>
                <a:cubicBezTo>
                  <a:pt x="324091" y="6372424"/>
                  <a:pt x="303950" y="6392565"/>
                  <a:pt x="279104" y="6392565"/>
                </a:cubicBezTo>
                <a:lnTo>
                  <a:pt x="0" y="6392565"/>
                </a:lnTo>
                <a:close/>
                <a:moveTo>
                  <a:pt x="0" y="6124755"/>
                </a:moveTo>
                <a:lnTo>
                  <a:pt x="81776" y="6124755"/>
                </a:lnTo>
                <a:cubicBezTo>
                  <a:pt x="94401" y="6124755"/>
                  <a:pt x="104636" y="6134990"/>
                  <a:pt x="104636" y="6147615"/>
                </a:cubicBezTo>
                <a:lnTo>
                  <a:pt x="104635" y="6147615"/>
                </a:lnTo>
                <a:cubicBezTo>
                  <a:pt x="104635" y="6160240"/>
                  <a:pt x="94400" y="6170475"/>
                  <a:pt x="81775" y="6170475"/>
                </a:cubicBezTo>
                <a:lnTo>
                  <a:pt x="0" y="6170475"/>
                </a:lnTo>
                <a:close/>
                <a:moveTo>
                  <a:pt x="0" y="5971227"/>
                </a:moveTo>
                <a:lnTo>
                  <a:pt x="173216" y="5971227"/>
                </a:lnTo>
                <a:cubicBezTo>
                  <a:pt x="185841" y="5971227"/>
                  <a:pt x="196076" y="5981462"/>
                  <a:pt x="196076" y="5994087"/>
                </a:cubicBezTo>
                <a:lnTo>
                  <a:pt x="196075" y="5994087"/>
                </a:lnTo>
                <a:cubicBezTo>
                  <a:pt x="196075" y="6006712"/>
                  <a:pt x="185840" y="6016947"/>
                  <a:pt x="173215" y="6016947"/>
                </a:cubicBezTo>
                <a:lnTo>
                  <a:pt x="0" y="6016947"/>
                </a:lnTo>
                <a:close/>
                <a:moveTo>
                  <a:pt x="0" y="5817699"/>
                </a:moveTo>
                <a:lnTo>
                  <a:pt x="81776" y="5817699"/>
                </a:lnTo>
                <a:cubicBezTo>
                  <a:pt x="94401" y="5817699"/>
                  <a:pt x="104636" y="5827934"/>
                  <a:pt x="104636" y="5840559"/>
                </a:cubicBezTo>
                <a:lnTo>
                  <a:pt x="104635" y="5840559"/>
                </a:lnTo>
                <a:cubicBezTo>
                  <a:pt x="104635" y="5853184"/>
                  <a:pt x="94400" y="5863419"/>
                  <a:pt x="81775" y="5863419"/>
                </a:cubicBezTo>
                <a:lnTo>
                  <a:pt x="0" y="5863419"/>
                </a:lnTo>
                <a:close/>
                <a:moveTo>
                  <a:pt x="0" y="5619916"/>
                </a:moveTo>
                <a:lnTo>
                  <a:pt x="279104" y="5619916"/>
                </a:lnTo>
                <a:cubicBezTo>
                  <a:pt x="303950" y="5619916"/>
                  <a:pt x="324091" y="5640057"/>
                  <a:pt x="324091" y="5664903"/>
                </a:cubicBezTo>
                <a:cubicBezTo>
                  <a:pt x="324091" y="5689749"/>
                  <a:pt x="303950" y="5709890"/>
                  <a:pt x="279104" y="5709890"/>
                </a:cubicBezTo>
                <a:lnTo>
                  <a:pt x="0" y="5709890"/>
                </a:lnTo>
                <a:close/>
                <a:moveTo>
                  <a:pt x="0" y="5442077"/>
                </a:moveTo>
                <a:lnTo>
                  <a:pt x="81776" y="5442077"/>
                </a:lnTo>
                <a:cubicBezTo>
                  <a:pt x="94401" y="5442077"/>
                  <a:pt x="104636" y="5452312"/>
                  <a:pt x="104636" y="5464937"/>
                </a:cubicBezTo>
                <a:lnTo>
                  <a:pt x="104635" y="5464937"/>
                </a:lnTo>
                <a:cubicBezTo>
                  <a:pt x="104635" y="5477562"/>
                  <a:pt x="94400" y="5487797"/>
                  <a:pt x="81775" y="5487797"/>
                </a:cubicBezTo>
                <a:lnTo>
                  <a:pt x="0" y="5487797"/>
                </a:lnTo>
                <a:close/>
                <a:moveTo>
                  <a:pt x="0" y="5288549"/>
                </a:moveTo>
                <a:lnTo>
                  <a:pt x="173216" y="5288549"/>
                </a:lnTo>
                <a:cubicBezTo>
                  <a:pt x="185841" y="5288549"/>
                  <a:pt x="196076" y="5298784"/>
                  <a:pt x="196076" y="5311409"/>
                </a:cubicBezTo>
                <a:lnTo>
                  <a:pt x="196075" y="5311409"/>
                </a:lnTo>
                <a:cubicBezTo>
                  <a:pt x="196075" y="5324034"/>
                  <a:pt x="185840" y="5334269"/>
                  <a:pt x="173215" y="5334269"/>
                </a:cubicBezTo>
                <a:lnTo>
                  <a:pt x="0" y="5334269"/>
                </a:lnTo>
                <a:close/>
                <a:moveTo>
                  <a:pt x="0" y="5135021"/>
                </a:moveTo>
                <a:lnTo>
                  <a:pt x="81776" y="5135021"/>
                </a:lnTo>
                <a:cubicBezTo>
                  <a:pt x="94401" y="5135021"/>
                  <a:pt x="104636" y="5145256"/>
                  <a:pt x="104636" y="5157881"/>
                </a:cubicBezTo>
                <a:lnTo>
                  <a:pt x="104635" y="5157881"/>
                </a:lnTo>
                <a:cubicBezTo>
                  <a:pt x="104635" y="5170506"/>
                  <a:pt x="94400" y="5180741"/>
                  <a:pt x="81775" y="5180741"/>
                </a:cubicBezTo>
                <a:lnTo>
                  <a:pt x="0" y="5180741"/>
                </a:lnTo>
                <a:close/>
                <a:moveTo>
                  <a:pt x="0" y="4937238"/>
                </a:moveTo>
                <a:lnTo>
                  <a:pt x="279104" y="4937238"/>
                </a:lnTo>
                <a:cubicBezTo>
                  <a:pt x="303950" y="4937238"/>
                  <a:pt x="324091" y="4957379"/>
                  <a:pt x="324091" y="4982225"/>
                </a:cubicBezTo>
                <a:cubicBezTo>
                  <a:pt x="324091" y="5007071"/>
                  <a:pt x="303950" y="5027212"/>
                  <a:pt x="279104" y="5027212"/>
                </a:cubicBezTo>
                <a:lnTo>
                  <a:pt x="0" y="5027212"/>
                </a:lnTo>
                <a:close/>
                <a:moveTo>
                  <a:pt x="0" y="4759399"/>
                </a:moveTo>
                <a:lnTo>
                  <a:pt x="81776" y="4759399"/>
                </a:lnTo>
                <a:cubicBezTo>
                  <a:pt x="94401" y="4759399"/>
                  <a:pt x="104636" y="4769634"/>
                  <a:pt x="104636" y="4782259"/>
                </a:cubicBezTo>
                <a:lnTo>
                  <a:pt x="104635" y="4782259"/>
                </a:lnTo>
                <a:cubicBezTo>
                  <a:pt x="104635" y="4794884"/>
                  <a:pt x="94400" y="4805119"/>
                  <a:pt x="81775" y="4805119"/>
                </a:cubicBezTo>
                <a:lnTo>
                  <a:pt x="0" y="4805119"/>
                </a:lnTo>
                <a:close/>
                <a:moveTo>
                  <a:pt x="0" y="4605871"/>
                </a:moveTo>
                <a:lnTo>
                  <a:pt x="173216" y="4605871"/>
                </a:lnTo>
                <a:cubicBezTo>
                  <a:pt x="185841" y="4605871"/>
                  <a:pt x="196076" y="4616106"/>
                  <a:pt x="196076" y="4628731"/>
                </a:cubicBezTo>
                <a:lnTo>
                  <a:pt x="196075" y="4628731"/>
                </a:lnTo>
                <a:cubicBezTo>
                  <a:pt x="196075" y="4641356"/>
                  <a:pt x="185840" y="4651591"/>
                  <a:pt x="173215" y="4651591"/>
                </a:cubicBezTo>
                <a:lnTo>
                  <a:pt x="0" y="4651591"/>
                </a:lnTo>
                <a:close/>
                <a:moveTo>
                  <a:pt x="0" y="4452343"/>
                </a:moveTo>
                <a:lnTo>
                  <a:pt x="81776" y="4452343"/>
                </a:lnTo>
                <a:cubicBezTo>
                  <a:pt x="94401" y="4452343"/>
                  <a:pt x="104636" y="4462578"/>
                  <a:pt x="104636" y="4475203"/>
                </a:cubicBezTo>
                <a:lnTo>
                  <a:pt x="104635" y="4475203"/>
                </a:lnTo>
                <a:cubicBezTo>
                  <a:pt x="104635" y="4487828"/>
                  <a:pt x="94400" y="4498063"/>
                  <a:pt x="81775" y="4498063"/>
                </a:cubicBezTo>
                <a:lnTo>
                  <a:pt x="0" y="4498063"/>
                </a:lnTo>
                <a:close/>
                <a:moveTo>
                  <a:pt x="0" y="4254560"/>
                </a:moveTo>
                <a:lnTo>
                  <a:pt x="279104" y="4254560"/>
                </a:lnTo>
                <a:cubicBezTo>
                  <a:pt x="303950" y="4254560"/>
                  <a:pt x="324091" y="4274701"/>
                  <a:pt x="324091" y="4299547"/>
                </a:cubicBezTo>
                <a:cubicBezTo>
                  <a:pt x="324091" y="4324393"/>
                  <a:pt x="303950" y="4344534"/>
                  <a:pt x="279104" y="4344534"/>
                </a:cubicBezTo>
                <a:lnTo>
                  <a:pt x="0" y="4344534"/>
                </a:lnTo>
                <a:close/>
                <a:moveTo>
                  <a:pt x="0" y="4076721"/>
                </a:moveTo>
                <a:lnTo>
                  <a:pt x="81776" y="4076721"/>
                </a:lnTo>
                <a:cubicBezTo>
                  <a:pt x="94401" y="4076721"/>
                  <a:pt x="104636" y="4086956"/>
                  <a:pt x="104636" y="4099581"/>
                </a:cubicBezTo>
                <a:lnTo>
                  <a:pt x="104635" y="4099581"/>
                </a:lnTo>
                <a:cubicBezTo>
                  <a:pt x="104635" y="4112206"/>
                  <a:pt x="94400" y="4122441"/>
                  <a:pt x="81775" y="4122441"/>
                </a:cubicBezTo>
                <a:lnTo>
                  <a:pt x="0" y="4122441"/>
                </a:lnTo>
                <a:close/>
                <a:moveTo>
                  <a:pt x="0" y="3923193"/>
                </a:moveTo>
                <a:lnTo>
                  <a:pt x="173216" y="3923193"/>
                </a:lnTo>
                <a:cubicBezTo>
                  <a:pt x="185841" y="3923193"/>
                  <a:pt x="196076" y="3933428"/>
                  <a:pt x="196076" y="3946053"/>
                </a:cubicBezTo>
                <a:lnTo>
                  <a:pt x="196075" y="3946053"/>
                </a:lnTo>
                <a:cubicBezTo>
                  <a:pt x="196075" y="3958678"/>
                  <a:pt x="185840" y="3968913"/>
                  <a:pt x="173215" y="3968913"/>
                </a:cubicBezTo>
                <a:lnTo>
                  <a:pt x="0" y="3968913"/>
                </a:lnTo>
                <a:close/>
                <a:moveTo>
                  <a:pt x="0" y="3769665"/>
                </a:moveTo>
                <a:lnTo>
                  <a:pt x="81776" y="3769665"/>
                </a:lnTo>
                <a:cubicBezTo>
                  <a:pt x="94401" y="3769665"/>
                  <a:pt x="104636" y="3779900"/>
                  <a:pt x="104636" y="3792525"/>
                </a:cubicBezTo>
                <a:lnTo>
                  <a:pt x="104635" y="3792525"/>
                </a:lnTo>
                <a:cubicBezTo>
                  <a:pt x="104635" y="3805150"/>
                  <a:pt x="94400" y="3815385"/>
                  <a:pt x="81775" y="3815385"/>
                </a:cubicBezTo>
                <a:lnTo>
                  <a:pt x="0" y="3815385"/>
                </a:lnTo>
                <a:close/>
                <a:moveTo>
                  <a:pt x="0" y="3571882"/>
                </a:moveTo>
                <a:lnTo>
                  <a:pt x="279104" y="3571882"/>
                </a:lnTo>
                <a:cubicBezTo>
                  <a:pt x="303950" y="3571882"/>
                  <a:pt x="324091" y="3592023"/>
                  <a:pt x="324091" y="3616869"/>
                </a:cubicBezTo>
                <a:cubicBezTo>
                  <a:pt x="324091" y="3641715"/>
                  <a:pt x="303950" y="3661856"/>
                  <a:pt x="279104" y="3661856"/>
                </a:cubicBezTo>
                <a:lnTo>
                  <a:pt x="0" y="3661856"/>
                </a:lnTo>
                <a:close/>
                <a:moveTo>
                  <a:pt x="0" y="3394043"/>
                </a:moveTo>
                <a:lnTo>
                  <a:pt x="81776" y="3394043"/>
                </a:lnTo>
                <a:cubicBezTo>
                  <a:pt x="94401" y="3394043"/>
                  <a:pt x="104636" y="3404279"/>
                  <a:pt x="104636" y="3416905"/>
                </a:cubicBezTo>
                <a:lnTo>
                  <a:pt x="104635" y="3416905"/>
                </a:lnTo>
                <a:cubicBezTo>
                  <a:pt x="104635" y="3429528"/>
                  <a:pt x="94400" y="3439763"/>
                  <a:pt x="81775" y="3439763"/>
                </a:cubicBezTo>
                <a:lnTo>
                  <a:pt x="0" y="3439763"/>
                </a:lnTo>
                <a:close/>
                <a:moveTo>
                  <a:pt x="0" y="3240516"/>
                </a:moveTo>
                <a:lnTo>
                  <a:pt x="173216" y="3240516"/>
                </a:lnTo>
                <a:cubicBezTo>
                  <a:pt x="185841" y="3240516"/>
                  <a:pt x="196076" y="3250752"/>
                  <a:pt x="196076" y="3263376"/>
                </a:cubicBezTo>
                <a:lnTo>
                  <a:pt x="196075" y="3263376"/>
                </a:lnTo>
                <a:cubicBezTo>
                  <a:pt x="196075" y="3276001"/>
                  <a:pt x="185840" y="3286236"/>
                  <a:pt x="173215" y="3286236"/>
                </a:cubicBezTo>
                <a:lnTo>
                  <a:pt x="0" y="3286236"/>
                </a:lnTo>
                <a:close/>
                <a:moveTo>
                  <a:pt x="0" y="3086989"/>
                </a:moveTo>
                <a:lnTo>
                  <a:pt x="81776" y="3086989"/>
                </a:lnTo>
                <a:cubicBezTo>
                  <a:pt x="94401" y="3086989"/>
                  <a:pt x="104636" y="3097224"/>
                  <a:pt x="104636" y="3109849"/>
                </a:cubicBezTo>
                <a:lnTo>
                  <a:pt x="104635" y="3109849"/>
                </a:lnTo>
                <a:cubicBezTo>
                  <a:pt x="104635" y="3122474"/>
                  <a:pt x="94400" y="3132709"/>
                  <a:pt x="81775" y="3132709"/>
                </a:cubicBezTo>
                <a:lnTo>
                  <a:pt x="0" y="3132709"/>
                </a:lnTo>
                <a:close/>
                <a:moveTo>
                  <a:pt x="0" y="2889206"/>
                </a:moveTo>
                <a:lnTo>
                  <a:pt x="279104" y="2889206"/>
                </a:lnTo>
                <a:cubicBezTo>
                  <a:pt x="303950" y="2889206"/>
                  <a:pt x="324091" y="2909347"/>
                  <a:pt x="324091" y="2934194"/>
                </a:cubicBezTo>
                <a:cubicBezTo>
                  <a:pt x="324091" y="2959039"/>
                  <a:pt x="303950" y="2979180"/>
                  <a:pt x="279104" y="2979180"/>
                </a:cubicBezTo>
                <a:lnTo>
                  <a:pt x="0" y="2979180"/>
                </a:lnTo>
                <a:close/>
                <a:moveTo>
                  <a:pt x="0" y="2711367"/>
                </a:moveTo>
                <a:lnTo>
                  <a:pt x="81776" y="2711367"/>
                </a:lnTo>
                <a:cubicBezTo>
                  <a:pt x="94401" y="2711367"/>
                  <a:pt x="104636" y="2721602"/>
                  <a:pt x="104636" y="2734227"/>
                </a:cubicBezTo>
                <a:lnTo>
                  <a:pt x="104635" y="2734227"/>
                </a:lnTo>
                <a:cubicBezTo>
                  <a:pt x="104635" y="2746852"/>
                  <a:pt x="94400" y="2757087"/>
                  <a:pt x="81775" y="2757087"/>
                </a:cubicBezTo>
                <a:lnTo>
                  <a:pt x="0" y="2757087"/>
                </a:lnTo>
                <a:close/>
                <a:moveTo>
                  <a:pt x="0" y="2557839"/>
                </a:moveTo>
                <a:lnTo>
                  <a:pt x="173216" y="2557839"/>
                </a:lnTo>
                <a:cubicBezTo>
                  <a:pt x="185841" y="2557839"/>
                  <a:pt x="196076" y="2568074"/>
                  <a:pt x="196076" y="2580699"/>
                </a:cubicBezTo>
                <a:lnTo>
                  <a:pt x="196075" y="2580699"/>
                </a:lnTo>
                <a:cubicBezTo>
                  <a:pt x="196075" y="2593324"/>
                  <a:pt x="185840" y="2603559"/>
                  <a:pt x="173215" y="2603559"/>
                </a:cubicBezTo>
                <a:lnTo>
                  <a:pt x="0" y="2603559"/>
                </a:lnTo>
                <a:close/>
                <a:moveTo>
                  <a:pt x="0" y="2404312"/>
                </a:moveTo>
                <a:lnTo>
                  <a:pt x="81776" y="2404312"/>
                </a:lnTo>
                <a:cubicBezTo>
                  <a:pt x="94401" y="2404312"/>
                  <a:pt x="104636" y="2414546"/>
                  <a:pt x="104636" y="2427171"/>
                </a:cubicBezTo>
                <a:lnTo>
                  <a:pt x="104635" y="2427171"/>
                </a:lnTo>
                <a:cubicBezTo>
                  <a:pt x="104635" y="2439796"/>
                  <a:pt x="94400" y="2450032"/>
                  <a:pt x="81775" y="2450032"/>
                </a:cubicBezTo>
                <a:lnTo>
                  <a:pt x="0" y="2450032"/>
                </a:lnTo>
                <a:close/>
                <a:moveTo>
                  <a:pt x="0" y="2206528"/>
                </a:moveTo>
                <a:lnTo>
                  <a:pt x="279104" y="2206528"/>
                </a:lnTo>
                <a:cubicBezTo>
                  <a:pt x="303950" y="2206528"/>
                  <a:pt x="324091" y="2226669"/>
                  <a:pt x="324091" y="2251515"/>
                </a:cubicBezTo>
                <a:cubicBezTo>
                  <a:pt x="324091" y="2276362"/>
                  <a:pt x="303950" y="2296503"/>
                  <a:pt x="279104" y="2296503"/>
                </a:cubicBezTo>
                <a:lnTo>
                  <a:pt x="0" y="2296503"/>
                </a:lnTo>
                <a:close/>
                <a:moveTo>
                  <a:pt x="0" y="2028689"/>
                </a:moveTo>
                <a:lnTo>
                  <a:pt x="81776" y="2028689"/>
                </a:lnTo>
                <a:cubicBezTo>
                  <a:pt x="94401" y="2028689"/>
                  <a:pt x="104636" y="2038925"/>
                  <a:pt x="104636" y="2051550"/>
                </a:cubicBezTo>
                <a:lnTo>
                  <a:pt x="104635" y="2051550"/>
                </a:lnTo>
                <a:cubicBezTo>
                  <a:pt x="104635" y="2064175"/>
                  <a:pt x="94400" y="2074409"/>
                  <a:pt x="81775" y="2074409"/>
                </a:cubicBezTo>
                <a:lnTo>
                  <a:pt x="0" y="2074409"/>
                </a:lnTo>
                <a:close/>
                <a:moveTo>
                  <a:pt x="0" y="1875162"/>
                </a:moveTo>
                <a:lnTo>
                  <a:pt x="173216" y="1875162"/>
                </a:lnTo>
                <a:cubicBezTo>
                  <a:pt x="185841" y="1875162"/>
                  <a:pt x="196076" y="1885397"/>
                  <a:pt x="196076" y="1898022"/>
                </a:cubicBezTo>
                <a:lnTo>
                  <a:pt x="196075" y="1898022"/>
                </a:lnTo>
                <a:cubicBezTo>
                  <a:pt x="196075" y="1910647"/>
                  <a:pt x="185840" y="1920882"/>
                  <a:pt x="173215" y="1920882"/>
                </a:cubicBezTo>
                <a:lnTo>
                  <a:pt x="0" y="1920882"/>
                </a:lnTo>
                <a:close/>
                <a:moveTo>
                  <a:pt x="0" y="1721635"/>
                </a:moveTo>
                <a:lnTo>
                  <a:pt x="81776" y="1721635"/>
                </a:lnTo>
                <a:cubicBezTo>
                  <a:pt x="94401" y="1721635"/>
                  <a:pt x="104636" y="1731870"/>
                  <a:pt x="104636" y="1744495"/>
                </a:cubicBezTo>
                <a:lnTo>
                  <a:pt x="104635" y="1744495"/>
                </a:lnTo>
                <a:cubicBezTo>
                  <a:pt x="104635" y="1757120"/>
                  <a:pt x="94400" y="1767355"/>
                  <a:pt x="81775" y="1767355"/>
                </a:cubicBezTo>
                <a:lnTo>
                  <a:pt x="0" y="1767355"/>
                </a:lnTo>
                <a:close/>
                <a:moveTo>
                  <a:pt x="0" y="1523851"/>
                </a:moveTo>
                <a:lnTo>
                  <a:pt x="279104" y="1523851"/>
                </a:lnTo>
                <a:cubicBezTo>
                  <a:pt x="303950" y="1523851"/>
                  <a:pt x="324091" y="1543992"/>
                  <a:pt x="324091" y="1568838"/>
                </a:cubicBezTo>
                <a:cubicBezTo>
                  <a:pt x="324091" y="1593684"/>
                  <a:pt x="303950" y="1613826"/>
                  <a:pt x="279104" y="1613826"/>
                </a:cubicBezTo>
                <a:lnTo>
                  <a:pt x="0" y="1613826"/>
                </a:lnTo>
                <a:close/>
                <a:moveTo>
                  <a:pt x="0" y="1346012"/>
                </a:moveTo>
                <a:lnTo>
                  <a:pt x="81776" y="1346012"/>
                </a:lnTo>
                <a:cubicBezTo>
                  <a:pt x="94401" y="1346012"/>
                  <a:pt x="104636" y="1356247"/>
                  <a:pt x="104636" y="1368872"/>
                </a:cubicBezTo>
                <a:lnTo>
                  <a:pt x="104635" y="1368872"/>
                </a:lnTo>
                <a:cubicBezTo>
                  <a:pt x="104635" y="1381497"/>
                  <a:pt x="94400" y="1391732"/>
                  <a:pt x="81775" y="1391732"/>
                </a:cubicBezTo>
                <a:lnTo>
                  <a:pt x="0" y="1391732"/>
                </a:lnTo>
                <a:close/>
                <a:moveTo>
                  <a:pt x="0" y="1192484"/>
                </a:moveTo>
                <a:lnTo>
                  <a:pt x="173216" y="1192484"/>
                </a:lnTo>
                <a:cubicBezTo>
                  <a:pt x="185841" y="1192484"/>
                  <a:pt x="196076" y="1202719"/>
                  <a:pt x="196076" y="1215344"/>
                </a:cubicBezTo>
                <a:lnTo>
                  <a:pt x="196075" y="1215344"/>
                </a:lnTo>
                <a:cubicBezTo>
                  <a:pt x="196075" y="1227969"/>
                  <a:pt x="185840" y="1238205"/>
                  <a:pt x="173215" y="1238205"/>
                </a:cubicBezTo>
                <a:lnTo>
                  <a:pt x="0" y="1238205"/>
                </a:lnTo>
                <a:close/>
                <a:moveTo>
                  <a:pt x="0" y="1038956"/>
                </a:moveTo>
                <a:lnTo>
                  <a:pt x="81776" y="1038956"/>
                </a:lnTo>
                <a:cubicBezTo>
                  <a:pt x="94401" y="1038956"/>
                  <a:pt x="104636" y="1049192"/>
                  <a:pt x="104636" y="1061817"/>
                </a:cubicBezTo>
                <a:lnTo>
                  <a:pt x="104635" y="1061817"/>
                </a:lnTo>
                <a:cubicBezTo>
                  <a:pt x="104635" y="1074442"/>
                  <a:pt x="94400" y="1084677"/>
                  <a:pt x="81775" y="1084677"/>
                </a:cubicBezTo>
                <a:lnTo>
                  <a:pt x="0" y="1084677"/>
                </a:lnTo>
                <a:close/>
                <a:moveTo>
                  <a:pt x="0" y="841173"/>
                </a:moveTo>
                <a:lnTo>
                  <a:pt x="279104" y="841173"/>
                </a:lnTo>
                <a:cubicBezTo>
                  <a:pt x="303950" y="841173"/>
                  <a:pt x="324091" y="861314"/>
                  <a:pt x="324091" y="886160"/>
                </a:cubicBezTo>
                <a:cubicBezTo>
                  <a:pt x="324091" y="911007"/>
                  <a:pt x="303950" y="931147"/>
                  <a:pt x="279104" y="931147"/>
                </a:cubicBezTo>
                <a:lnTo>
                  <a:pt x="0" y="931147"/>
                </a:lnTo>
                <a:close/>
                <a:moveTo>
                  <a:pt x="0" y="663334"/>
                </a:moveTo>
                <a:lnTo>
                  <a:pt x="81776" y="663334"/>
                </a:lnTo>
                <a:cubicBezTo>
                  <a:pt x="94401" y="663334"/>
                  <a:pt x="104636" y="673569"/>
                  <a:pt x="104636" y="686194"/>
                </a:cubicBezTo>
                <a:lnTo>
                  <a:pt x="104635" y="686194"/>
                </a:lnTo>
                <a:cubicBezTo>
                  <a:pt x="104635" y="698819"/>
                  <a:pt x="94400" y="709054"/>
                  <a:pt x="81775" y="709054"/>
                </a:cubicBezTo>
                <a:lnTo>
                  <a:pt x="0" y="709054"/>
                </a:lnTo>
                <a:close/>
                <a:moveTo>
                  <a:pt x="0" y="509806"/>
                </a:moveTo>
                <a:lnTo>
                  <a:pt x="173216" y="509806"/>
                </a:lnTo>
                <a:cubicBezTo>
                  <a:pt x="185841" y="509806"/>
                  <a:pt x="196076" y="520041"/>
                  <a:pt x="196076" y="532666"/>
                </a:cubicBezTo>
                <a:lnTo>
                  <a:pt x="196075" y="532666"/>
                </a:lnTo>
                <a:cubicBezTo>
                  <a:pt x="196075" y="545291"/>
                  <a:pt x="185840" y="555526"/>
                  <a:pt x="173215" y="555526"/>
                </a:cubicBezTo>
                <a:lnTo>
                  <a:pt x="0" y="555526"/>
                </a:lnTo>
                <a:close/>
                <a:moveTo>
                  <a:pt x="0" y="356279"/>
                </a:moveTo>
                <a:lnTo>
                  <a:pt x="81776" y="356279"/>
                </a:lnTo>
                <a:cubicBezTo>
                  <a:pt x="94401" y="356279"/>
                  <a:pt x="104636" y="366514"/>
                  <a:pt x="104636" y="379139"/>
                </a:cubicBezTo>
                <a:lnTo>
                  <a:pt x="104635" y="379139"/>
                </a:lnTo>
                <a:cubicBezTo>
                  <a:pt x="104635" y="391764"/>
                  <a:pt x="94400" y="401999"/>
                  <a:pt x="81775" y="401999"/>
                </a:cubicBezTo>
                <a:lnTo>
                  <a:pt x="0" y="401999"/>
                </a:lnTo>
                <a:close/>
                <a:moveTo>
                  <a:pt x="0" y="158496"/>
                </a:moveTo>
                <a:lnTo>
                  <a:pt x="279104" y="158496"/>
                </a:lnTo>
                <a:cubicBezTo>
                  <a:pt x="303950" y="158496"/>
                  <a:pt x="324091" y="178637"/>
                  <a:pt x="324091" y="203483"/>
                </a:cubicBezTo>
                <a:cubicBezTo>
                  <a:pt x="324091" y="228329"/>
                  <a:pt x="303950" y="248470"/>
                  <a:pt x="279104" y="248470"/>
                </a:cubicBezTo>
                <a:lnTo>
                  <a:pt x="0" y="248470"/>
                </a:lnTo>
                <a:close/>
                <a:moveTo>
                  <a:pt x="0" y="0"/>
                </a:moveTo>
                <a:lnTo>
                  <a:pt x="81776" y="0"/>
                </a:lnTo>
                <a:cubicBezTo>
                  <a:pt x="94401" y="0"/>
                  <a:pt x="104636" y="10235"/>
                  <a:pt x="104636" y="22860"/>
                </a:cubicBezTo>
                <a:lnTo>
                  <a:pt x="104635" y="22860"/>
                </a:lnTo>
                <a:cubicBezTo>
                  <a:pt x="104635" y="35485"/>
                  <a:pt x="94400" y="45720"/>
                  <a:pt x="81775" y="45720"/>
                </a:cubicBezTo>
                <a:lnTo>
                  <a:pt x="0" y="45720"/>
                </a:lnTo>
                <a:close/>
              </a:path>
            </a:pathLst>
          </a:custGeom>
          <a:solidFill>
            <a:schemeClr val="bg1">
              <a:alpha val="3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331113" y="2211598"/>
            <a:ext cx="9108607" cy="165576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3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DB3F733-F4EC-4D19-955A-73C9D9E06C74}"/>
              </a:ext>
            </a:extLst>
          </p:cNvPr>
          <p:cNvGrpSpPr/>
          <p:nvPr userDrawn="1"/>
        </p:nvGrpSpPr>
        <p:grpSpPr>
          <a:xfrm>
            <a:off x="11803080" y="979776"/>
            <a:ext cx="221196" cy="228600"/>
            <a:chOff x="11806154" y="979776"/>
            <a:chExt cx="221254" cy="228600"/>
          </a:xfrm>
        </p:grpSpPr>
        <p:sp>
          <p:nvSpPr>
            <p:cNvPr id="24" name="Round Same-side Corner of Rectangle 79">
              <a:extLst>
                <a:ext uri="{FF2B5EF4-FFF2-40B4-BE49-F238E27FC236}">
                  <a16:creationId xmlns:a16="http://schemas.microsoft.com/office/drawing/2014/main" id="{F6C86760-BE05-4062-A876-69C3A7702DC0}"/>
                </a:ext>
              </a:extLst>
            </p:cNvPr>
            <p:cNvSpPr/>
            <p:nvPr/>
          </p:nvSpPr>
          <p:spPr>
            <a:xfrm rot="5400000">
              <a:off x="11802481" y="983449"/>
              <a:ext cx="228600" cy="221254"/>
            </a:xfrm>
            <a:prstGeom prst="round2SameRect">
              <a:avLst>
                <a:gd name="adj1" fmla="val 0"/>
                <a:gd name="adj2" fmla="val 50000"/>
              </a:avLst>
            </a:prstGeom>
            <a:solidFill>
              <a:schemeClr val="tx2"/>
            </a:solidFill>
            <a:ln w="9525">
              <a:noFill/>
            </a:ln>
            <a:effectLst>
              <a:innerShdw blurRad="63500" dist="25400" dir="5400000">
                <a:prstClr val="black">
                  <a:alpha val="32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1CF0CD8D-A961-4DFC-82F2-86AD65CC17C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843840" y="1010005"/>
              <a:ext cx="155448" cy="155448"/>
            </a:xfrm>
            <a:prstGeom prst="rect">
              <a:avLst/>
            </a:prstGeom>
          </p:spPr>
        </p:pic>
      </p:grp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97FC48EA-7B9D-4CFF-B011-77FE4637913F}"/>
              </a:ext>
            </a:extLst>
          </p:cNvPr>
          <p:cNvSpPr/>
          <p:nvPr userDrawn="1"/>
        </p:nvSpPr>
        <p:spPr>
          <a:xfrm>
            <a:off x="558654" y="706397"/>
            <a:ext cx="4012155" cy="977900"/>
          </a:xfrm>
          <a:prstGeom prst="roundRect">
            <a:avLst>
              <a:gd name="adj" fmla="val 50000"/>
            </a:avLst>
          </a:prstGeom>
          <a:solidFill>
            <a:schemeClr val="bg1">
              <a:alpha val="39000"/>
            </a:schemeClr>
          </a:solidFill>
          <a:ln w="190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293027" y="552617"/>
            <a:ext cx="9385073" cy="1304513"/>
          </a:xfrm>
        </p:spPr>
        <p:txBody>
          <a:bodyPr anchor="ctr">
            <a:noAutofit/>
          </a:bodyPr>
          <a:lstStyle>
            <a:lvl1pPr algn="l">
              <a:defRPr sz="3999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2245C3B-0AB9-4C37-A82B-76BD07436AEC}"/>
              </a:ext>
            </a:extLst>
          </p:cNvPr>
          <p:cNvGrpSpPr/>
          <p:nvPr userDrawn="1"/>
        </p:nvGrpSpPr>
        <p:grpSpPr>
          <a:xfrm>
            <a:off x="908563" y="764248"/>
            <a:ext cx="531477" cy="802411"/>
            <a:chOff x="-3947158" y="1719597"/>
            <a:chExt cx="3385092" cy="5109416"/>
          </a:xfrm>
          <a:solidFill>
            <a:schemeClr val="bg1">
              <a:alpha val="80000"/>
            </a:schemeClr>
          </a:solidFill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B9BF94FF-40D3-48D4-82F9-2E5E6D477DB8}"/>
                </a:ext>
              </a:extLst>
            </p:cNvPr>
            <p:cNvSpPr/>
            <p:nvPr/>
          </p:nvSpPr>
          <p:spPr>
            <a:xfrm>
              <a:off x="-3624517" y="2322583"/>
              <a:ext cx="3062451" cy="218046"/>
            </a:xfrm>
            <a:prstGeom prst="rect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21CF226D-9ED8-4C7B-A6D9-0875E9A0D84E}"/>
                </a:ext>
              </a:extLst>
            </p:cNvPr>
            <p:cNvSpPr/>
            <p:nvPr/>
          </p:nvSpPr>
          <p:spPr>
            <a:xfrm>
              <a:off x="-3947158" y="3738067"/>
              <a:ext cx="1988090" cy="3089947"/>
            </a:xfrm>
            <a:custGeom>
              <a:avLst/>
              <a:gdLst>
                <a:gd name="connsiteX0" fmla="*/ 1536585 w 1988090"/>
                <a:gd name="connsiteY0" fmla="*/ 279 h 3089947"/>
                <a:gd name="connsiteX1" fmla="*/ 1493799 w 1988090"/>
                <a:gd name="connsiteY1" fmla="*/ 6084 h 3089947"/>
                <a:gd name="connsiteX2" fmla="*/ 994045 w 1988090"/>
                <a:gd name="connsiteY2" fmla="*/ 201257 h 3089947"/>
                <a:gd name="connsiteX3" fmla="*/ 494330 w 1988090"/>
                <a:gd name="connsiteY3" fmla="*/ 6122 h 3089947"/>
                <a:gd name="connsiteX4" fmla="*/ 451390 w 1988090"/>
                <a:gd name="connsiteY4" fmla="*/ 317 h 3089947"/>
                <a:gd name="connsiteX5" fmla="*/ 362549 w 1988090"/>
                <a:gd name="connsiteY5" fmla="*/ 12004 h 3089947"/>
                <a:gd name="connsiteX6" fmla="*/ 126819 w 1988090"/>
                <a:gd name="connsiteY6" fmla="*/ 305590 h 3089947"/>
                <a:gd name="connsiteX7" fmla="*/ 36 w 1988090"/>
                <a:gd name="connsiteY7" fmla="*/ 1551706 h 3089947"/>
                <a:gd name="connsiteX8" fmla="*/ 56470 w 1988090"/>
                <a:gd name="connsiteY8" fmla="*/ 1695481 h 3089947"/>
                <a:gd name="connsiteX9" fmla="*/ 198053 w 1988090"/>
                <a:gd name="connsiteY9" fmla="*/ 1757220 h 3089947"/>
                <a:gd name="connsiteX10" fmla="*/ 199975 w 1988090"/>
                <a:gd name="connsiteY10" fmla="*/ 1757258 h 3089947"/>
                <a:gd name="connsiteX11" fmla="*/ 201898 w 1988090"/>
                <a:gd name="connsiteY11" fmla="*/ 1757258 h 3089947"/>
                <a:gd name="connsiteX12" fmla="*/ 290969 w 1988090"/>
                <a:gd name="connsiteY12" fmla="*/ 1736154 h 3089947"/>
                <a:gd name="connsiteX13" fmla="*/ 359743 w 1988090"/>
                <a:gd name="connsiteY13" fmla="*/ 1679873 h 3089947"/>
                <a:gd name="connsiteX14" fmla="*/ 359743 w 1988090"/>
                <a:gd name="connsiteY14" fmla="*/ 2240751 h 3089947"/>
                <a:gd name="connsiteX15" fmla="*/ 359743 w 1988090"/>
                <a:gd name="connsiteY15" fmla="*/ 2801628 h 3089947"/>
                <a:gd name="connsiteX16" fmla="*/ 444201 w 1988090"/>
                <a:gd name="connsiteY16" fmla="*/ 3005489 h 3089947"/>
                <a:gd name="connsiteX17" fmla="*/ 648062 w 1988090"/>
                <a:gd name="connsiteY17" fmla="*/ 3089947 h 3089947"/>
                <a:gd name="connsiteX18" fmla="*/ 851923 w 1988090"/>
                <a:gd name="connsiteY18" fmla="*/ 3005489 h 3089947"/>
                <a:gd name="connsiteX19" fmla="*/ 936382 w 1988090"/>
                <a:gd name="connsiteY19" fmla="*/ 2801628 h 3089947"/>
                <a:gd name="connsiteX20" fmla="*/ 936382 w 1988090"/>
                <a:gd name="connsiteY20" fmla="*/ 2340317 h 3089947"/>
                <a:gd name="connsiteX21" fmla="*/ 936382 w 1988090"/>
                <a:gd name="connsiteY21" fmla="*/ 1879006 h 3089947"/>
                <a:gd name="connsiteX22" fmla="*/ 994045 w 1988090"/>
                <a:gd name="connsiteY22" fmla="*/ 1879006 h 3089947"/>
                <a:gd name="connsiteX23" fmla="*/ 1051709 w 1988090"/>
                <a:gd name="connsiteY23" fmla="*/ 1879006 h 3089947"/>
                <a:gd name="connsiteX24" fmla="*/ 1051709 w 1988090"/>
                <a:gd name="connsiteY24" fmla="*/ 2340317 h 3089947"/>
                <a:gd name="connsiteX25" fmla="*/ 1051709 w 1988090"/>
                <a:gd name="connsiteY25" fmla="*/ 2801628 h 3089947"/>
                <a:gd name="connsiteX26" fmla="*/ 1136167 w 1988090"/>
                <a:gd name="connsiteY26" fmla="*/ 3005489 h 3089947"/>
                <a:gd name="connsiteX27" fmla="*/ 1340029 w 1988090"/>
                <a:gd name="connsiteY27" fmla="*/ 3089947 h 3089947"/>
                <a:gd name="connsiteX28" fmla="*/ 1543889 w 1988090"/>
                <a:gd name="connsiteY28" fmla="*/ 3005489 h 3089947"/>
                <a:gd name="connsiteX29" fmla="*/ 1628348 w 1988090"/>
                <a:gd name="connsiteY29" fmla="*/ 2801628 h 3089947"/>
                <a:gd name="connsiteX30" fmla="*/ 1628348 w 1988090"/>
                <a:gd name="connsiteY30" fmla="*/ 2263432 h 3089947"/>
                <a:gd name="connsiteX31" fmla="*/ 1628348 w 1988090"/>
                <a:gd name="connsiteY31" fmla="*/ 1725313 h 3089947"/>
                <a:gd name="connsiteX32" fmla="*/ 1628348 w 1988090"/>
                <a:gd name="connsiteY32" fmla="*/ 1725236 h 3089947"/>
                <a:gd name="connsiteX33" fmla="*/ 1628348 w 1988090"/>
                <a:gd name="connsiteY33" fmla="*/ 1725159 h 3089947"/>
                <a:gd name="connsiteX34" fmla="*/ 1628348 w 1988090"/>
                <a:gd name="connsiteY34" fmla="*/ 1702478 h 3089947"/>
                <a:gd name="connsiteX35" fmla="*/ 1628348 w 1988090"/>
                <a:gd name="connsiteY35" fmla="*/ 1679797 h 3089947"/>
                <a:gd name="connsiteX36" fmla="*/ 1697122 w 1988090"/>
                <a:gd name="connsiteY36" fmla="*/ 1736115 h 3089947"/>
                <a:gd name="connsiteX37" fmla="*/ 1786193 w 1988090"/>
                <a:gd name="connsiteY37" fmla="*/ 1757220 h 3089947"/>
                <a:gd name="connsiteX38" fmla="*/ 1788115 w 1988090"/>
                <a:gd name="connsiteY38" fmla="*/ 1757220 h 3089947"/>
                <a:gd name="connsiteX39" fmla="*/ 1790037 w 1988090"/>
                <a:gd name="connsiteY39" fmla="*/ 1757182 h 3089947"/>
                <a:gd name="connsiteX40" fmla="*/ 1931621 w 1988090"/>
                <a:gd name="connsiteY40" fmla="*/ 1695443 h 3089947"/>
                <a:gd name="connsiteX41" fmla="*/ 1988055 w 1988090"/>
                <a:gd name="connsiteY41" fmla="*/ 1551668 h 3089947"/>
                <a:gd name="connsiteX42" fmla="*/ 1861233 w 1988090"/>
                <a:gd name="connsiteY42" fmla="*/ 305552 h 3089947"/>
                <a:gd name="connsiteX43" fmla="*/ 1625465 w 1988090"/>
                <a:gd name="connsiteY43" fmla="*/ 11966 h 3089947"/>
                <a:gd name="connsiteX44" fmla="*/ 1536585 w 1988090"/>
                <a:gd name="connsiteY44" fmla="*/ 279 h 308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988090" h="3089947">
                  <a:moveTo>
                    <a:pt x="1536585" y="279"/>
                  </a:moveTo>
                  <a:cubicBezTo>
                    <a:pt x="1521939" y="971"/>
                    <a:pt x="1507676" y="3008"/>
                    <a:pt x="1493799" y="6084"/>
                  </a:cubicBezTo>
                  <a:cubicBezTo>
                    <a:pt x="1361787" y="126870"/>
                    <a:pt x="1186643" y="201257"/>
                    <a:pt x="994045" y="201257"/>
                  </a:cubicBezTo>
                  <a:cubicBezTo>
                    <a:pt x="801448" y="201257"/>
                    <a:pt x="626342" y="126870"/>
                    <a:pt x="494330" y="6122"/>
                  </a:cubicBezTo>
                  <a:cubicBezTo>
                    <a:pt x="480414" y="3047"/>
                    <a:pt x="466075" y="1009"/>
                    <a:pt x="451390" y="317"/>
                  </a:cubicBezTo>
                  <a:cubicBezTo>
                    <a:pt x="422827" y="-1028"/>
                    <a:pt x="392996" y="2432"/>
                    <a:pt x="362549" y="12004"/>
                  </a:cubicBezTo>
                  <a:cubicBezTo>
                    <a:pt x="277591" y="38683"/>
                    <a:pt x="193133" y="92772"/>
                    <a:pt x="126819" y="305590"/>
                  </a:cubicBezTo>
                  <a:cubicBezTo>
                    <a:pt x="60506" y="518408"/>
                    <a:pt x="12337" y="889994"/>
                    <a:pt x="36" y="1551706"/>
                  </a:cubicBezTo>
                  <a:cubicBezTo>
                    <a:pt x="-1002" y="1607409"/>
                    <a:pt x="20641" y="1658308"/>
                    <a:pt x="56470" y="1695481"/>
                  </a:cubicBezTo>
                  <a:cubicBezTo>
                    <a:pt x="92298" y="1732655"/>
                    <a:pt x="142312" y="1756221"/>
                    <a:pt x="198053" y="1757220"/>
                  </a:cubicBezTo>
                  <a:cubicBezTo>
                    <a:pt x="198707" y="1757220"/>
                    <a:pt x="199322" y="1757220"/>
                    <a:pt x="199975" y="1757258"/>
                  </a:cubicBezTo>
                  <a:cubicBezTo>
                    <a:pt x="200629" y="1757297"/>
                    <a:pt x="201244" y="1757258"/>
                    <a:pt x="201898" y="1757258"/>
                  </a:cubicBezTo>
                  <a:cubicBezTo>
                    <a:pt x="233920" y="1757258"/>
                    <a:pt x="264136" y="1749647"/>
                    <a:pt x="290969" y="1736154"/>
                  </a:cubicBezTo>
                  <a:cubicBezTo>
                    <a:pt x="317802" y="1722660"/>
                    <a:pt x="341214" y="1703323"/>
                    <a:pt x="359743" y="1679873"/>
                  </a:cubicBezTo>
                  <a:lnTo>
                    <a:pt x="359743" y="2240751"/>
                  </a:lnTo>
                  <a:lnTo>
                    <a:pt x="359743" y="2801628"/>
                  </a:lnTo>
                  <a:cubicBezTo>
                    <a:pt x="359743" y="2881243"/>
                    <a:pt x="391996" y="2953323"/>
                    <a:pt x="444201" y="3005489"/>
                  </a:cubicBezTo>
                  <a:cubicBezTo>
                    <a:pt x="496406" y="3057656"/>
                    <a:pt x="568447" y="3089947"/>
                    <a:pt x="648062" y="3089947"/>
                  </a:cubicBezTo>
                  <a:cubicBezTo>
                    <a:pt x="727677" y="3089947"/>
                    <a:pt x="799757" y="3057694"/>
                    <a:pt x="851923" y="3005489"/>
                  </a:cubicBezTo>
                  <a:cubicBezTo>
                    <a:pt x="904090" y="2953284"/>
                    <a:pt x="936382" y="2881243"/>
                    <a:pt x="936382" y="2801628"/>
                  </a:cubicBezTo>
                  <a:lnTo>
                    <a:pt x="936382" y="2340317"/>
                  </a:lnTo>
                  <a:lnTo>
                    <a:pt x="936382" y="1879006"/>
                  </a:lnTo>
                  <a:lnTo>
                    <a:pt x="994045" y="1879006"/>
                  </a:lnTo>
                  <a:lnTo>
                    <a:pt x="1051709" y="1879006"/>
                  </a:lnTo>
                  <a:lnTo>
                    <a:pt x="1051709" y="2340317"/>
                  </a:lnTo>
                  <a:lnTo>
                    <a:pt x="1051709" y="2801628"/>
                  </a:lnTo>
                  <a:cubicBezTo>
                    <a:pt x="1051709" y="2881243"/>
                    <a:pt x="1083962" y="2953323"/>
                    <a:pt x="1136167" y="3005489"/>
                  </a:cubicBezTo>
                  <a:cubicBezTo>
                    <a:pt x="1188372" y="3057656"/>
                    <a:pt x="1260414" y="3089947"/>
                    <a:pt x="1340029" y="3089947"/>
                  </a:cubicBezTo>
                  <a:cubicBezTo>
                    <a:pt x="1419643" y="3089947"/>
                    <a:pt x="1491723" y="3057694"/>
                    <a:pt x="1543889" y="3005489"/>
                  </a:cubicBezTo>
                  <a:cubicBezTo>
                    <a:pt x="1596056" y="2953284"/>
                    <a:pt x="1628348" y="2881243"/>
                    <a:pt x="1628348" y="2801628"/>
                  </a:cubicBezTo>
                  <a:lnTo>
                    <a:pt x="1628348" y="2263432"/>
                  </a:lnTo>
                  <a:lnTo>
                    <a:pt x="1628348" y="1725313"/>
                  </a:lnTo>
                  <a:cubicBezTo>
                    <a:pt x="1628348" y="1725274"/>
                    <a:pt x="1628348" y="1725274"/>
                    <a:pt x="1628348" y="1725236"/>
                  </a:cubicBezTo>
                  <a:cubicBezTo>
                    <a:pt x="1628348" y="1725197"/>
                    <a:pt x="1628348" y="1725197"/>
                    <a:pt x="1628348" y="1725159"/>
                  </a:cubicBezTo>
                  <a:lnTo>
                    <a:pt x="1628348" y="1702478"/>
                  </a:lnTo>
                  <a:lnTo>
                    <a:pt x="1628348" y="1679797"/>
                  </a:lnTo>
                  <a:cubicBezTo>
                    <a:pt x="1646839" y="1703247"/>
                    <a:pt x="1670289" y="1722622"/>
                    <a:pt x="1697122" y="1736115"/>
                  </a:cubicBezTo>
                  <a:cubicBezTo>
                    <a:pt x="1723955" y="1749609"/>
                    <a:pt x="1754170" y="1757220"/>
                    <a:pt x="1786193" y="1757220"/>
                  </a:cubicBezTo>
                  <a:cubicBezTo>
                    <a:pt x="1786847" y="1757220"/>
                    <a:pt x="1787461" y="1757220"/>
                    <a:pt x="1788115" y="1757220"/>
                  </a:cubicBezTo>
                  <a:cubicBezTo>
                    <a:pt x="1788769" y="1757220"/>
                    <a:pt x="1789384" y="1757220"/>
                    <a:pt x="1790037" y="1757182"/>
                  </a:cubicBezTo>
                  <a:cubicBezTo>
                    <a:pt x="1845779" y="1756144"/>
                    <a:pt x="1895793" y="1732617"/>
                    <a:pt x="1931621" y="1695443"/>
                  </a:cubicBezTo>
                  <a:cubicBezTo>
                    <a:pt x="1967450" y="1658269"/>
                    <a:pt x="1989093" y="1607371"/>
                    <a:pt x="1988055" y="1551668"/>
                  </a:cubicBezTo>
                  <a:cubicBezTo>
                    <a:pt x="1975715" y="889955"/>
                    <a:pt x="1927585" y="518370"/>
                    <a:pt x="1861233" y="305552"/>
                  </a:cubicBezTo>
                  <a:cubicBezTo>
                    <a:pt x="1794881" y="92733"/>
                    <a:pt x="1710423" y="38683"/>
                    <a:pt x="1625465" y="11966"/>
                  </a:cubicBezTo>
                  <a:cubicBezTo>
                    <a:pt x="1594980" y="2393"/>
                    <a:pt x="1565148" y="-1066"/>
                    <a:pt x="1536585" y="27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0EF24ED6-8213-4FB5-BA74-885B8EE5375A}"/>
                </a:ext>
              </a:extLst>
            </p:cNvPr>
            <p:cNvSpPr/>
            <p:nvPr/>
          </p:nvSpPr>
          <p:spPr>
            <a:xfrm>
              <a:off x="-3541246" y="2609288"/>
              <a:ext cx="1176265" cy="1176265"/>
            </a:xfrm>
            <a:custGeom>
              <a:avLst/>
              <a:gdLst>
                <a:gd name="connsiteX0" fmla="*/ 1176266 w 1176265"/>
                <a:gd name="connsiteY0" fmla="*/ 588133 h 1176265"/>
                <a:gd name="connsiteX1" fmla="*/ 588133 w 1176265"/>
                <a:gd name="connsiteY1" fmla="*/ 1176266 h 1176265"/>
                <a:gd name="connsiteX2" fmla="*/ 0 w 1176265"/>
                <a:gd name="connsiteY2" fmla="*/ 588133 h 1176265"/>
                <a:gd name="connsiteX3" fmla="*/ 588133 w 1176265"/>
                <a:gd name="connsiteY3" fmla="*/ 0 h 1176265"/>
                <a:gd name="connsiteX4" fmla="*/ 1176266 w 1176265"/>
                <a:gd name="connsiteY4" fmla="*/ 588133 h 117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6265" h="1176265">
                  <a:moveTo>
                    <a:pt x="1176266" y="588133"/>
                  </a:moveTo>
                  <a:cubicBezTo>
                    <a:pt x="1176266" y="912950"/>
                    <a:pt x="912950" y="1176266"/>
                    <a:pt x="588133" y="1176266"/>
                  </a:cubicBezTo>
                  <a:cubicBezTo>
                    <a:pt x="263316" y="1176266"/>
                    <a:pt x="0" y="912950"/>
                    <a:pt x="0" y="588133"/>
                  </a:cubicBezTo>
                  <a:cubicBezTo>
                    <a:pt x="0" y="263316"/>
                    <a:pt x="263316" y="0"/>
                    <a:pt x="588133" y="0"/>
                  </a:cubicBezTo>
                  <a:cubicBezTo>
                    <a:pt x="912950" y="0"/>
                    <a:pt x="1176266" y="263316"/>
                    <a:pt x="1176266" y="5881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6C82E976-8DC5-4D52-BBC8-3D393103A0FA}"/>
                </a:ext>
              </a:extLst>
            </p:cNvPr>
            <p:cNvSpPr/>
            <p:nvPr/>
          </p:nvSpPr>
          <p:spPr>
            <a:xfrm>
              <a:off x="-1697617" y="2605328"/>
              <a:ext cx="956528" cy="4223685"/>
            </a:xfrm>
            <a:custGeom>
              <a:avLst/>
              <a:gdLst>
                <a:gd name="connsiteX0" fmla="*/ 956528 w 956528"/>
                <a:gd name="connsiteY0" fmla="*/ 4223686 h 4223685"/>
                <a:gd name="connsiteX1" fmla="*/ 956528 w 956528"/>
                <a:gd name="connsiteY1" fmla="*/ 0 h 4223685"/>
                <a:gd name="connsiteX2" fmla="*/ 900248 w 956528"/>
                <a:gd name="connsiteY2" fmla="*/ 0 h 4223685"/>
                <a:gd name="connsiteX3" fmla="*/ 900248 w 956528"/>
                <a:gd name="connsiteY3" fmla="*/ 4167445 h 4223685"/>
                <a:gd name="connsiteX4" fmla="*/ 56280 w 956528"/>
                <a:gd name="connsiteY4" fmla="*/ 4167445 h 4223685"/>
                <a:gd name="connsiteX5" fmla="*/ 56280 w 956528"/>
                <a:gd name="connsiteY5" fmla="*/ 3998643 h 4223685"/>
                <a:gd name="connsiteX6" fmla="*/ 337603 w 956528"/>
                <a:gd name="connsiteY6" fmla="*/ 3998643 h 4223685"/>
                <a:gd name="connsiteX7" fmla="*/ 337603 w 956528"/>
                <a:gd name="connsiteY7" fmla="*/ 3942363 h 4223685"/>
                <a:gd name="connsiteX8" fmla="*/ 56280 w 956528"/>
                <a:gd name="connsiteY8" fmla="*/ 3942363 h 4223685"/>
                <a:gd name="connsiteX9" fmla="*/ 56280 w 956528"/>
                <a:gd name="connsiteY9" fmla="*/ 3773562 h 4223685"/>
                <a:gd name="connsiteX10" fmla="*/ 337603 w 956528"/>
                <a:gd name="connsiteY10" fmla="*/ 3773562 h 4223685"/>
                <a:gd name="connsiteX11" fmla="*/ 337603 w 956528"/>
                <a:gd name="connsiteY11" fmla="*/ 3717321 h 4223685"/>
                <a:gd name="connsiteX12" fmla="*/ 56280 w 956528"/>
                <a:gd name="connsiteY12" fmla="*/ 3717321 h 4223685"/>
                <a:gd name="connsiteX13" fmla="*/ 56280 w 956528"/>
                <a:gd name="connsiteY13" fmla="*/ 3548519 h 4223685"/>
                <a:gd name="connsiteX14" fmla="*/ 337603 w 956528"/>
                <a:gd name="connsiteY14" fmla="*/ 3548519 h 4223685"/>
                <a:gd name="connsiteX15" fmla="*/ 337603 w 956528"/>
                <a:gd name="connsiteY15" fmla="*/ 3492239 h 4223685"/>
                <a:gd name="connsiteX16" fmla="*/ 56280 w 956528"/>
                <a:gd name="connsiteY16" fmla="*/ 3492239 h 4223685"/>
                <a:gd name="connsiteX17" fmla="*/ 56280 w 956528"/>
                <a:gd name="connsiteY17" fmla="*/ 3323438 h 4223685"/>
                <a:gd name="connsiteX18" fmla="*/ 675205 w 956528"/>
                <a:gd name="connsiteY18" fmla="*/ 3323438 h 4223685"/>
                <a:gd name="connsiteX19" fmla="*/ 675205 w 956528"/>
                <a:gd name="connsiteY19" fmla="*/ 3267158 h 4223685"/>
                <a:gd name="connsiteX20" fmla="*/ 56280 w 956528"/>
                <a:gd name="connsiteY20" fmla="*/ 3267158 h 4223685"/>
                <a:gd name="connsiteX21" fmla="*/ 56280 w 956528"/>
                <a:gd name="connsiteY21" fmla="*/ 3098395 h 4223685"/>
                <a:gd name="connsiteX22" fmla="*/ 337603 w 956528"/>
                <a:gd name="connsiteY22" fmla="*/ 3098395 h 4223685"/>
                <a:gd name="connsiteX23" fmla="*/ 337603 w 956528"/>
                <a:gd name="connsiteY23" fmla="*/ 3042115 h 4223685"/>
                <a:gd name="connsiteX24" fmla="*/ 56280 w 956528"/>
                <a:gd name="connsiteY24" fmla="*/ 3042115 h 4223685"/>
                <a:gd name="connsiteX25" fmla="*/ 56280 w 956528"/>
                <a:gd name="connsiteY25" fmla="*/ 2873314 h 4223685"/>
                <a:gd name="connsiteX26" fmla="*/ 337603 w 956528"/>
                <a:gd name="connsiteY26" fmla="*/ 2873314 h 4223685"/>
                <a:gd name="connsiteX27" fmla="*/ 337603 w 956528"/>
                <a:gd name="connsiteY27" fmla="*/ 2817034 h 4223685"/>
                <a:gd name="connsiteX28" fmla="*/ 56280 w 956528"/>
                <a:gd name="connsiteY28" fmla="*/ 2817034 h 4223685"/>
                <a:gd name="connsiteX29" fmla="*/ 56280 w 956528"/>
                <a:gd name="connsiteY29" fmla="*/ 2648233 h 4223685"/>
                <a:gd name="connsiteX30" fmla="*/ 337603 w 956528"/>
                <a:gd name="connsiteY30" fmla="*/ 2648233 h 4223685"/>
                <a:gd name="connsiteX31" fmla="*/ 337603 w 956528"/>
                <a:gd name="connsiteY31" fmla="*/ 2591991 h 4223685"/>
                <a:gd name="connsiteX32" fmla="*/ 56280 w 956528"/>
                <a:gd name="connsiteY32" fmla="*/ 2591991 h 4223685"/>
                <a:gd name="connsiteX33" fmla="*/ 56280 w 956528"/>
                <a:gd name="connsiteY33" fmla="*/ 2423190 h 4223685"/>
                <a:gd name="connsiteX34" fmla="*/ 675205 w 956528"/>
                <a:gd name="connsiteY34" fmla="*/ 2423190 h 4223685"/>
                <a:gd name="connsiteX35" fmla="*/ 675205 w 956528"/>
                <a:gd name="connsiteY35" fmla="*/ 2366909 h 4223685"/>
                <a:gd name="connsiteX36" fmla="*/ 56280 w 956528"/>
                <a:gd name="connsiteY36" fmla="*/ 2366909 h 4223685"/>
                <a:gd name="connsiteX37" fmla="*/ 56280 w 956528"/>
                <a:gd name="connsiteY37" fmla="*/ 2198108 h 4223685"/>
                <a:gd name="connsiteX38" fmla="*/ 337603 w 956528"/>
                <a:gd name="connsiteY38" fmla="*/ 2198108 h 4223685"/>
                <a:gd name="connsiteX39" fmla="*/ 337603 w 956528"/>
                <a:gd name="connsiteY39" fmla="*/ 2141867 h 4223685"/>
                <a:gd name="connsiteX40" fmla="*/ 56280 w 956528"/>
                <a:gd name="connsiteY40" fmla="*/ 2141867 h 4223685"/>
                <a:gd name="connsiteX41" fmla="*/ 56280 w 956528"/>
                <a:gd name="connsiteY41" fmla="*/ 1973065 h 4223685"/>
                <a:gd name="connsiteX42" fmla="*/ 337603 w 956528"/>
                <a:gd name="connsiteY42" fmla="*/ 1973065 h 4223685"/>
                <a:gd name="connsiteX43" fmla="*/ 337603 w 956528"/>
                <a:gd name="connsiteY43" fmla="*/ 1916785 h 4223685"/>
                <a:gd name="connsiteX44" fmla="*/ 56280 w 956528"/>
                <a:gd name="connsiteY44" fmla="*/ 1916785 h 4223685"/>
                <a:gd name="connsiteX45" fmla="*/ 56280 w 956528"/>
                <a:gd name="connsiteY45" fmla="*/ 1747984 h 4223685"/>
                <a:gd name="connsiteX46" fmla="*/ 337603 w 956528"/>
                <a:gd name="connsiteY46" fmla="*/ 1747984 h 4223685"/>
                <a:gd name="connsiteX47" fmla="*/ 337603 w 956528"/>
                <a:gd name="connsiteY47" fmla="*/ 1691704 h 4223685"/>
                <a:gd name="connsiteX48" fmla="*/ 56280 w 956528"/>
                <a:gd name="connsiteY48" fmla="*/ 1691704 h 4223685"/>
                <a:gd name="connsiteX49" fmla="*/ 56280 w 956528"/>
                <a:gd name="connsiteY49" fmla="*/ 1522941 h 4223685"/>
                <a:gd name="connsiteX50" fmla="*/ 675205 w 956528"/>
                <a:gd name="connsiteY50" fmla="*/ 1522941 h 4223685"/>
                <a:gd name="connsiteX51" fmla="*/ 675205 w 956528"/>
                <a:gd name="connsiteY51" fmla="*/ 1466661 h 4223685"/>
                <a:gd name="connsiteX52" fmla="*/ 56280 w 956528"/>
                <a:gd name="connsiteY52" fmla="*/ 1466661 h 4223685"/>
                <a:gd name="connsiteX53" fmla="*/ 56280 w 956528"/>
                <a:gd name="connsiteY53" fmla="*/ 1297860 h 4223685"/>
                <a:gd name="connsiteX54" fmla="*/ 337603 w 956528"/>
                <a:gd name="connsiteY54" fmla="*/ 1297860 h 4223685"/>
                <a:gd name="connsiteX55" fmla="*/ 337603 w 956528"/>
                <a:gd name="connsiteY55" fmla="*/ 1241580 h 4223685"/>
                <a:gd name="connsiteX56" fmla="*/ 56280 w 956528"/>
                <a:gd name="connsiteY56" fmla="*/ 1241580 h 4223685"/>
                <a:gd name="connsiteX57" fmla="*/ 56280 w 956528"/>
                <a:gd name="connsiteY57" fmla="*/ 1072779 h 4223685"/>
                <a:gd name="connsiteX58" fmla="*/ 337603 w 956528"/>
                <a:gd name="connsiteY58" fmla="*/ 1072779 h 4223685"/>
                <a:gd name="connsiteX59" fmla="*/ 337603 w 956528"/>
                <a:gd name="connsiteY59" fmla="*/ 1016537 h 4223685"/>
                <a:gd name="connsiteX60" fmla="*/ 56280 w 956528"/>
                <a:gd name="connsiteY60" fmla="*/ 1016537 h 4223685"/>
                <a:gd name="connsiteX61" fmla="*/ 56280 w 956528"/>
                <a:gd name="connsiteY61" fmla="*/ 847736 h 4223685"/>
                <a:gd name="connsiteX62" fmla="*/ 337603 w 956528"/>
                <a:gd name="connsiteY62" fmla="*/ 847736 h 4223685"/>
                <a:gd name="connsiteX63" fmla="*/ 337603 w 956528"/>
                <a:gd name="connsiteY63" fmla="*/ 791456 h 4223685"/>
                <a:gd name="connsiteX64" fmla="*/ 56280 w 956528"/>
                <a:gd name="connsiteY64" fmla="*/ 791456 h 4223685"/>
                <a:gd name="connsiteX65" fmla="*/ 56280 w 956528"/>
                <a:gd name="connsiteY65" fmla="*/ 622654 h 4223685"/>
                <a:gd name="connsiteX66" fmla="*/ 675205 w 956528"/>
                <a:gd name="connsiteY66" fmla="*/ 622654 h 4223685"/>
                <a:gd name="connsiteX67" fmla="*/ 675205 w 956528"/>
                <a:gd name="connsiteY67" fmla="*/ 566413 h 4223685"/>
                <a:gd name="connsiteX68" fmla="*/ 56280 w 956528"/>
                <a:gd name="connsiteY68" fmla="*/ 566413 h 4223685"/>
                <a:gd name="connsiteX69" fmla="*/ 56280 w 956528"/>
                <a:gd name="connsiteY69" fmla="*/ 397612 h 4223685"/>
                <a:gd name="connsiteX70" fmla="*/ 337603 w 956528"/>
                <a:gd name="connsiteY70" fmla="*/ 397612 h 4223685"/>
                <a:gd name="connsiteX71" fmla="*/ 337603 w 956528"/>
                <a:gd name="connsiteY71" fmla="*/ 341332 h 4223685"/>
                <a:gd name="connsiteX72" fmla="*/ 56280 w 956528"/>
                <a:gd name="connsiteY72" fmla="*/ 341332 h 4223685"/>
                <a:gd name="connsiteX73" fmla="*/ 56280 w 956528"/>
                <a:gd name="connsiteY73" fmla="*/ 172530 h 4223685"/>
                <a:gd name="connsiteX74" fmla="*/ 337603 w 956528"/>
                <a:gd name="connsiteY74" fmla="*/ 172530 h 4223685"/>
                <a:gd name="connsiteX75" fmla="*/ 337603 w 956528"/>
                <a:gd name="connsiteY75" fmla="*/ 116250 h 4223685"/>
                <a:gd name="connsiteX76" fmla="*/ 56280 w 956528"/>
                <a:gd name="connsiteY76" fmla="*/ 116250 h 4223685"/>
                <a:gd name="connsiteX77" fmla="*/ 56280 w 956528"/>
                <a:gd name="connsiteY77" fmla="*/ 0 h 4223685"/>
                <a:gd name="connsiteX78" fmla="*/ 0 w 956528"/>
                <a:gd name="connsiteY78" fmla="*/ 0 h 4223685"/>
                <a:gd name="connsiteX79" fmla="*/ 0 w 956528"/>
                <a:gd name="connsiteY79" fmla="*/ 4223686 h 4223685"/>
                <a:gd name="connsiteX80" fmla="*/ 56280 w 956528"/>
                <a:gd name="connsiteY80" fmla="*/ 4223686 h 4223685"/>
                <a:gd name="connsiteX81" fmla="*/ 900248 w 956528"/>
                <a:gd name="connsiteY81" fmla="*/ 4223686 h 422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956528" h="4223685">
                  <a:moveTo>
                    <a:pt x="956528" y="4223686"/>
                  </a:moveTo>
                  <a:lnTo>
                    <a:pt x="956528" y="0"/>
                  </a:lnTo>
                  <a:lnTo>
                    <a:pt x="900248" y="0"/>
                  </a:lnTo>
                  <a:lnTo>
                    <a:pt x="900248" y="4167445"/>
                  </a:lnTo>
                  <a:lnTo>
                    <a:pt x="56280" y="4167445"/>
                  </a:lnTo>
                  <a:lnTo>
                    <a:pt x="56280" y="3998643"/>
                  </a:lnTo>
                  <a:lnTo>
                    <a:pt x="337603" y="3998643"/>
                  </a:lnTo>
                  <a:lnTo>
                    <a:pt x="337603" y="3942363"/>
                  </a:lnTo>
                  <a:lnTo>
                    <a:pt x="56280" y="3942363"/>
                  </a:lnTo>
                  <a:lnTo>
                    <a:pt x="56280" y="3773562"/>
                  </a:lnTo>
                  <a:lnTo>
                    <a:pt x="337603" y="3773562"/>
                  </a:lnTo>
                  <a:lnTo>
                    <a:pt x="337603" y="3717321"/>
                  </a:lnTo>
                  <a:lnTo>
                    <a:pt x="56280" y="3717321"/>
                  </a:lnTo>
                  <a:lnTo>
                    <a:pt x="56280" y="3548519"/>
                  </a:lnTo>
                  <a:lnTo>
                    <a:pt x="337603" y="3548519"/>
                  </a:lnTo>
                  <a:lnTo>
                    <a:pt x="337603" y="3492239"/>
                  </a:lnTo>
                  <a:lnTo>
                    <a:pt x="56280" y="3492239"/>
                  </a:lnTo>
                  <a:lnTo>
                    <a:pt x="56280" y="3323438"/>
                  </a:lnTo>
                  <a:lnTo>
                    <a:pt x="675205" y="3323438"/>
                  </a:lnTo>
                  <a:lnTo>
                    <a:pt x="675205" y="3267158"/>
                  </a:lnTo>
                  <a:lnTo>
                    <a:pt x="56280" y="3267158"/>
                  </a:lnTo>
                  <a:lnTo>
                    <a:pt x="56280" y="3098395"/>
                  </a:lnTo>
                  <a:lnTo>
                    <a:pt x="337603" y="3098395"/>
                  </a:lnTo>
                  <a:lnTo>
                    <a:pt x="337603" y="3042115"/>
                  </a:lnTo>
                  <a:lnTo>
                    <a:pt x="56280" y="3042115"/>
                  </a:lnTo>
                  <a:lnTo>
                    <a:pt x="56280" y="2873314"/>
                  </a:lnTo>
                  <a:lnTo>
                    <a:pt x="337603" y="2873314"/>
                  </a:lnTo>
                  <a:lnTo>
                    <a:pt x="337603" y="2817034"/>
                  </a:lnTo>
                  <a:lnTo>
                    <a:pt x="56280" y="2817034"/>
                  </a:lnTo>
                  <a:lnTo>
                    <a:pt x="56280" y="2648233"/>
                  </a:lnTo>
                  <a:lnTo>
                    <a:pt x="337603" y="2648233"/>
                  </a:lnTo>
                  <a:lnTo>
                    <a:pt x="337603" y="2591991"/>
                  </a:lnTo>
                  <a:lnTo>
                    <a:pt x="56280" y="2591991"/>
                  </a:lnTo>
                  <a:lnTo>
                    <a:pt x="56280" y="2423190"/>
                  </a:lnTo>
                  <a:lnTo>
                    <a:pt x="675205" y="2423190"/>
                  </a:lnTo>
                  <a:lnTo>
                    <a:pt x="675205" y="2366909"/>
                  </a:lnTo>
                  <a:lnTo>
                    <a:pt x="56280" y="2366909"/>
                  </a:lnTo>
                  <a:lnTo>
                    <a:pt x="56280" y="2198108"/>
                  </a:lnTo>
                  <a:lnTo>
                    <a:pt x="337603" y="2198108"/>
                  </a:lnTo>
                  <a:lnTo>
                    <a:pt x="337603" y="2141867"/>
                  </a:lnTo>
                  <a:lnTo>
                    <a:pt x="56280" y="2141867"/>
                  </a:lnTo>
                  <a:lnTo>
                    <a:pt x="56280" y="1973065"/>
                  </a:lnTo>
                  <a:lnTo>
                    <a:pt x="337603" y="1973065"/>
                  </a:lnTo>
                  <a:lnTo>
                    <a:pt x="337603" y="1916785"/>
                  </a:lnTo>
                  <a:lnTo>
                    <a:pt x="56280" y="1916785"/>
                  </a:lnTo>
                  <a:lnTo>
                    <a:pt x="56280" y="1747984"/>
                  </a:lnTo>
                  <a:lnTo>
                    <a:pt x="337603" y="1747984"/>
                  </a:lnTo>
                  <a:lnTo>
                    <a:pt x="337603" y="1691704"/>
                  </a:lnTo>
                  <a:lnTo>
                    <a:pt x="56280" y="1691704"/>
                  </a:lnTo>
                  <a:lnTo>
                    <a:pt x="56280" y="1522941"/>
                  </a:lnTo>
                  <a:lnTo>
                    <a:pt x="675205" y="1522941"/>
                  </a:lnTo>
                  <a:lnTo>
                    <a:pt x="675205" y="1466661"/>
                  </a:lnTo>
                  <a:lnTo>
                    <a:pt x="56280" y="1466661"/>
                  </a:lnTo>
                  <a:lnTo>
                    <a:pt x="56280" y="1297860"/>
                  </a:lnTo>
                  <a:lnTo>
                    <a:pt x="337603" y="1297860"/>
                  </a:lnTo>
                  <a:lnTo>
                    <a:pt x="337603" y="1241580"/>
                  </a:lnTo>
                  <a:lnTo>
                    <a:pt x="56280" y="1241580"/>
                  </a:lnTo>
                  <a:lnTo>
                    <a:pt x="56280" y="1072779"/>
                  </a:lnTo>
                  <a:lnTo>
                    <a:pt x="337603" y="1072779"/>
                  </a:lnTo>
                  <a:lnTo>
                    <a:pt x="337603" y="1016537"/>
                  </a:lnTo>
                  <a:lnTo>
                    <a:pt x="56280" y="1016537"/>
                  </a:lnTo>
                  <a:lnTo>
                    <a:pt x="56280" y="847736"/>
                  </a:lnTo>
                  <a:lnTo>
                    <a:pt x="337603" y="847736"/>
                  </a:lnTo>
                  <a:lnTo>
                    <a:pt x="337603" y="791456"/>
                  </a:lnTo>
                  <a:lnTo>
                    <a:pt x="56280" y="791456"/>
                  </a:lnTo>
                  <a:lnTo>
                    <a:pt x="56280" y="622654"/>
                  </a:lnTo>
                  <a:lnTo>
                    <a:pt x="675205" y="622654"/>
                  </a:lnTo>
                  <a:lnTo>
                    <a:pt x="675205" y="566413"/>
                  </a:lnTo>
                  <a:lnTo>
                    <a:pt x="56280" y="566413"/>
                  </a:lnTo>
                  <a:lnTo>
                    <a:pt x="56280" y="397612"/>
                  </a:lnTo>
                  <a:lnTo>
                    <a:pt x="337603" y="397612"/>
                  </a:lnTo>
                  <a:lnTo>
                    <a:pt x="337603" y="341332"/>
                  </a:lnTo>
                  <a:lnTo>
                    <a:pt x="56280" y="341332"/>
                  </a:lnTo>
                  <a:lnTo>
                    <a:pt x="56280" y="172530"/>
                  </a:lnTo>
                  <a:lnTo>
                    <a:pt x="337603" y="172530"/>
                  </a:lnTo>
                  <a:lnTo>
                    <a:pt x="337603" y="116250"/>
                  </a:lnTo>
                  <a:lnTo>
                    <a:pt x="56280" y="116250"/>
                  </a:lnTo>
                  <a:lnTo>
                    <a:pt x="56280" y="0"/>
                  </a:lnTo>
                  <a:lnTo>
                    <a:pt x="0" y="0"/>
                  </a:lnTo>
                  <a:lnTo>
                    <a:pt x="0" y="4223686"/>
                  </a:lnTo>
                  <a:lnTo>
                    <a:pt x="56280" y="4223686"/>
                  </a:lnTo>
                  <a:lnTo>
                    <a:pt x="900248" y="42236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A464C9C-313C-45AF-BFE0-C733296FFB85}"/>
                </a:ext>
              </a:extLst>
            </p:cNvPr>
            <p:cNvSpPr/>
            <p:nvPr/>
          </p:nvSpPr>
          <p:spPr>
            <a:xfrm>
              <a:off x="-1697617" y="1719597"/>
              <a:ext cx="337603" cy="538326"/>
            </a:xfrm>
            <a:custGeom>
              <a:avLst/>
              <a:gdLst>
                <a:gd name="connsiteX0" fmla="*/ 0 w 337603"/>
                <a:gd name="connsiteY0" fmla="*/ 0 h 538326"/>
                <a:gd name="connsiteX1" fmla="*/ 56280 w 337603"/>
                <a:gd name="connsiteY1" fmla="*/ 0 h 538326"/>
                <a:gd name="connsiteX2" fmla="*/ 56280 w 337603"/>
                <a:gd name="connsiteY2" fmla="*/ 101734 h 538326"/>
                <a:gd name="connsiteX3" fmla="*/ 337603 w 337603"/>
                <a:gd name="connsiteY3" fmla="*/ 101734 h 538326"/>
                <a:gd name="connsiteX4" fmla="*/ 337603 w 337603"/>
                <a:gd name="connsiteY4" fmla="*/ 158014 h 538326"/>
                <a:gd name="connsiteX5" fmla="*/ 56280 w 337603"/>
                <a:gd name="connsiteY5" fmla="*/ 158014 h 538326"/>
                <a:gd name="connsiteX6" fmla="*/ 56280 w 337603"/>
                <a:gd name="connsiteY6" fmla="*/ 326815 h 538326"/>
                <a:gd name="connsiteX7" fmla="*/ 337603 w 337603"/>
                <a:gd name="connsiteY7" fmla="*/ 326815 h 538326"/>
                <a:gd name="connsiteX8" fmla="*/ 337603 w 337603"/>
                <a:gd name="connsiteY8" fmla="*/ 383056 h 538326"/>
                <a:gd name="connsiteX9" fmla="*/ 56280 w 337603"/>
                <a:gd name="connsiteY9" fmla="*/ 383056 h 538326"/>
                <a:gd name="connsiteX10" fmla="*/ 56280 w 337603"/>
                <a:gd name="connsiteY10" fmla="*/ 538326 h 538326"/>
                <a:gd name="connsiteX11" fmla="*/ 0 w 337603"/>
                <a:gd name="connsiteY11" fmla="*/ 538326 h 538326"/>
                <a:gd name="connsiteX12" fmla="*/ 0 w 337603"/>
                <a:gd name="connsiteY12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7603" h="538326">
                  <a:moveTo>
                    <a:pt x="0" y="0"/>
                  </a:moveTo>
                  <a:lnTo>
                    <a:pt x="56280" y="0"/>
                  </a:lnTo>
                  <a:lnTo>
                    <a:pt x="56280" y="101734"/>
                  </a:lnTo>
                  <a:lnTo>
                    <a:pt x="337603" y="101734"/>
                  </a:lnTo>
                  <a:lnTo>
                    <a:pt x="337603" y="158014"/>
                  </a:lnTo>
                  <a:lnTo>
                    <a:pt x="56280" y="158014"/>
                  </a:lnTo>
                  <a:lnTo>
                    <a:pt x="56280" y="326815"/>
                  </a:lnTo>
                  <a:lnTo>
                    <a:pt x="337603" y="326815"/>
                  </a:lnTo>
                  <a:lnTo>
                    <a:pt x="337603" y="383056"/>
                  </a:lnTo>
                  <a:lnTo>
                    <a:pt x="56280" y="383056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AEA615C-6059-4395-B42C-466216766126}"/>
                </a:ext>
              </a:extLst>
            </p:cNvPr>
            <p:cNvSpPr/>
            <p:nvPr/>
          </p:nvSpPr>
          <p:spPr>
            <a:xfrm>
              <a:off x="-797368" y="1719597"/>
              <a:ext cx="56280" cy="538326"/>
            </a:xfrm>
            <a:custGeom>
              <a:avLst/>
              <a:gdLst>
                <a:gd name="connsiteX0" fmla="*/ 0 w 56280"/>
                <a:gd name="connsiteY0" fmla="*/ 0 h 538326"/>
                <a:gd name="connsiteX1" fmla="*/ 56280 w 56280"/>
                <a:gd name="connsiteY1" fmla="*/ 0 h 538326"/>
                <a:gd name="connsiteX2" fmla="*/ 56280 w 56280"/>
                <a:gd name="connsiteY2" fmla="*/ 538326 h 538326"/>
                <a:gd name="connsiteX3" fmla="*/ 0 w 56280"/>
                <a:gd name="connsiteY3" fmla="*/ 538326 h 538326"/>
                <a:gd name="connsiteX4" fmla="*/ 0 w 56280"/>
                <a:gd name="connsiteY4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80" h="538326">
                  <a:moveTo>
                    <a:pt x="0" y="0"/>
                  </a:moveTo>
                  <a:lnTo>
                    <a:pt x="56280" y="0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</p:grpSp>
      <p:pic>
        <p:nvPicPr>
          <p:cNvPr id="26" name="Picture 25" descr="Logo&#10;&#10;Description automatically generated">
            <a:extLst>
              <a:ext uri="{FF2B5EF4-FFF2-40B4-BE49-F238E27FC236}">
                <a16:creationId xmlns:a16="http://schemas.microsoft.com/office/drawing/2014/main" id="{FF7F2B6E-DEE2-48C3-9126-DD295355E31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32883" y="6120714"/>
            <a:ext cx="1017656" cy="420241"/>
          </a:xfrm>
          <a:prstGeom prst="rect">
            <a:avLst/>
          </a:prstGeom>
        </p:spPr>
      </p:pic>
      <p:sp>
        <p:nvSpPr>
          <p:cNvPr id="27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0B2010D9-4455-4F92-ADCA-CADAD73D4E00}"/>
              </a:ext>
            </a:extLst>
          </p:cNvPr>
          <p:cNvSpPr/>
          <p:nvPr userDrawn="1"/>
        </p:nvSpPr>
        <p:spPr>
          <a:xfrm rot="5400000">
            <a:off x="11809682" y="871594"/>
            <a:ext cx="320468" cy="437817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8089347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llar 1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4" name="Round Same-side Corner of Rectangle 79">
            <a:extLst>
              <a:ext uri="{FF2B5EF4-FFF2-40B4-BE49-F238E27FC236}">
                <a16:creationId xmlns:a16="http://schemas.microsoft.com/office/drawing/2014/main" id="{429E155D-7E57-4822-8852-F94F1A49D6FC}"/>
              </a:ext>
            </a:extLst>
          </p:cNvPr>
          <p:cNvSpPr/>
          <p:nvPr userDrawn="1"/>
        </p:nvSpPr>
        <p:spPr>
          <a:xfrm rot="16200000">
            <a:off x="11384856" y="4661233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8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0" name="Round Same-side Corner of Rectangle 79">
            <a:extLst>
              <a:ext uri="{FF2B5EF4-FFF2-40B4-BE49-F238E27FC236}">
                <a16:creationId xmlns:a16="http://schemas.microsoft.com/office/drawing/2014/main" id="{DA632258-7E89-4C63-86BD-EA679E94BCAB}"/>
              </a:ext>
            </a:extLst>
          </p:cNvPr>
          <p:cNvSpPr/>
          <p:nvPr userDrawn="1"/>
        </p:nvSpPr>
        <p:spPr>
          <a:xfrm rot="16200000">
            <a:off x="11384854" y="4208631"/>
            <a:ext cx="388777" cy="104122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7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1" name="Round Same-side Corner of Rectangle 79">
            <a:extLst>
              <a:ext uri="{FF2B5EF4-FFF2-40B4-BE49-F238E27FC236}">
                <a16:creationId xmlns:a16="http://schemas.microsoft.com/office/drawing/2014/main" id="{D4B93879-3513-4875-A1C4-5980915623CE}"/>
              </a:ext>
            </a:extLst>
          </p:cNvPr>
          <p:cNvSpPr/>
          <p:nvPr userDrawn="1"/>
        </p:nvSpPr>
        <p:spPr>
          <a:xfrm rot="16200000">
            <a:off x="11384854" y="3756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6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8" name="Round Same-side Corner of Rectangle 79">
            <a:extLst>
              <a:ext uri="{FF2B5EF4-FFF2-40B4-BE49-F238E27FC236}">
                <a16:creationId xmlns:a16="http://schemas.microsoft.com/office/drawing/2014/main" id="{312255C5-65A9-47AB-B67B-8924547FF7C2}"/>
              </a:ext>
            </a:extLst>
          </p:cNvPr>
          <p:cNvSpPr/>
          <p:nvPr userDrawn="1"/>
        </p:nvSpPr>
        <p:spPr>
          <a:xfrm rot="16200000">
            <a:off x="11384854" y="33034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5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9" name="Round Same-side Corner of Rectangle 79">
            <a:extLst>
              <a:ext uri="{FF2B5EF4-FFF2-40B4-BE49-F238E27FC236}">
                <a16:creationId xmlns:a16="http://schemas.microsoft.com/office/drawing/2014/main" id="{F23596D5-FD36-49E3-B746-F3D7A290DF3D}"/>
              </a:ext>
            </a:extLst>
          </p:cNvPr>
          <p:cNvSpPr/>
          <p:nvPr userDrawn="1"/>
        </p:nvSpPr>
        <p:spPr>
          <a:xfrm rot="16200000">
            <a:off x="11384853" y="28508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4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7" name="Round Same-side Corner of Rectangle 79">
            <a:extLst>
              <a:ext uri="{FF2B5EF4-FFF2-40B4-BE49-F238E27FC236}">
                <a16:creationId xmlns:a16="http://schemas.microsoft.com/office/drawing/2014/main" id="{059574F1-9FE9-480C-B4ED-14EFB4169B0E}"/>
              </a:ext>
            </a:extLst>
          </p:cNvPr>
          <p:cNvSpPr/>
          <p:nvPr userDrawn="1"/>
        </p:nvSpPr>
        <p:spPr>
          <a:xfrm rot="16200000">
            <a:off x="11384854" y="23982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3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8" name="Round Same-side Corner of Rectangle 79">
            <a:extLst>
              <a:ext uri="{FF2B5EF4-FFF2-40B4-BE49-F238E27FC236}">
                <a16:creationId xmlns:a16="http://schemas.microsoft.com/office/drawing/2014/main" id="{82236BCB-3538-4E87-B0C9-CACC40793A57}"/>
              </a:ext>
            </a:extLst>
          </p:cNvPr>
          <p:cNvSpPr/>
          <p:nvPr userDrawn="1"/>
        </p:nvSpPr>
        <p:spPr>
          <a:xfrm rot="16200000">
            <a:off x="11384854" y="19456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2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9" name="Round Same-side Corner of Rectangle 79">
            <a:extLst>
              <a:ext uri="{FF2B5EF4-FFF2-40B4-BE49-F238E27FC236}">
                <a16:creationId xmlns:a16="http://schemas.microsoft.com/office/drawing/2014/main" id="{61090AD0-0469-4342-901A-FC4BE401662F}"/>
              </a:ext>
            </a:extLst>
          </p:cNvPr>
          <p:cNvSpPr/>
          <p:nvPr userDrawn="1"/>
        </p:nvSpPr>
        <p:spPr>
          <a:xfrm rot="16200000">
            <a:off x="11219847" y="1328023"/>
            <a:ext cx="388777" cy="137124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2102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600" b="1"/>
              <a:t>Pillar  </a:t>
            </a:r>
            <a:r>
              <a:rPr lang="en-US" sz="1600" b="1"/>
              <a:t>1</a:t>
            </a:r>
          </a:p>
        </p:txBody>
      </p:sp>
      <p:sp>
        <p:nvSpPr>
          <p:cNvPr id="96" name="Round Same-side Corner of Rectangle 79">
            <a:extLst>
              <a:ext uri="{FF2B5EF4-FFF2-40B4-BE49-F238E27FC236}">
                <a16:creationId xmlns:a16="http://schemas.microsoft.com/office/drawing/2014/main" id="{75C801CE-9FCA-486D-96A7-6973FA449CCA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8" name="Round Same-side Corner of Rectangle 79">
            <a:extLst>
              <a:ext uri="{FF2B5EF4-FFF2-40B4-BE49-F238E27FC236}">
                <a16:creationId xmlns:a16="http://schemas.microsoft.com/office/drawing/2014/main" id="{B358AAFE-318C-4629-9F49-D9DBA46F85EC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42" name="Content Placeholder 2">
            <a:extLst>
              <a:ext uri="{FF2B5EF4-FFF2-40B4-BE49-F238E27FC236}">
                <a16:creationId xmlns:a16="http://schemas.microsoft.com/office/drawing/2014/main" id="{612B9BC4-C9DA-4448-8DC7-1F35B98CC67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6706" y="918349"/>
            <a:ext cx="9963591" cy="5673283"/>
          </a:xfrm>
        </p:spPr>
        <p:txBody>
          <a:bodyPr/>
          <a:lstStyle>
            <a:lvl1pPr marL="0" indent="0">
              <a:spcBef>
                <a:spcPts val="1200"/>
              </a:spcBef>
              <a:buFontTx/>
              <a:buNone/>
              <a:defRPr sz="1799" b="1">
                <a:solidFill>
                  <a:schemeClr val="accent1">
                    <a:lumMod val="75000"/>
                  </a:schemeClr>
                </a:solidFill>
              </a:defRPr>
            </a:lvl1pPr>
            <a:lvl2pPr marL="319944" marR="0" indent="-319944" algn="l" defTabSz="914126" rtl="0" eaLnBrk="1" fontAlgn="auto" latinLnBrk="0" hangingPunct="1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SzTx/>
              <a:buFont typeface="+mj-lt"/>
              <a:buAutoNum type="alphaUcPeriod"/>
              <a:tabLst/>
              <a:defRPr>
                <a:solidFill>
                  <a:schemeClr val="tx1">
                    <a:lumMod val="50000"/>
                  </a:schemeClr>
                </a:solidFill>
              </a:defRPr>
            </a:lvl2pPr>
            <a:lvl3pPr marL="511910" indent="-274238">
              <a:spcBef>
                <a:spcPts val="600"/>
              </a:spcBef>
              <a:buFont typeface="+mj-lt"/>
              <a:buAutoNum type="romanLcPeriod"/>
              <a:defRPr sz="1300"/>
            </a:lvl3pPr>
            <a:lvl4pPr marL="795289" indent="-173684">
              <a:spcBef>
                <a:spcPts val="400"/>
              </a:spcBef>
              <a:buFont typeface="+mj-lt"/>
              <a:buAutoNum type="alphaLcPeriod"/>
              <a:defRPr sz="1300"/>
            </a:lvl4pPr>
            <a:lvl5pPr marL="1144245" indent="-115853">
              <a:spcBef>
                <a:spcPts val="200"/>
              </a:spcBef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5BFAEFC-2211-49AC-BF18-B83AEB886735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03C2196-DA31-4ADD-9029-9D146C80059F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49" name="Round Same-side Corner of Rectangle 79">
            <a:extLst>
              <a:ext uri="{FF2B5EF4-FFF2-40B4-BE49-F238E27FC236}">
                <a16:creationId xmlns:a16="http://schemas.microsoft.com/office/drawing/2014/main" id="{D8C85FC7-2C6E-44F1-8101-9552E1EB2349}"/>
              </a:ext>
            </a:extLst>
          </p:cNvPr>
          <p:cNvSpPr/>
          <p:nvPr userDrawn="1"/>
        </p:nvSpPr>
        <p:spPr>
          <a:xfrm rot="16200000">
            <a:off x="11900597" y="1919803"/>
            <a:ext cx="388777" cy="18768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>
              <a:lumMod val="75000"/>
              <a:alpha val="59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13" name="TextBox 12">
            <a:hlinkClick r:id="" action="ppaction://noaction"/>
            <a:extLst>
              <a:ext uri="{FF2B5EF4-FFF2-40B4-BE49-F238E27FC236}">
                <a16:creationId xmlns:a16="http://schemas.microsoft.com/office/drawing/2014/main" id="{323DBC9D-AE62-4BA8-8010-CA9E110C6621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14" name="TextBox 13">
            <a:hlinkClick r:id="" action="ppaction://noaction"/>
            <a:extLst>
              <a:ext uri="{FF2B5EF4-FFF2-40B4-BE49-F238E27FC236}">
                <a16:creationId xmlns:a16="http://schemas.microsoft.com/office/drawing/2014/main" id="{A240114C-7A23-4FF0-B806-66751E1821F1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874ECCE4-62D0-4ED4-8496-AABF7B5B33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782B6456-2948-4698-9F74-A1C0CE9C076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254B647F-5C6A-4891-8E7E-A5CC395829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45" name="Freeform 9">
            <a:extLst>
              <a:ext uri="{FF2B5EF4-FFF2-40B4-BE49-F238E27FC236}">
                <a16:creationId xmlns:a16="http://schemas.microsoft.com/office/drawing/2014/main" id="{D23C3B72-6045-4FD2-A12C-7C461896C0B0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95767" y="4176118"/>
            <a:ext cx="181694" cy="212254"/>
          </a:xfrm>
          <a:custGeom>
            <a:avLst/>
            <a:gdLst>
              <a:gd name="T0" fmla="*/ 708 w 809"/>
              <a:gd name="T1" fmla="*/ 509 h 945"/>
              <a:gd name="T2" fmla="*/ 405 w 809"/>
              <a:gd name="T3" fmla="*/ 838 h 945"/>
              <a:gd name="T4" fmla="*/ 404 w 809"/>
              <a:gd name="T5" fmla="*/ 838 h 945"/>
              <a:gd name="T6" fmla="*/ 404 w 809"/>
              <a:gd name="T7" fmla="*/ 473 h 945"/>
              <a:gd name="T8" fmla="*/ 101 w 809"/>
              <a:gd name="T9" fmla="*/ 473 h 945"/>
              <a:gd name="T10" fmla="*/ 101 w 809"/>
              <a:gd name="T11" fmla="*/ 245 h 945"/>
              <a:gd name="T12" fmla="*/ 404 w 809"/>
              <a:gd name="T13" fmla="*/ 123 h 945"/>
              <a:gd name="T14" fmla="*/ 404 w 809"/>
              <a:gd name="T15" fmla="*/ 473 h 945"/>
              <a:gd name="T16" fmla="*/ 708 w 809"/>
              <a:gd name="T17" fmla="*/ 473 h 945"/>
              <a:gd name="T18" fmla="*/ 708 w 809"/>
              <a:gd name="T19" fmla="*/ 509 h 945"/>
              <a:gd name="T20" fmla="*/ 792 w 809"/>
              <a:gd name="T21" fmla="*/ 150 h 945"/>
              <a:gd name="T22" fmla="*/ 415 w 809"/>
              <a:gd name="T23" fmla="*/ 4 h 945"/>
              <a:gd name="T24" fmla="*/ 394 w 809"/>
              <a:gd name="T25" fmla="*/ 4 h 945"/>
              <a:gd name="T26" fmla="*/ 17 w 809"/>
              <a:gd name="T27" fmla="*/ 150 h 945"/>
              <a:gd name="T28" fmla="*/ 0 w 809"/>
              <a:gd name="T29" fmla="*/ 168 h 945"/>
              <a:gd name="T30" fmla="*/ 0 w 809"/>
              <a:gd name="T31" fmla="*/ 508 h 945"/>
              <a:gd name="T32" fmla="*/ 398 w 809"/>
              <a:gd name="T33" fmla="*/ 944 h 945"/>
              <a:gd name="T34" fmla="*/ 410 w 809"/>
              <a:gd name="T35" fmla="*/ 944 h 945"/>
              <a:gd name="T36" fmla="*/ 809 w 809"/>
              <a:gd name="T37" fmla="*/ 508 h 945"/>
              <a:gd name="T38" fmla="*/ 809 w 809"/>
              <a:gd name="T39" fmla="*/ 168 h 945"/>
              <a:gd name="T40" fmla="*/ 792 w 809"/>
              <a:gd name="T41" fmla="*/ 150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9" h="945">
                <a:moveTo>
                  <a:pt x="708" y="509"/>
                </a:moveTo>
                <a:cubicBezTo>
                  <a:pt x="708" y="713"/>
                  <a:pt x="483" y="811"/>
                  <a:pt x="405" y="838"/>
                </a:cubicBezTo>
                <a:cubicBezTo>
                  <a:pt x="405" y="838"/>
                  <a:pt x="404" y="838"/>
                  <a:pt x="404" y="838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101" y="473"/>
                  <a:pt x="101" y="473"/>
                  <a:pt x="101" y="473"/>
                </a:cubicBezTo>
                <a:cubicBezTo>
                  <a:pt x="101" y="245"/>
                  <a:pt x="101" y="245"/>
                  <a:pt x="101" y="245"/>
                </a:cubicBezTo>
                <a:cubicBezTo>
                  <a:pt x="185" y="231"/>
                  <a:pt x="288" y="197"/>
                  <a:pt x="404" y="123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708" y="473"/>
                  <a:pt x="708" y="473"/>
                  <a:pt x="708" y="473"/>
                </a:cubicBezTo>
                <a:lnTo>
                  <a:pt x="708" y="509"/>
                </a:lnTo>
                <a:close/>
                <a:moveTo>
                  <a:pt x="792" y="150"/>
                </a:moveTo>
                <a:cubicBezTo>
                  <a:pt x="691" y="146"/>
                  <a:pt x="562" y="109"/>
                  <a:pt x="415" y="4"/>
                </a:cubicBezTo>
                <a:cubicBezTo>
                  <a:pt x="409" y="0"/>
                  <a:pt x="400" y="0"/>
                  <a:pt x="394" y="4"/>
                </a:cubicBezTo>
                <a:cubicBezTo>
                  <a:pt x="247" y="109"/>
                  <a:pt x="118" y="146"/>
                  <a:pt x="17" y="150"/>
                </a:cubicBezTo>
                <a:cubicBezTo>
                  <a:pt x="7" y="150"/>
                  <a:pt x="0" y="158"/>
                  <a:pt x="0" y="168"/>
                </a:cubicBezTo>
                <a:cubicBezTo>
                  <a:pt x="0" y="209"/>
                  <a:pt x="0" y="325"/>
                  <a:pt x="0" y="508"/>
                </a:cubicBezTo>
                <a:cubicBezTo>
                  <a:pt x="0" y="792"/>
                  <a:pt x="348" y="926"/>
                  <a:pt x="398" y="944"/>
                </a:cubicBezTo>
                <a:cubicBezTo>
                  <a:pt x="402" y="945"/>
                  <a:pt x="406" y="945"/>
                  <a:pt x="410" y="944"/>
                </a:cubicBezTo>
                <a:cubicBezTo>
                  <a:pt x="460" y="926"/>
                  <a:pt x="809" y="792"/>
                  <a:pt x="809" y="508"/>
                </a:cubicBezTo>
                <a:cubicBezTo>
                  <a:pt x="809" y="325"/>
                  <a:pt x="809" y="209"/>
                  <a:pt x="809" y="168"/>
                </a:cubicBezTo>
                <a:cubicBezTo>
                  <a:pt x="809" y="158"/>
                  <a:pt x="801" y="150"/>
                  <a:pt x="792" y="15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46" name="Freeform 13">
            <a:extLst>
              <a:ext uri="{FF2B5EF4-FFF2-40B4-BE49-F238E27FC236}">
                <a16:creationId xmlns:a16="http://schemas.microsoft.com/office/drawing/2014/main" id="{D7A5D32A-BEC6-4FFB-B7B4-660CC2F2ED2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87920" y="5097137"/>
            <a:ext cx="218911" cy="197141"/>
          </a:xfrm>
          <a:custGeom>
            <a:avLst/>
            <a:gdLst>
              <a:gd name="T0" fmla="*/ 757 w 1043"/>
              <a:gd name="T1" fmla="*/ 313 h 939"/>
              <a:gd name="T2" fmla="*/ 313 w 1043"/>
              <a:gd name="T3" fmla="*/ 321 h 939"/>
              <a:gd name="T4" fmla="*/ 321 w 1043"/>
              <a:gd name="T5" fmla="*/ 348 h 939"/>
              <a:gd name="T6" fmla="*/ 765 w 1043"/>
              <a:gd name="T7" fmla="*/ 340 h 939"/>
              <a:gd name="T8" fmla="*/ 765 w 1043"/>
              <a:gd name="T9" fmla="*/ 251 h 939"/>
              <a:gd name="T10" fmla="*/ 321 w 1043"/>
              <a:gd name="T11" fmla="*/ 243 h 939"/>
              <a:gd name="T12" fmla="*/ 313 w 1043"/>
              <a:gd name="T13" fmla="*/ 270 h 939"/>
              <a:gd name="T14" fmla="*/ 757 w 1043"/>
              <a:gd name="T15" fmla="*/ 278 h 939"/>
              <a:gd name="T16" fmla="*/ 765 w 1043"/>
              <a:gd name="T17" fmla="*/ 251 h 939"/>
              <a:gd name="T18" fmla="*/ 757 w 1043"/>
              <a:gd name="T19" fmla="*/ 382 h 939"/>
              <a:gd name="T20" fmla="*/ 313 w 1043"/>
              <a:gd name="T21" fmla="*/ 390 h 939"/>
              <a:gd name="T22" fmla="*/ 321 w 1043"/>
              <a:gd name="T23" fmla="*/ 417 h 939"/>
              <a:gd name="T24" fmla="*/ 765 w 1043"/>
              <a:gd name="T25" fmla="*/ 409 h 939"/>
              <a:gd name="T26" fmla="*/ 765 w 1043"/>
              <a:gd name="T27" fmla="*/ 182 h 939"/>
              <a:gd name="T28" fmla="*/ 321 w 1043"/>
              <a:gd name="T29" fmla="*/ 174 h 939"/>
              <a:gd name="T30" fmla="*/ 313 w 1043"/>
              <a:gd name="T31" fmla="*/ 201 h 939"/>
              <a:gd name="T32" fmla="*/ 757 w 1043"/>
              <a:gd name="T33" fmla="*/ 209 h 939"/>
              <a:gd name="T34" fmla="*/ 765 w 1043"/>
              <a:gd name="T35" fmla="*/ 182 h 939"/>
              <a:gd name="T36" fmla="*/ 1027 w 1043"/>
              <a:gd name="T37" fmla="*/ 730 h 939"/>
              <a:gd name="T38" fmla="*/ 491 w 1043"/>
              <a:gd name="T39" fmla="*/ 735 h 939"/>
              <a:gd name="T40" fmla="*/ 487 w 1043"/>
              <a:gd name="T41" fmla="*/ 747 h 939"/>
              <a:gd name="T42" fmla="*/ 358 w 1043"/>
              <a:gd name="T43" fmla="*/ 869 h 939"/>
              <a:gd name="T44" fmla="*/ 243 w 1043"/>
              <a:gd name="T45" fmla="*/ 757 h 939"/>
              <a:gd name="T46" fmla="*/ 243 w 1043"/>
              <a:gd name="T47" fmla="*/ 139 h 939"/>
              <a:gd name="T48" fmla="*/ 742 w 1043"/>
              <a:gd name="T49" fmla="*/ 69 h 939"/>
              <a:gd name="T50" fmla="*/ 834 w 1043"/>
              <a:gd name="T51" fmla="*/ 695 h 939"/>
              <a:gd name="T52" fmla="*/ 904 w 1043"/>
              <a:gd name="T53" fmla="*/ 161 h 939"/>
              <a:gd name="T54" fmla="*/ 685 w 1043"/>
              <a:gd name="T55" fmla="*/ 0 h 939"/>
              <a:gd name="T56" fmla="*/ 0 w 1043"/>
              <a:gd name="T57" fmla="*/ 174 h 939"/>
              <a:gd name="T58" fmla="*/ 16 w 1043"/>
              <a:gd name="T59" fmla="*/ 209 h 939"/>
              <a:gd name="T60" fmla="*/ 174 w 1043"/>
              <a:gd name="T61" fmla="*/ 757 h 939"/>
              <a:gd name="T62" fmla="*/ 820 w 1043"/>
              <a:gd name="T63" fmla="*/ 939 h 939"/>
              <a:gd name="T64" fmla="*/ 1043 w 1043"/>
              <a:gd name="T65" fmla="*/ 765 h 939"/>
              <a:gd name="T66" fmla="*/ 765 w 1043"/>
              <a:gd name="T67" fmla="*/ 529 h 939"/>
              <a:gd name="T68" fmla="*/ 321 w 1043"/>
              <a:gd name="T69" fmla="*/ 522 h 939"/>
              <a:gd name="T70" fmla="*/ 313 w 1043"/>
              <a:gd name="T71" fmla="*/ 548 h 939"/>
              <a:gd name="T72" fmla="*/ 757 w 1043"/>
              <a:gd name="T73" fmla="*/ 556 h 939"/>
              <a:gd name="T74" fmla="*/ 765 w 1043"/>
              <a:gd name="T75" fmla="*/ 529 h 939"/>
              <a:gd name="T76" fmla="*/ 757 w 1043"/>
              <a:gd name="T77" fmla="*/ 452 h 939"/>
              <a:gd name="T78" fmla="*/ 313 w 1043"/>
              <a:gd name="T79" fmla="*/ 460 h 939"/>
              <a:gd name="T80" fmla="*/ 321 w 1043"/>
              <a:gd name="T81" fmla="*/ 487 h 939"/>
              <a:gd name="T82" fmla="*/ 765 w 1043"/>
              <a:gd name="T83" fmla="*/ 479 h 939"/>
              <a:gd name="T84" fmla="*/ 765 w 1043"/>
              <a:gd name="T85" fmla="*/ 599 h 939"/>
              <a:gd name="T86" fmla="*/ 757 w 1043"/>
              <a:gd name="T87" fmla="*/ 626 h 939"/>
              <a:gd name="T88" fmla="*/ 313 w 1043"/>
              <a:gd name="T89" fmla="*/ 618 h 939"/>
              <a:gd name="T90" fmla="*/ 321 w 1043"/>
              <a:gd name="T91" fmla="*/ 591 h 939"/>
              <a:gd name="T92" fmla="*/ 765 w 1043"/>
              <a:gd name="T93" fmla="*/ 59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43" h="939">
                <a:moveTo>
                  <a:pt x="765" y="321"/>
                </a:moveTo>
                <a:cubicBezTo>
                  <a:pt x="765" y="316"/>
                  <a:pt x="761" y="313"/>
                  <a:pt x="757" y="313"/>
                </a:cubicBezTo>
                <a:cubicBezTo>
                  <a:pt x="321" y="313"/>
                  <a:pt x="321" y="313"/>
                  <a:pt x="321" y="313"/>
                </a:cubicBezTo>
                <a:cubicBezTo>
                  <a:pt x="316" y="313"/>
                  <a:pt x="313" y="316"/>
                  <a:pt x="313" y="321"/>
                </a:cubicBezTo>
                <a:cubicBezTo>
                  <a:pt x="313" y="340"/>
                  <a:pt x="313" y="340"/>
                  <a:pt x="313" y="340"/>
                </a:cubicBezTo>
                <a:cubicBezTo>
                  <a:pt x="313" y="344"/>
                  <a:pt x="316" y="348"/>
                  <a:pt x="321" y="348"/>
                </a:cubicBezTo>
                <a:cubicBezTo>
                  <a:pt x="757" y="348"/>
                  <a:pt x="757" y="348"/>
                  <a:pt x="757" y="348"/>
                </a:cubicBezTo>
                <a:cubicBezTo>
                  <a:pt x="761" y="348"/>
                  <a:pt x="765" y="344"/>
                  <a:pt x="765" y="340"/>
                </a:cubicBezTo>
                <a:lnTo>
                  <a:pt x="765" y="321"/>
                </a:lnTo>
                <a:close/>
                <a:moveTo>
                  <a:pt x="765" y="251"/>
                </a:moveTo>
                <a:cubicBezTo>
                  <a:pt x="765" y="247"/>
                  <a:pt x="761" y="243"/>
                  <a:pt x="757" y="243"/>
                </a:cubicBezTo>
                <a:cubicBezTo>
                  <a:pt x="321" y="243"/>
                  <a:pt x="321" y="243"/>
                  <a:pt x="321" y="243"/>
                </a:cubicBezTo>
                <a:cubicBezTo>
                  <a:pt x="316" y="243"/>
                  <a:pt x="313" y="247"/>
                  <a:pt x="313" y="251"/>
                </a:cubicBezTo>
                <a:cubicBezTo>
                  <a:pt x="313" y="270"/>
                  <a:pt x="313" y="270"/>
                  <a:pt x="313" y="270"/>
                </a:cubicBezTo>
                <a:cubicBezTo>
                  <a:pt x="313" y="275"/>
                  <a:pt x="316" y="278"/>
                  <a:pt x="321" y="278"/>
                </a:cubicBezTo>
                <a:cubicBezTo>
                  <a:pt x="757" y="278"/>
                  <a:pt x="757" y="278"/>
                  <a:pt x="757" y="278"/>
                </a:cubicBezTo>
                <a:cubicBezTo>
                  <a:pt x="761" y="278"/>
                  <a:pt x="765" y="275"/>
                  <a:pt x="765" y="270"/>
                </a:cubicBezTo>
                <a:lnTo>
                  <a:pt x="765" y="251"/>
                </a:lnTo>
                <a:close/>
                <a:moveTo>
                  <a:pt x="765" y="390"/>
                </a:moveTo>
                <a:cubicBezTo>
                  <a:pt x="765" y="386"/>
                  <a:pt x="761" y="382"/>
                  <a:pt x="757" y="382"/>
                </a:cubicBezTo>
                <a:cubicBezTo>
                  <a:pt x="321" y="382"/>
                  <a:pt x="321" y="382"/>
                  <a:pt x="321" y="382"/>
                </a:cubicBezTo>
                <a:cubicBezTo>
                  <a:pt x="316" y="382"/>
                  <a:pt x="313" y="386"/>
                  <a:pt x="313" y="390"/>
                </a:cubicBezTo>
                <a:cubicBezTo>
                  <a:pt x="313" y="409"/>
                  <a:pt x="313" y="409"/>
                  <a:pt x="313" y="409"/>
                </a:cubicBezTo>
                <a:cubicBezTo>
                  <a:pt x="313" y="414"/>
                  <a:pt x="316" y="417"/>
                  <a:pt x="321" y="417"/>
                </a:cubicBezTo>
                <a:cubicBezTo>
                  <a:pt x="757" y="417"/>
                  <a:pt x="757" y="417"/>
                  <a:pt x="757" y="417"/>
                </a:cubicBezTo>
                <a:cubicBezTo>
                  <a:pt x="761" y="417"/>
                  <a:pt x="765" y="414"/>
                  <a:pt x="765" y="409"/>
                </a:cubicBezTo>
                <a:lnTo>
                  <a:pt x="765" y="390"/>
                </a:lnTo>
                <a:close/>
                <a:moveTo>
                  <a:pt x="765" y="182"/>
                </a:moveTo>
                <a:cubicBezTo>
                  <a:pt x="765" y="177"/>
                  <a:pt x="761" y="174"/>
                  <a:pt x="757" y="174"/>
                </a:cubicBezTo>
                <a:cubicBezTo>
                  <a:pt x="321" y="174"/>
                  <a:pt x="321" y="174"/>
                  <a:pt x="321" y="174"/>
                </a:cubicBezTo>
                <a:cubicBezTo>
                  <a:pt x="316" y="174"/>
                  <a:pt x="313" y="177"/>
                  <a:pt x="313" y="182"/>
                </a:cubicBezTo>
                <a:cubicBezTo>
                  <a:pt x="313" y="201"/>
                  <a:pt x="313" y="201"/>
                  <a:pt x="313" y="201"/>
                </a:cubicBezTo>
                <a:cubicBezTo>
                  <a:pt x="313" y="205"/>
                  <a:pt x="316" y="209"/>
                  <a:pt x="321" y="209"/>
                </a:cubicBezTo>
                <a:cubicBezTo>
                  <a:pt x="757" y="209"/>
                  <a:pt x="757" y="209"/>
                  <a:pt x="757" y="209"/>
                </a:cubicBezTo>
                <a:cubicBezTo>
                  <a:pt x="761" y="209"/>
                  <a:pt x="765" y="205"/>
                  <a:pt x="765" y="201"/>
                </a:cubicBezTo>
                <a:lnTo>
                  <a:pt x="765" y="182"/>
                </a:lnTo>
                <a:close/>
                <a:moveTo>
                  <a:pt x="1041" y="743"/>
                </a:moveTo>
                <a:cubicBezTo>
                  <a:pt x="1041" y="736"/>
                  <a:pt x="1034" y="730"/>
                  <a:pt x="1027" y="730"/>
                </a:cubicBezTo>
                <a:cubicBezTo>
                  <a:pt x="501" y="730"/>
                  <a:pt x="501" y="730"/>
                  <a:pt x="501" y="730"/>
                </a:cubicBezTo>
                <a:cubicBezTo>
                  <a:pt x="497" y="730"/>
                  <a:pt x="494" y="732"/>
                  <a:pt x="491" y="735"/>
                </a:cubicBezTo>
                <a:cubicBezTo>
                  <a:pt x="488" y="737"/>
                  <a:pt x="486" y="741"/>
                  <a:pt x="487" y="745"/>
                </a:cubicBezTo>
                <a:cubicBezTo>
                  <a:pt x="487" y="746"/>
                  <a:pt x="487" y="747"/>
                  <a:pt x="487" y="747"/>
                </a:cubicBezTo>
                <a:cubicBezTo>
                  <a:pt x="487" y="815"/>
                  <a:pt x="432" y="869"/>
                  <a:pt x="365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295" y="869"/>
                  <a:pt x="243" y="819"/>
                  <a:pt x="243" y="757"/>
                </a:cubicBezTo>
                <a:cubicBezTo>
                  <a:pt x="243" y="757"/>
                  <a:pt x="243" y="243"/>
                  <a:pt x="243" y="174"/>
                </a:cubicBezTo>
                <a:cubicBezTo>
                  <a:pt x="243" y="139"/>
                  <a:pt x="243" y="139"/>
                  <a:pt x="243" y="139"/>
                </a:cubicBezTo>
                <a:cubicBezTo>
                  <a:pt x="243" y="100"/>
                  <a:pt x="212" y="69"/>
                  <a:pt x="174" y="69"/>
                </a:cubicBezTo>
                <a:cubicBezTo>
                  <a:pt x="742" y="69"/>
                  <a:pt x="742" y="69"/>
                  <a:pt x="742" y="69"/>
                </a:cubicBezTo>
                <a:cubicBezTo>
                  <a:pt x="793" y="69"/>
                  <a:pt x="834" y="111"/>
                  <a:pt x="834" y="161"/>
                </a:cubicBezTo>
                <a:cubicBezTo>
                  <a:pt x="834" y="695"/>
                  <a:pt x="834" y="695"/>
                  <a:pt x="834" y="695"/>
                </a:cubicBezTo>
                <a:cubicBezTo>
                  <a:pt x="904" y="695"/>
                  <a:pt x="904" y="695"/>
                  <a:pt x="904" y="695"/>
                </a:cubicBezTo>
                <a:cubicBezTo>
                  <a:pt x="904" y="573"/>
                  <a:pt x="904" y="326"/>
                  <a:pt x="904" y="161"/>
                </a:cubicBezTo>
                <a:cubicBezTo>
                  <a:pt x="904" y="72"/>
                  <a:pt x="832" y="0"/>
                  <a:pt x="742" y="0"/>
                </a:cubicBezTo>
                <a:cubicBezTo>
                  <a:pt x="685" y="0"/>
                  <a:pt x="685" y="0"/>
                  <a:pt x="685" y="0"/>
                </a:cubicBezTo>
                <a:cubicBezTo>
                  <a:pt x="174" y="0"/>
                  <a:pt x="174" y="0"/>
                  <a:pt x="174" y="0"/>
                </a:cubicBezTo>
                <a:cubicBezTo>
                  <a:pt x="78" y="0"/>
                  <a:pt x="0" y="78"/>
                  <a:pt x="0" y="174"/>
                </a:cubicBezTo>
                <a:cubicBezTo>
                  <a:pt x="0" y="181"/>
                  <a:pt x="0" y="188"/>
                  <a:pt x="1" y="196"/>
                </a:cubicBezTo>
                <a:cubicBezTo>
                  <a:pt x="2" y="203"/>
                  <a:pt x="8" y="209"/>
                  <a:pt x="16" y="209"/>
                </a:cubicBezTo>
                <a:cubicBezTo>
                  <a:pt x="174" y="209"/>
                  <a:pt x="174" y="209"/>
                  <a:pt x="174" y="209"/>
                </a:cubicBezTo>
                <a:cubicBezTo>
                  <a:pt x="174" y="410"/>
                  <a:pt x="174" y="694"/>
                  <a:pt x="174" y="757"/>
                </a:cubicBezTo>
                <a:cubicBezTo>
                  <a:pt x="174" y="857"/>
                  <a:pt x="256" y="939"/>
                  <a:pt x="358" y="939"/>
                </a:cubicBezTo>
                <a:cubicBezTo>
                  <a:pt x="820" y="939"/>
                  <a:pt x="820" y="939"/>
                  <a:pt x="820" y="939"/>
                </a:cubicBezTo>
                <a:cubicBezTo>
                  <a:pt x="869" y="939"/>
                  <a:pt x="869" y="939"/>
                  <a:pt x="869" y="939"/>
                </a:cubicBezTo>
                <a:cubicBezTo>
                  <a:pt x="965" y="939"/>
                  <a:pt x="1043" y="861"/>
                  <a:pt x="1043" y="765"/>
                </a:cubicBezTo>
                <a:cubicBezTo>
                  <a:pt x="1043" y="757"/>
                  <a:pt x="1042" y="750"/>
                  <a:pt x="1041" y="743"/>
                </a:cubicBezTo>
                <a:close/>
                <a:moveTo>
                  <a:pt x="765" y="529"/>
                </a:moveTo>
                <a:cubicBezTo>
                  <a:pt x="765" y="525"/>
                  <a:pt x="761" y="522"/>
                  <a:pt x="757" y="522"/>
                </a:cubicBezTo>
                <a:cubicBezTo>
                  <a:pt x="321" y="522"/>
                  <a:pt x="321" y="522"/>
                  <a:pt x="321" y="522"/>
                </a:cubicBezTo>
                <a:cubicBezTo>
                  <a:pt x="316" y="522"/>
                  <a:pt x="313" y="525"/>
                  <a:pt x="313" y="529"/>
                </a:cubicBezTo>
                <a:cubicBezTo>
                  <a:pt x="313" y="548"/>
                  <a:pt x="313" y="548"/>
                  <a:pt x="313" y="548"/>
                </a:cubicBezTo>
                <a:cubicBezTo>
                  <a:pt x="313" y="553"/>
                  <a:pt x="316" y="556"/>
                  <a:pt x="321" y="556"/>
                </a:cubicBezTo>
                <a:cubicBezTo>
                  <a:pt x="757" y="556"/>
                  <a:pt x="757" y="556"/>
                  <a:pt x="757" y="556"/>
                </a:cubicBezTo>
                <a:cubicBezTo>
                  <a:pt x="761" y="556"/>
                  <a:pt x="765" y="553"/>
                  <a:pt x="765" y="548"/>
                </a:cubicBezTo>
                <a:lnTo>
                  <a:pt x="765" y="529"/>
                </a:lnTo>
                <a:close/>
                <a:moveTo>
                  <a:pt x="765" y="460"/>
                </a:moveTo>
                <a:cubicBezTo>
                  <a:pt x="765" y="456"/>
                  <a:pt x="761" y="452"/>
                  <a:pt x="757" y="452"/>
                </a:cubicBezTo>
                <a:cubicBezTo>
                  <a:pt x="321" y="452"/>
                  <a:pt x="321" y="452"/>
                  <a:pt x="321" y="452"/>
                </a:cubicBezTo>
                <a:cubicBezTo>
                  <a:pt x="316" y="452"/>
                  <a:pt x="313" y="456"/>
                  <a:pt x="313" y="460"/>
                </a:cubicBezTo>
                <a:cubicBezTo>
                  <a:pt x="313" y="479"/>
                  <a:pt x="313" y="479"/>
                  <a:pt x="313" y="479"/>
                </a:cubicBezTo>
                <a:cubicBezTo>
                  <a:pt x="313" y="483"/>
                  <a:pt x="316" y="487"/>
                  <a:pt x="321" y="487"/>
                </a:cubicBezTo>
                <a:cubicBezTo>
                  <a:pt x="757" y="487"/>
                  <a:pt x="757" y="487"/>
                  <a:pt x="757" y="487"/>
                </a:cubicBezTo>
                <a:cubicBezTo>
                  <a:pt x="761" y="487"/>
                  <a:pt x="765" y="483"/>
                  <a:pt x="765" y="479"/>
                </a:cubicBezTo>
                <a:lnTo>
                  <a:pt x="765" y="460"/>
                </a:lnTo>
                <a:close/>
                <a:moveTo>
                  <a:pt x="765" y="599"/>
                </a:moveTo>
                <a:cubicBezTo>
                  <a:pt x="765" y="618"/>
                  <a:pt x="765" y="618"/>
                  <a:pt x="765" y="618"/>
                </a:cubicBezTo>
                <a:cubicBezTo>
                  <a:pt x="765" y="622"/>
                  <a:pt x="761" y="626"/>
                  <a:pt x="757" y="626"/>
                </a:cubicBezTo>
                <a:cubicBezTo>
                  <a:pt x="321" y="626"/>
                  <a:pt x="321" y="626"/>
                  <a:pt x="321" y="626"/>
                </a:cubicBezTo>
                <a:cubicBezTo>
                  <a:pt x="316" y="626"/>
                  <a:pt x="313" y="622"/>
                  <a:pt x="313" y="618"/>
                </a:cubicBezTo>
                <a:cubicBezTo>
                  <a:pt x="313" y="599"/>
                  <a:pt x="313" y="599"/>
                  <a:pt x="313" y="599"/>
                </a:cubicBezTo>
                <a:cubicBezTo>
                  <a:pt x="313" y="595"/>
                  <a:pt x="316" y="591"/>
                  <a:pt x="321" y="591"/>
                </a:cubicBezTo>
                <a:cubicBezTo>
                  <a:pt x="757" y="591"/>
                  <a:pt x="757" y="591"/>
                  <a:pt x="757" y="591"/>
                </a:cubicBezTo>
                <a:cubicBezTo>
                  <a:pt x="761" y="591"/>
                  <a:pt x="765" y="595"/>
                  <a:pt x="765" y="5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58D5E51-CE65-43C3-BDF0-F1CE7322ADD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200260" y="2340801"/>
            <a:ext cx="182832" cy="231961"/>
            <a:chOff x="849313" y="-539751"/>
            <a:chExt cx="8375650" cy="10623551"/>
          </a:xfrm>
          <a:solidFill>
            <a:schemeClr val="bg1">
              <a:alpha val="70000"/>
            </a:schemeClr>
          </a:solidFill>
        </p:grpSpPr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82BC6F4C-1150-4124-AF79-040C4155611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3" y="2670175"/>
              <a:ext cx="8375650" cy="7413625"/>
            </a:xfrm>
            <a:custGeom>
              <a:avLst/>
              <a:gdLst>
                <a:gd name="T0" fmla="*/ 116 w 741"/>
                <a:gd name="T1" fmla="*/ 656 h 656"/>
                <a:gd name="T2" fmla="*/ 165 w 741"/>
                <a:gd name="T3" fmla="*/ 561 h 656"/>
                <a:gd name="T4" fmla="*/ 92 w 741"/>
                <a:gd name="T5" fmla="*/ 506 h 656"/>
                <a:gd name="T6" fmla="*/ 0 w 741"/>
                <a:gd name="T7" fmla="*/ 284 h 656"/>
                <a:gd name="T8" fmla="*/ 181 w 741"/>
                <a:gd name="T9" fmla="*/ 0 h 656"/>
                <a:gd name="T10" fmla="*/ 210 w 741"/>
                <a:gd name="T11" fmla="*/ 118 h 656"/>
                <a:gd name="T12" fmla="*/ 118 w 741"/>
                <a:gd name="T13" fmla="*/ 275 h 656"/>
                <a:gd name="T14" fmla="*/ 347 w 741"/>
                <a:gd name="T15" fmla="*/ 437 h 656"/>
                <a:gd name="T16" fmla="*/ 663 w 741"/>
                <a:gd name="T17" fmla="*/ 353 h 656"/>
                <a:gd name="T18" fmla="*/ 699 w 741"/>
                <a:gd name="T19" fmla="*/ 374 h 656"/>
                <a:gd name="T20" fmla="*/ 678 w 741"/>
                <a:gd name="T21" fmla="*/ 410 h 656"/>
                <a:gd name="T22" fmla="*/ 373 w 741"/>
                <a:gd name="T23" fmla="*/ 491 h 656"/>
                <a:gd name="T24" fmla="*/ 386 w 741"/>
                <a:gd name="T25" fmla="*/ 539 h 656"/>
                <a:gd name="T26" fmla="*/ 623 w 741"/>
                <a:gd name="T27" fmla="*/ 539 h 656"/>
                <a:gd name="T28" fmla="*/ 741 w 741"/>
                <a:gd name="T29" fmla="*/ 656 h 656"/>
                <a:gd name="T30" fmla="*/ 116 w 741"/>
                <a:gd name="T31" fmla="*/ 656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1" h="656">
                  <a:moveTo>
                    <a:pt x="116" y="656"/>
                  </a:moveTo>
                  <a:cubicBezTo>
                    <a:pt x="116" y="617"/>
                    <a:pt x="136" y="582"/>
                    <a:pt x="165" y="561"/>
                  </a:cubicBezTo>
                  <a:cubicBezTo>
                    <a:pt x="138" y="546"/>
                    <a:pt x="113" y="528"/>
                    <a:pt x="92" y="506"/>
                  </a:cubicBezTo>
                  <a:cubicBezTo>
                    <a:pt x="35" y="449"/>
                    <a:pt x="0" y="371"/>
                    <a:pt x="0" y="284"/>
                  </a:cubicBezTo>
                  <a:cubicBezTo>
                    <a:pt x="0" y="162"/>
                    <a:pt x="71" y="52"/>
                    <a:pt x="181" y="0"/>
                  </a:cubicBezTo>
                  <a:cubicBezTo>
                    <a:pt x="171" y="41"/>
                    <a:pt x="182" y="86"/>
                    <a:pt x="210" y="118"/>
                  </a:cubicBezTo>
                  <a:cubicBezTo>
                    <a:pt x="156" y="151"/>
                    <a:pt x="120" y="210"/>
                    <a:pt x="118" y="275"/>
                  </a:cubicBezTo>
                  <a:cubicBezTo>
                    <a:pt x="114" y="385"/>
                    <a:pt x="226" y="466"/>
                    <a:pt x="347" y="437"/>
                  </a:cubicBezTo>
                  <a:cubicBezTo>
                    <a:pt x="663" y="353"/>
                    <a:pt x="663" y="353"/>
                    <a:pt x="663" y="353"/>
                  </a:cubicBezTo>
                  <a:cubicBezTo>
                    <a:pt x="678" y="349"/>
                    <a:pt x="694" y="358"/>
                    <a:pt x="699" y="374"/>
                  </a:cubicBezTo>
                  <a:cubicBezTo>
                    <a:pt x="703" y="389"/>
                    <a:pt x="693" y="406"/>
                    <a:pt x="678" y="410"/>
                  </a:cubicBezTo>
                  <a:cubicBezTo>
                    <a:pt x="373" y="491"/>
                    <a:pt x="373" y="491"/>
                    <a:pt x="373" y="491"/>
                  </a:cubicBezTo>
                  <a:cubicBezTo>
                    <a:pt x="386" y="539"/>
                    <a:pt x="386" y="539"/>
                    <a:pt x="386" y="539"/>
                  </a:cubicBezTo>
                  <a:cubicBezTo>
                    <a:pt x="623" y="539"/>
                    <a:pt x="623" y="539"/>
                    <a:pt x="623" y="539"/>
                  </a:cubicBezTo>
                  <a:cubicBezTo>
                    <a:pt x="688" y="539"/>
                    <a:pt x="741" y="591"/>
                    <a:pt x="741" y="656"/>
                  </a:cubicBezTo>
                  <a:lnTo>
                    <a:pt x="116" y="6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0" name="Freeform 42">
              <a:extLst>
                <a:ext uri="{FF2B5EF4-FFF2-40B4-BE49-F238E27FC236}">
                  <a16:creationId xmlns:a16="http://schemas.microsoft.com/office/drawing/2014/main" id="{D966AB41-8E28-4904-84C7-F1A11EC5098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1" y="5043487"/>
              <a:ext cx="2587625" cy="1231900"/>
            </a:xfrm>
            <a:custGeom>
              <a:avLst/>
              <a:gdLst>
                <a:gd name="T0" fmla="*/ 40 w 229"/>
                <a:gd name="T1" fmla="*/ 104 h 109"/>
                <a:gd name="T2" fmla="*/ 4 w 229"/>
                <a:gd name="T3" fmla="*/ 84 h 109"/>
                <a:gd name="T4" fmla="*/ 25 w 229"/>
                <a:gd name="T5" fmla="*/ 48 h 109"/>
                <a:gd name="T6" fmla="*/ 188 w 229"/>
                <a:gd name="T7" fmla="*/ 4 h 109"/>
                <a:gd name="T8" fmla="*/ 224 w 229"/>
                <a:gd name="T9" fmla="*/ 25 h 109"/>
                <a:gd name="T10" fmla="*/ 204 w 229"/>
                <a:gd name="T11" fmla="*/ 61 h 109"/>
                <a:gd name="T12" fmla="*/ 40 w 229"/>
                <a:gd name="T13" fmla="*/ 10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109">
                  <a:moveTo>
                    <a:pt x="40" y="104"/>
                  </a:moveTo>
                  <a:cubicBezTo>
                    <a:pt x="25" y="109"/>
                    <a:pt x="9" y="99"/>
                    <a:pt x="4" y="84"/>
                  </a:cubicBezTo>
                  <a:cubicBezTo>
                    <a:pt x="0" y="68"/>
                    <a:pt x="10" y="52"/>
                    <a:pt x="25" y="48"/>
                  </a:cubicBezTo>
                  <a:cubicBezTo>
                    <a:pt x="188" y="4"/>
                    <a:pt x="188" y="4"/>
                    <a:pt x="188" y="4"/>
                  </a:cubicBezTo>
                  <a:cubicBezTo>
                    <a:pt x="204" y="0"/>
                    <a:pt x="220" y="9"/>
                    <a:pt x="224" y="25"/>
                  </a:cubicBezTo>
                  <a:cubicBezTo>
                    <a:pt x="229" y="40"/>
                    <a:pt x="219" y="57"/>
                    <a:pt x="204" y="61"/>
                  </a:cubicBezTo>
                  <a:lnTo>
                    <a:pt x="4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1" name="Freeform 43">
              <a:extLst>
                <a:ext uri="{FF2B5EF4-FFF2-40B4-BE49-F238E27FC236}">
                  <a16:creationId xmlns:a16="http://schemas.microsoft.com/office/drawing/2014/main" id="{638339A7-E8AC-4239-B87C-F41D697469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4851" y="-539751"/>
              <a:ext cx="4092575" cy="5910263"/>
            </a:xfrm>
            <a:custGeom>
              <a:avLst/>
              <a:gdLst>
                <a:gd name="T0" fmla="*/ 105 w 362"/>
                <a:gd name="T1" fmla="*/ 348 h 523"/>
                <a:gd name="T2" fmla="*/ 69 w 362"/>
                <a:gd name="T3" fmla="*/ 327 h 523"/>
                <a:gd name="T4" fmla="*/ 90 w 362"/>
                <a:gd name="T5" fmla="*/ 291 h 523"/>
                <a:gd name="T6" fmla="*/ 126 w 362"/>
                <a:gd name="T7" fmla="*/ 312 h 523"/>
                <a:gd name="T8" fmla="*/ 105 w 362"/>
                <a:gd name="T9" fmla="*/ 348 h 523"/>
                <a:gd name="T10" fmla="*/ 358 w 362"/>
                <a:gd name="T11" fmla="*/ 441 h 523"/>
                <a:gd name="T12" fmla="*/ 271 w 362"/>
                <a:gd name="T13" fmla="*/ 115 h 523"/>
                <a:gd name="T14" fmla="*/ 233 w 362"/>
                <a:gd name="T15" fmla="*/ 93 h 523"/>
                <a:gd name="T16" fmla="*/ 206 w 362"/>
                <a:gd name="T17" fmla="*/ 101 h 523"/>
                <a:gd name="T18" fmla="*/ 182 w 362"/>
                <a:gd name="T19" fmla="*/ 12 h 523"/>
                <a:gd name="T20" fmla="*/ 164 w 362"/>
                <a:gd name="T21" fmla="*/ 2 h 523"/>
                <a:gd name="T22" fmla="*/ 93 w 362"/>
                <a:gd name="T23" fmla="*/ 21 h 523"/>
                <a:gd name="T24" fmla="*/ 83 w 362"/>
                <a:gd name="T25" fmla="*/ 39 h 523"/>
                <a:gd name="T26" fmla="*/ 107 w 362"/>
                <a:gd name="T27" fmla="*/ 127 h 523"/>
                <a:gd name="T28" fmla="*/ 80 w 362"/>
                <a:gd name="T29" fmla="*/ 135 h 523"/>
                <a:gd name="T30" fmla="*/ 58 w 362"/>
                <a:gd name="T31" fmla="*/ 172 h 523"/>
                <a:gd name="T32" fmla="*/ 75 w 362"/>
                <a:gd name="T33" fmla="*/ 235 h 523"/>
                <a:gd name="T34" fmla="*/ 12 w 362"/>
                <a:gd name="T35" fmla="*/ 342 h 523"/>
                <a:gd name="T36" fmla="*/ 120 w 362"/>
                <a:gd name="T37" fmla="*/ 405 h 523"/>
                <a:gd name="T38" fmla="*/ 120 w 362"/>
                <a:gd name="T39" fmla="*/ 405 h 523"/>
                <a:gd name="T40" fmla="*/ 145 w 362"/>
                <a:gd name="T41" fmla="*/ 498 h 523"/>
                <a:gd name="T42" fmla="*/ 181 w 362"/>
                <a:gd name="T43" fmla="*/ 518 h 523"/>
                <a:gd name="T44" fmla="*/ 337 w 362"/>
                <a:gd name="T45" fmla="*/ 477 h 523"/>
                <a:gd name="T46" fmla="*/ 358 w 362"/>
                <a:gd name="T47" fmla="*/ 441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2" h="523">
                  <a:moveTo>
                    <a:pt x="105" y="348"/>
                  </a:moveTo>
                  <a:cubicBezTo>
                    <a:pt x="89" y="352"/>
                    <a:pt x="73" y="343"/>
                    <a:pt x="69" y="327"/>
                  </a:cubicBezTo>
                  <a:cubicBezTo>
                    <a:pt x="65" y="311"/>
                    <a:pt x="74" y="295"/>
                    <a:pt x="90" y="291"/>
                  </a:cubicBezTo>
                  <a:cubicBezTo>
                    <a:pt x="106" y="287"/>
                    <a:pt x="122" y="296"/>
                    <a:pt x="126" y="312"/>
                  </a:cubicBezTo>
                  <a:cubicBezTo>
                    <a:pt x="130" y="328"/>
                    <a:pt x="121" y="344"/>
                    <a:pt x="105" y="348"/>
                  </a:cubicBezTo>
                  <a:close/>
                  <a:moveTo>
                    <a:pt x="358" y="441"/>
                  </a:moveTo>
                  <a:cubicBezTo>
                    <a:pt x="271" y="115"/>
                    <a:pt x="271" y="115"/>
                    <a:pt x="271" y="115"/>
                  </a:cubicBezTo>
                  <a:cubicBezTo>
                    <a:pt x="266" y="99"/>
                    <a:pt x="250" y="89"/>
                    <a:pt x="233" y="93"/>
                  </a:cubicBezTo>
                  <a:cubicBezTo>
                    <a:pt x="206" y="101"/>
                    <a:pt x="206" y="101"/>
                    <a:pt x="206" y="101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0" y="4"/>
                    <a:pt x="172" y="0"/>
                    <a:pt x="164" y="2"/>
                  </a:cubicBezTo>
                  <a:cubicBezTo>
                    <a:pt x="93" y="21"/>
                    <a:pt x="93" y="21"/>
                    <a:pt x="93" y="21"/>
                  </a:cubicBezTo>
                  <a:cubicBezTo>
                    <a:pt x="86" y="23"/>
                    <a:pt x="81" y="31"/>
                    <a:pt x="83" y="39"/>
                  </a:cubicBezTo>
                  <a:cubicBezTo>
                    <a:pt x="107" y="127"/>
                    <a:pt x="107" y="127"/>
                    <a:pt x="107" y="127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63" y="139"/>
                    <a:pt x="54" y="156"/>
                    <a:pt x="58" y="172"/>
                  </a:cubicBezTo>
                  <a:cubicBezTo>
                    <a:pt x="75" y="235"/>
                    <a:pt x="75" y="235"/>
                    <a:pt x="75" y="235"/>
                  </a:cubicBezTo>
                  <a:cubicBezTo>
                    <a:pt x="28" y="247"/>
                    <a:pt x="0" y="295"/>
                    <a:pt x="12" y="342"/>
                  </a:cubicBezTo>
                  <a:cubicBezTo>
                    <a:pt x="25" y="389"/>
                    <a:pt x="73" y="417"/>
                    <a:pt x="120" y="405"/>
                  </a:cubicBezTo>
                  <a:cubicBezTo>
                    <a:pt x="120" y="405"/>
                    <a:pt x="120" y="405"/>
                    <a:pt x="120" y="405"/>
                  </a:cubicBezTo>
                  <a:cubicBezTo>
                    <a:pt x="145" y="498"/>
                    <a:pt x="145" y="498"/>
                    <a:pt x="145" y="498"/>
                  </a:cubicBezTo>
                  <a:cubicBezTo>
                    <a:pt x="150" y="513"/>
                    <a:pt x="166" y="523"/>
                    <a:pt x="181" y="518"/>
                  </a:cubicBezTo>
                  <a:cubicBezTo>
                    <a:pt x="337" y="477"/>
                    <a:pt x="337" y="477"/>
                    <a:pt x="337" y="477"/>
                  </a:cubicBezTo>
                  <a:cubicBezTo>
                    <a:pt x="353" y="472"/>
                    <a:pt x="362" y="456"/>
                    <a:pt x="358" y="4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52" name="Freeform 47">
            <a:extLst>
              <a:ext uri="{FF2B5EF4-FFF2-40B4-BE49-F238E27FC236}">
                <a16:creationId xmlns:a16="http://schemas.microsoft.com/office/drawing/2014/main" id="{F71D1E0E-DFF9-4618-8B94-A100B76A7F50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74781" y="3268800"/>
            <a:ext cx="201116" cy="201139"/>
          </a:xfrm>
          <a:custGeom>
            <a:avLst/>
            <a:gdLst>
              <a:gd name="T0" fmla="*/ 951 w 981"/>
              <a:gd name="T1" fmla="*/ 842 h 981"/>
              <a:gd name="T2" fmla="*/ 711 w 981"/>
              <a:gd name="T3" fmla="*/ 603 h 981"/>
              <a:gd name="T4" fmla="*/ 603 w 981"/>
              <a:gd name="T5" fmla="*/ 107 h 981"/>
              <a:gd name="T6" fmla="*/ 107 w 981"/>
              <a:gd name="T7" fmla="*/ 216 h 981"/>
              <a:gd name="T8" fmla="*/ 216 w 981"/>
              <a:gd name="T9" fmla="*/ 712 h 981"/>
              <a:gd name="T10" fmla="*/ 603 w 981"/>
              <a:gd name="T11" fmla="*/ 712 h 981"/>
              <a:gd name="T12" fmla="*/ 842 w 981"/>
              <a:gd name="T13" fmla="*/ 951 h 981"/>
              <a:gd name="T14" fmla="*/ 951 w 981"/>
              <a:gd name="T15" fmla="*/ 951 h 981"/>
              <a:gd name="T16" fmla="*/ 951 w 981"/>
              <a:gd name="T17" fmla="*/ 843 h 981"/>
              <a:gd name="T18" fmla="*/ 951 w 981"/>
              <a:gd name="T19" fmla="*/ 842 h 981"/>
              <a:gd name="T20" fmla="*/ 153 w 981"/>
              <a:gd name="T21" fmla="*/ 410 h 981"/>
              <a:gd name="T22" fmla="*/ 410 w 981"/>
              <a:gd name="T23" fmla="*/ 153 h 981"/>
              <a:gd name="T24" fmla="*/ 666 w 981"/>
              <a:gd name="T25" fmla="*/ 410 h 981"/>
              <a:gd name="T26" fmla="*/ 410 w 981"/>
              <a:gd name="T27" fmla="*/ 666 h 981"/>
              <a:gd name="T28" fmla="*/ 153 w 981"/>
              <a:gd name="T29" fmla="*/ 410 h 9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81" h="981">
                <a:moveTo>
                  <a:pt x="951" y="842"/>
                </a:moveTo>
                <a:cubicBezTo>
                  <a:pt x="711" y="603"/>
                  <a:pt x="711" y="603"/>
                  <a:pt x="711" y="603"/>
                </a:cubicBezTo>
                <a:cubicBezTo>
                  <a:pt x="818" y="436"/>
                  <a:pt x="770" y="214"/>
                  <a:pt x="603" y="107"/>
                </a:cubicBezTo>
                <a:cubicBezTo>
                  <a:pt x="436" y="0"/>
                  <a:pt x="214" y="49"/>
                  <a:pt x="107" y="216"/>
                </a:cubicBezTo>
                <a:cubicBezTo>
                  <a:pt x="0" y="383"/>
                  <a:pt x="49" y="605"/>
                  <a:pt x="216" y="712"/>
                </a:cubicBezTo>
                <a:cubicBezTo>
                  <a:pt x="334" y="787"/>
                  <a:pt x="485" y="787"/>
                  <a:pt x="603" y="712"/>
                </a:cubicBezTo>
                <a:cubicBezTo>
                  <a:pt x="842" y="951"/>
                  <a:pt x="842" y="951"/>
                  <a:pt x="842" y="951"/>
                </a:cubicBezTo>
                <a:cubicBezTo>
                  <a:pt x="872" y="981"/>
                  <a:pt x="921" y="981"/>
                  <a:pt x="951" y="951"/>
                </a:cubicBezTo>
                <a:cubicBezTo>
                  <a:pt x="981" y="921"/>
                  <a:pt x="981" y="873"/>
                  <a:pt x="951" y="843"/>
                </a:cubicBezTo>
                <a:cubicBezTo>
                  <a:pt x="951" y="843"/>
                  <a:pt x="951" y="842"/>
                  <a:pt x="951" y="842"/>
                </a:cubicBezTo>
                <a:close/>
                <a:moveTo>
                  <a:pt x="153" y="410"/>
                </a:moveTo>
                <a:cubicBezTo>
                  <a:pt x="153" y="268"/>
                  <a:pt x="268" y="153"/>
                  <a:pt x="410" y="153"/>
                </a:cubicBezTo>
                <a:cubicBezTo>
                  <a:pt x="551" y="153"/>
                  <a:pt x="666" y="268"/>
                  <a:pt x="666" y="410"/>
                </a:cubicBezTo>
                <a:cubicBezTo>
                  <a:pt x="666" y="551"/>
                  <a:pt x="551" y="666"/>
                  <a:pt x="410" y="666"/>
                </a:cubicBezTo>
                <a:cubicBezTo>
                  <a:pt x="268" y="666"/>
                  <a:pt x="153" y="551"/>
                  <a:pt x="153" y="41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4ABA8E43-7AC4-491A-BA3D-E536249183E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84359" y="2786642"/>
            <a:ext cx="219317" cy="283896"/>
            <a:chOff x="10758416" y="1419641"/>
            <a:chExt cx="3297184" cy="4266944"/>
          </a:xfrm>
          <a:solidFill>
            <a:schemeClr val="bg1">
              <a:alpha val="80000"/>
            </a:schemeClr>
          </a:solidFill>
        </p:grpSpPr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51B9485F-6A76-47F3-A157-52492209E045}"/>
                </a:ext>
              </a:extLst>
            </p:cNvPr>
            <p:cNvSpPr/>
            <p:nvPr/>
          </p:nvSpPr>
          <p:spPr>
            <a:xfrm>
              <a:off x="10758416" y="1419641"/>
              <a:ext cx="3297184" cy="4266944"/>
            </a:xfrm>
            <a:custGeom>
              <a:avLst/>
              <a:gdLst>
                <a:gd name="connsiteX0" fmla="*/ 2763817 w 3297184"/>
                <a:gd name="connsiteY0" fmla="*/ 1939520 h 4266944"/>
                <a:gd name="connsiteX1" fmla="*/ 2424401 w 3297184"/>
                <a:gd name="connsiteY1" fmla="*/ 1600104 h 4266944"/>
                <a:gd name="connsiteX2" fmla="*/ 2763817 w 3297184"/>
                <a:gd name="connsiteY2" fmla="*/ 1260688 h 4266944"/>
                <a:gd name="connsiteX3" fmla="*/ 3103233 w 3297184"/>
                <a:gd name="connsiteY3" fmla="*/ 1600104 h 4266944"/>
                <a:gd name="connsiteX4" fmla="*/ 2763817 w 3297184"/>
                <a:gd name="connsiteY4" fmla="*/ 1939520 h 4266944"/>
                <a:gd name="connsiteX5" fmla="*/ 3297185 w 3297184"/>
                <a:gd name="connsiteY5" fmla="*/ 1600104 h 4266944"/>
                <a:gd name="connsiteX6" fmla="*/ 2763817 w 3297184"/>
                <a:gd name="connsiteY6" fmla="*/ 1066736 h 4266944"/>
                <a:gd name="connsiteX7" fmla="*/ 2230449 w 3297184"/>
                <a:gd name="connsiteY7" fmla="*/ 1600104 h 4266944"/>
                <a:gd name="connsiteX8" fmla="*/ 2618353 w 3297184"/>
                <a:gd name="connsiteY8" fmla="*/ 2114077 h 4266944"/>
                <a:gd name="connsiteX9" fmla="*/ 2618353 w 3297184"/>
                <a:gd name="connsiteY9" fmla="*/ 3248697 h 4266944"/>
                <a:gd name="connsiteX10" fmla="*/ 1891032 w 3297184"/>
                <a:gd name="connsiteY10" fmla="*/ 3976017 h 4266944"/>
                <a:gd name="connsiteX11" fmla="*/ 1163712 w 3297184"/>
                <a:gd name="connsiteY11" fmla="*/ 3248697 h 4266944"/>
                <a:gd name="connsiteX12" fmla="*/ 1163712 w 3297184"/>
                <a:gd name="connsiteY12" fmla="*/ 2754119 h 4266944"/>
                <a:gd name="connsiteX13" fmla="*/ 2036496 w 3297184"/>
                <a:gd name="connsiteY13" fmla="*/ 1745568 h 4266944"/>
                <a:gd name="connsiteX14" fmla="*/ 1939520 w 3297184"/>
                <a:gd name="connsiteY14" fmla="*/ 1580709 h 4266944"/>
                <a:gd name="connsiteX15" fmla="*/ 1939520 w 3297184"/>
                <a:gd name="connsiteY15" fmla="*/ 387904 h 4266944"/>
                <a:gd name="connsiteX16" fmla="*/ 1687383 w 3297184"/>
                <a:gd name="connsiteY16" fmla="*/ 101825 h 4266944"/>
                <a:gd name="connsiteX17" fmla="*/ 1551616 w 3297184"/>
                <a:gd name="connsiteY17" fmla="*/ 0 h 4266944"/>
                <a:gd name="connsiteX18" fmla="*/ 1503128 w 3297184"/>
                <a:gd name="connsiteY18" fmla="*/ 0 h 4266944"/>
                <a:gd name="connsiteX19" fmla="*/ 1309176 w 3297184"/>
                <a:gd name="connsiteY19" fmla="*/ 193952 h 4266944"/>
                <a:gd name="connsiteX20" fmla="*/ 1503128 w 3297184"/>
                <a:gd name="connsiteY20" fmla="*/ 387904 h 4266944"/>
                <a:gd name="connsiteX21" fmla="*/ 1551616 w 3297184"/>
                <a:gd name="connsiteY21" fmla="*/ 387904 h 4266944"/>
                <a:gd name="connsiteX22" fmla="*/ 1687383 w 3297184"/>
                <a:gd name="connsiteY22" fmla="*/ 300626 h 4266944"/>
                <a:gd name="connsiteX23" fmla="*/ 1745568 w 3297184"/>
                <a:gd name="connsiteY23" fmla="*/ 387904 h 4266944"/>
                <a:gd name="connsiteX24" fmla="*/ 1745568 w 3297184"/>
                <a:gd name="connsiteY24" fmla="*/ 1580709 h 4266944"/>
                <a:gd name="connsiteX25" fmla="*/ 1648592 w 3297184"/>
                <a:gd name="connsiteY25" fmla="*/ 1745568 h 4266944"/>
                <a:gd name="connsiteX26" fmla="*/ 1018248 w 3297184"/>
                <a:gd name="connsiteY26" fmla="*/ 2375913 h 4266944"/>
                <a:gd name="connsiteX27" fmla="*/ 387904 w 3297184"/>
                <a:gd name="connsiteY27" fmla="*/ 1745568 h 4266944"/>
                <a:gd name="connsiteX28" fmla="*/ 290928 w 3297184"/>
                <a:gd name="connsiteY28" fmla="*/ 1580709 h 4266944"/>
                <a:gd name="connsiteX29" fmla="*/ 290928 w 3297184"/>
                <a:gd name="connsiteY29" fmla="*/ 387904 h 4266944"/>
                <a:gd name="connsiteX30" fmla="*/ 349114 w 3297184"/>
                <a:gd name="connsiteY30" fmla="*/ 300626 h 4266944"/>
                <a:gd name="connsiteX31" fmla="*/ 484880 w 3297184"/>
                <a:gd name="connsiteY31" fmla="*/ 387904 h 4266944"/>
                <a:gd name="connsiteX32" fmla="*/ 533368 w 3297184"/>
                <a:gd name="connsiteY32" fmla="*/ 387904 h 4266944"/>
                <a:gd name="connsiteX33" fmla="*/ 727320 w 3297184"/>
                <a:gd name="connsiteY33" fmla="*/ 193952 h 4266944"/>
                <a:gd name="connsiteX34" fmla="*/ 533368 w 3297184"/>
                <a:gd name="connsiteY34" fmla="*/ 0 h 4266944"/>
                <a:gd name="connsiteX35" fmla="*/ 484880 w 3297184"/>
                <a:gd name="connsiteY35" fmla="*/ 0 h 4266944"/>
                <a:gd name="connsiteX36" fmla="*/ 349114 w 3297184"/>
                <a:gd name="connsiteY36" fmla="*/ 101825 h 4266944"/>
                <a:gd name="connsiteX37" fmla="*/ 96976 w 3297184"/>
                <a:gd name="connsiteY37" fmla="*/ 387904 h 4266944"/>
                <a:gd name="connsiteX38" fmla="*/ 96976 w 3297184"/>
                <a:gd name="connsiteY38" fmla="*/ 1580709 h 4266944"/>
                <a:gd name="connsiteX39" fmla="*/ 0 w 3297184"/>
                <a:gd name="connsiteY39" fmla="*/ 1745568 h 4266944"/>
                <a:gd name="connsiteX40" fmla="*/ 872784 w 3297184"/>
                <a:gd name="connsiteY40" fmla="*/ 2754119 h 4266944"/>
                <a:gd name="connsiteX41" fmla="*/ 872784 w 3297184"/>
                <a:gd name="connsiteY41" fmla="*/ 3248697 h 4266944"/>
                <a:gd name="connsiteX42" fmla="*/ 1891032 w 3297184"/>
                <a:gd name="connsiteY42" fmla="*/ 4266945 h 4266944"/>
                <a:gd name="connsiteX43" fmla="*/ 2909281 w 3297184"/>
                <a:gd name="connsiteY43" fmla="*/ 3248697 h 4266944"/>
                <a:gd name="connsiteX44" fmla="*/ 2909281 w 3297184"/>
                <a:gd name="connsiteY44" fmla="*/ 2114077 h 4266944"/>
                <a:gd name="connsiteX45" fmla="*/ 3297185 w 3297184"/>
                <a:gd name="connsiteY45" fmla="*/ 1600104 h 4266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3297184" h="4266944">
                  <a:moveTo>
                    <a:pt x="2763817" y="1939520"/>
                  </a:moveTo>
                  <a:cubicBezTo>
                    <a:pt x="2574713" y="1939520"/>
                    <a:pt x="2424401" y="1789208"/>
                    <a:pt x="2424401" y="1600104"/>
                  </a:cubicBezTo>
                  <a:cubicBezTo>
                    <a:pt x="2424401" y="1411001"/>
                    <a:pt x="2574713" y="1260688"/>
                    <a:pt x="2763817" y="1260688"/>
                  </a:cubicBezTo>
                  <a:cubicBezTo>
                    <a:pt x="2952920" y="1260688"/>
                    <a:pt x="3103233" y="1411001"/>
                    <a:pt x="3103233" y="1600104"/>
                  </a:cubicBezTo>
                  <a:cubicBezTo>
                    <a:pt x="3103233" y="1789208"/>
                    <a:pt x="2952920" y="1939520"/>
                    <a:pt x="2763817" y="1939520"/>
                  </a:cubicBezTo>
                  <a:close/>
                  <a:moveTo>
                    <a:pt x="3297185" y="1600104"/>
                  </a:moveTo>
                  <a:cubicBezTo>
                    <a:pt x="3297185" y="1304328"/>
                    <a:pt x="3059594" y="1066736"/>
                    <a:pt x="2763817" y="1066736"/>
                  </a:cubicBezTo>
                  <a:cubicBezTo>
                    <a:pt x="2468040" y="1066736"/>
                    <a:pt x="2230449" y="1304328"/>
                    <a:pt x="2230449" y="1600104"/>
                  </a:cubicBezTo>
                  <a:cubicBezTo>
                    <a:pt x="2230449" y="1842544"/>
                    <a:pt x="2395308" y="2051043"/>
                    <a:pt x="2618353" y="2114077"/>
                  </a:cubicBezTo>
                  <a:lnTo>
                    <a:pt x="2618353" y="3248697"/>
                  </a:lnTo>
                  <a:cubicBezTo>
                    <a:pt x="2618353" y="3651147"/>
                    <a:pt x="2293483" y="3976017"/>
                    <a:pt x="1891032" y="3976017"/>
                  </a:cubicBezTo>
                  <a:cubicBezTo>
                    <a:pt x="1488582" y="3976017"/>
                    <a:pt x="1163712" y="3651147"/>
                    <a:pt x="1163712" y="3248697"/>
                  </a:cubicBezTo>
                  <a:lnTo>
                    <a:pt x="1163712" y="2754119"/>
                  </a:lnTo>
                  <a:cubicBezTo>
                    <a:pt x="1658290" y="2681387"/>
                    <a:pt x="2036496" y="2259541"/>
                    <a:pt x="2036496" y="1745568"/>
                  </a:cubicBezTo>
                  <a:cubicBezTo>
                    <a:pt x="2036496" y="1672836"/>
                    <a:pt x="1997706" y="1609802"/>
                    <a:pt x="1939520" y="1580709"/>
                  </a:cubicBezTo>
                  <a:lnTo>
                    <a:pt x="1939520" y="387904"/>
                  </a:lnTo>
                  <a:cubicBezTo>
                    <a:pt x="1939520" y="242440"/>
                    <a:pt x="1827998" y="121220"/>
                    <a:pt x="1687383" y="101825"/>
                  </a:cubicBezTo>
                  <a:cubicBezTo>
                    <a:pt x="1667988" y="43639"/>
                    <a:pt x="1614651" y="0"/>
                    <a:pt x="1551616" y="0"/>
                  </a:cubicBezTo>
                  <a:lnTo>
                    <a:pt x="1503128" y="0"/>
                  </a:lnTo>
                  <a:cubicBezTo>
                    <a:pt x="1396455" y="0"/>
                    <a:pt x="1309176" y="87278"/>
                    <a:pt x="1309176" y="193952"/>
                  </a:cubicBezTo>
                  <a:cubicBezTo>
                    <a:pt x="1309176" y="300626"/>
                    <a:pt x="1396455" y="387904"/>
                    <a:pt x="1503128" y="387904"/>
                  </a:cubicBezTo>
                  <a:lnTo>
                    <a:pt x="1551616" y="387904"/>
                  </a:lnTo>
                  <a:cubicBezTo>
                    <a:pt x="1609802" y="387904"/>
                    <a:pt x="1663139" y="349114"/>
                    <a:pt x="1687383" y="300626"/>
                  </a:cubicBezTo>
                  <a:cubicBezTo>
                    <a:pt x="1721324" y="315172"/>
                    <a:pt x="1745568" y="349114"/>
                    <a:pt x="1745568" y="387904"/>
                  </a:cubicBezTo>
                  <a:lnTo>
                    <a:pt x="1745568" y="1580709"/>
                  </a:lnTo>
                  <a:cubicBezTo>
                    <a:pt x="1687383" y="1614651"/>
                    <a:pt x="1648592" y="1677685"/>
                    <a:pt x="1648592" y="1745568"/>
                  </a:cubicBezTo>
                  <a:cubicBezTo>
                    <a:pt x="1648592" y="2094682"/>
                    <a:pt x="1367362" y="2375913"/>
                    <a:pt x="1018248" y="2375913"/>
                  </a:cubicBezTo>
                  <a:cubicBezTo>
                    <a:pt x="669135" y="2375913"/>
                    <a:pt x="387904" y="2094682"/>
                    <a:pt x="387904" y="1745568"/>
                  </a:cubicBezTo>
                  <a:cubicBezTo>
                    <a:pt x="387904" y="1672836"/>
                    <a:pt x="349114" y="1609802"/>
                    <a:pt x="290928" y="1580709"/>
                  </a:cubicBezTo>
                  <a:lnTo>
                    <a:pt x="290928" y="387904"/>
                  </a:lnTo>
                  <a:cubicBezTo>
                    <a:pt x="290928" y="349114"/>
                    <a:pt x="315172" y="315172"/>
                    <a:pt x="349114" y="300626"/>
                  </a:cubicBezTo>
                  <a:cubicBezTo>
                    <a:pt x="373358" y="353963"/>
                    <a:pt x="421846" y="387904"/>
                    <a:pt x="484880" y="387904"/>
                  </a:cubicBezTo>
                  <a:lnTo>
                    <a:pt x="533368" y="387904"/>
                  </a:lnTo>
                  <a:cubicBezTo>
                    <a:pt x="640042" y="387904"/>
                    <a:pt x="727320" y="300626"/>
                    <a:pt x="727320" y="193952"/>
                  </a:cubicBezTo>
                  <a:cubicBezTo>
                    <a:pt x="727320" y="87278"/>
                    <a:pt x="640042" y="0"/>
                    <a:pt x="533368" y="0"/>
                  </a:cubicBezTo>
                  <a:lnTo>
                    <a:pt x="484880" y="0"/>
                  </a:lnTo>
                  <a:cubicBezTo>
                    <a:pt x="421846" y="0"/>
                    <a:pt x="368509" y="43639"/>
                    <a:pt x="349114" y="101825"/>
                  </a:cubicBezTo>
                  <a:cubicBezTo>
                    <a:pt x="208498" y="121220"/>
                    <a:pt x="96976" y="242440"/>
                    <a:pt x="96976" y="387904"/>
                  </a:cubicBezTo>
                  <a:lnTo>
                    <a:pt x="96976" y="1580709"/>
                  </a:lnTo>
                  <a:cubicBezTo>
                    <a:pt x="38790" y="1614651"/>
                    <a:pt x="0" y="1677685"/>
                    <a:pt x="0" y="1745568"/>
                  </a:cubicBezTo>
                  <a:cubicBezTo>
                    <a:pt x="0" y="2259541"/>
                    <a:pt x="378206" y="2681387"/>
                    <a:pt x="872784" y="2754119"/>
                  </a:cubicBezTo>
                  <a:lnTo>
                    <a:pt x="872784" y="3248697"/>
                  </a:lnTo>
                  <a:cubicBezTo>
                    <a:pt x="872784" y="3811158"/>
                    <a:pt x="1328572" y="4266945"/>
                    <a:pt x="1891032" y="4266945"/>
                  </a:cubicBezTo>
                  <a:cubicBezTo>
                    <a:pt x="2453493" y="4266945"/>
                    <a:pt x="2909281" y="3811158"/>
                    <a:pt x="2909281" y="3248697"/>
                  </a:cubicBezTo>
                  <a:lnTo>
                    <a:pt x="2909281" y="2114077"/>
                  </a:lnTo>
                  <a:cubicBezTo>
                    <a:pt x="3132326" y="2051043"/>
                    <a:pt x="3297185" y="1842544"/>
                    <a:pt x="3297185" y="1600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BB4C0E38-BA60-4889-9699-8D70F9B6635F}"/>
                </a:ext>
              </a:extLst>
            </p:cNvPr>
            <p:cNvSpPr/>
            <p:nvPr/>
          </p:nvSpPr>
          <p:spPr>
            <a:xfrm>
              <a:off x="13279792" y="2777305"/>
              <a:ext cx="484880" cy="484880"/>
            </a:xfrm>
            <a:custGeom>
              <a:avLst/>
              <a:gdLst>
                <a:gd name="connsiteX0" fmla="*/ 484880 w 484880"/>
                <a:gd name="connsiteY0" fmla="*/ 242440 h 484880"/>
                <a:gd name="connsiteX1" fmla="*/ 242440 w 484880"/>
                <a:gd name="connsiteY1" fmla="*/ 484880 h 484880"/>
                <a:gd name="connsiteX2" fmla="*/ 0 w 484880"/>
                <a:gd name="connsiteY2" fmla="*/ 242440 h 484880"/>
                <a:gd name="connsiteX3" fmla="*/ 242440 w 484880"/>
                <a:gd name="connsiteY3" fmla="*/ 0 h 484880"/>
                <a:gd name="connsiteX4" fmla="*/ 484880 w 484880"/>
                <a:gd name="connsiteY4" fmla="*/ 242440 h 484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880" h="484880">
                  <a:moveTo>
                    <a:pt x="484880" y="242440"/>
                  </a:moveTo>
                  <a:cubicBezTo>
                    <a:pt x="484880" y="376336"/>
                    <a:pt x="376336" y="484880"/>
                    <a:pt x="242440" y="484880"/>
                  </a:cubicBezTo>
                  <a:cubicBezTo>
                    <a:pt x="108544" y="484880"/>
                    <a:pt x="0" y="376336"/>
                    <a:pt x="0" y="242440"/>
                  </a:cubicBezTo>
                  <a:cubicBezTo>
                    <a:pt x="0" y="108544"/>
                    <a:pt x="108544" y="0"/>
                    <a:pt x="242440" y="0"/>
                  </a:cubicBezTo>
                  <a:cubicBezTo>
                    <a:pt x="376336" y="0"/>
                    <a:pt x="484880" y="108544"/>
                    <a:pt x="484880" y="2424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28962B84-69D6-49E2-A6D5-D1FD209ED69C}"/>
              </a:ext>
            </a:extLst>
          </p:cNvPr>
          <p:cNvGrpSpPr/>
          <p:nvPr userDrawn="1"/>
        </p:nvGrpSpPr>
        <p:grpSpPr>
          <a:xfrm>
            <a:off x="11169212" y="3702633"/>
            <a:ext cx="229989" cy="225311"/>
            <a:chOff x="2634853" y="3844528"/>
            <a:chExt cx="261938" cy="268319"/>
          </a:xfrm>
          <a:solidFill>
            <a:schemeClr val="bg1">
              <a:alpha val="80000"/>
            </a:schemeClr>
          </a:solidFill>
        </p:grpSpPr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DCA5D961-6943-46CA-93F4-2CC2D19907A2}"/>
                </a:ext>
              </a:extLst>
            </p:cNvPr>
            <p:cNvSpPr/>
            <p:nvPr/>
          </p:nvSpPr>
          <p:spPr>
            <a:xfrm>
              <a:off x="2634853" y="3965972"/>
              <a:ext cx="34366" cy="108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39F4C42D-FDA7-457B-8A3A-41396B5F36D4}"/>
                </a:ext>
              </a:extLst>
            </p:cNvPr>
            <p:cNvSpPr/>
            <p:nvPr/>
          </p:nvSpPr>
          <p:spPr>
            <a:xfrm>
              <a:off x="2691746" y="3894534"/>
              <a:ext cx="34366" cy="18024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A4C42627-1D5A-4360-8661-FC737DC06A60}"/>
                </a:ext>
              </a:extLst>
            </p:cNvPr>
            <p:cNvSpPr/>
            <p:nvPr/>
          </p:nvSpPr>
          <p:spPr>
            <a:xfrm>
              <a:off x="2748639" y="3992166"/>
              <a:ext cx="34366" cy="826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8485F91F-E85C-4F6E-A76F-754F9962B97F}"/>
                </a:ext>
              </a:extLst>
            </p:cNvPr>
            <p:cNvSpPr/>
            <p:nvPr/>
          </p:nvSpPr>
          <p:spPr>
            <a:xfrm>
              <a:off x="2805532" y="3942160"/>
              <a:ext cx="34366" cy="13261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C8921E42-F206-4F0A-A49C-168CEB1BF3F0}"/>
                </a:ext>
              </a:extLst>
            </p:cNvPr>
            <p:cNvSpPr/>
            <p:nvPr/>
          </p:nvSpPr>
          <p:spPr>
            <a:xfrm>
              <a:off x="2862425" y="3844528"/>
              <a:ext cx="34366" cy="2302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8C9530FD-94E4-4080-B2BE-C982CCACBEE0}"/>
                </a:ext>
              </a:extLst>
            </p:cNvPr>
            <p:cNvSpPr/>
            <p:nvPr/>
          </p:nvSpPr>
          <p:spPr>
            <a:xfrm>
              <a:off x="2634853" y="4094559"/>
              <a:ext cx="261938" cy="1828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0042537F-B107-4713-A503-AE87A91A0C8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43494" y="4609169"/>
            <a:ext cx="247314" cy="241130"/>
            <a:chOff x="2578100" y="0"/>
            <a:chExt cx="11628438" cy="11334750"/>
          </a:xfrm>
          <a:solidFill>
            <a:schemeClr val="bg1">
              <a:alpha val="80000"/>
            </a:schemeClr>
          </a:solidFill>
        </p:grpSpPr>
        <p:sp>
          <p:nvSpPr>
            <p:cNvPr id="85" name="Freeform 15">
              <a:extLst>
                <a:ext uri="{FF2B5EF4-FFF2-40B4-BE49-F238E27FC236}">
                  <a16:creationId xmlns:a16="http://schemas.microsoft.com/office/drawing/2014/main" id="{E554BB40-EE30-45B3-B0FD-39098FEDEF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2263" y="0"/>
              <a:ext cx="4994275" cy="5073650"/>
            </a:xfrm>
            <a:custGeom>
              <a:avLst/>
              <a:gdLst>
                <a:gd name="T0" fmla="*/ 211 w 442"/>
                <a:gd name="T1" fmla="*/ 137 h 449"/>
                <a:gd name="T2" fmla="*/ 308 w 442"/>
                <a:gd name="T3" fmla="*/ 215 h 449"/>
                <a:gd name="T4" fmla="*/ 231 w 442"/>
                <a:gd name="T5" fmla="*/ 312 h 449"/>
                <a:gd name="T6" fmla="*/ 133 w 442"/>
                <a:gd name="T7" fmla="*/ 235 h 449"/>
                <a:gd name="T8" fmla="*/ 211 w 442"/>
                <a:gd name="T9" fmla="*/ 137 h 449"/>
                <a:gd name="T10" fmla="*/ 65 w 442"/>
                <a:gd name="T11" fmla="*/ 283 h 449"/>
                <a:gd name="T12" fmla="*/ 16 w 442"/>
                <a:gd name="T13" fmla="*/ 320 h 449"/>
                <a:gd name="T14" fmla="*/ 71 w 442"/>
                <a:gd name="T15" fmla="*/ 394 h 449"/>
                <a:gd name="T16" fmla="*/ 121 w 442"/>
                <a:gd name="T17" fmla="*/ 357 h 449"/>
                <a:gd name="T18" fmla="*/ 194 w 442"/>
                <a:gd name="T19" fmla="*/ 389 h 449"/>
                <a:gd name="T20" fmla="*/ 201 w 442"/>
                <a:gd name="T21" fmla="*/ 449 h 449"/>
                <a:gd name="T22" fmla="*/ 292 w 442"/>
                <a:gd name="T23" fmla="*/ 439 h 449"/>
                <a:gd name="T24" fmla="*/ 285 w 442"/>
                <a:gd name="T25" fmla="*/ 378 h 449"/>
                <a:gd name="T26" fmla="*/ 349 w 442"/>
                <a:gd name="T27" fmla="*/ 330 h 449"/>
                <a:gd name="T28" fmla="*/ 405 w 442"/>
                <a:gd name="T29" fmla="*/ 354 h 449"/>
                <a:gd name="T30" fmla="*/ 442 w 442"/>
                <a:gd name="T31" fmla="*/ 270 h 449"/>
                <a:gd name="T32" fmla="*/ 385 w 442"/>
                <a:gd name="T33" fmla="*/ 246 h 449"/>
                <a:gd name="T34" fmla="*/ 376 w 442"/>
                <a:gd name="T35" fmla="*/ 166 h 449"/>
                <a:gd name="T36" fmla="*/ 425 w 442"/>
                <a:gd name="T37" fmla="*/ 130 h 449"/>
                <a:gd name="T38" fmla="*/ 370 w 442"/>
                <a:gd name="T39" fmla="*/ 56 h 449"/>
                <a:gd name="T40" fmla="*/ 321 w 442"/>
                <a:gd name="T41" fmla="*/ 93 h 449"/>
                <a:gd name="T42" fmla="*/ 248 w 442"/>
                <a:gd name="T43" fmla="*/ 61 h 449"/>
                <a:gd name="T44" fmla="*/ 241 w 442"/>
                <a:gd name="T45" fmla="*/ 0 h 449"/>
                <a:gd name="T46" fmla="*/ 149 w 442"/>
                <a:gd name="T47" fmla="*/ 11 h 449"/>
                <a:gd name="T48" fmla="*/ 156 w 442"/>
                <a:gd name="T49" fmla="*/ 72 h 449"/>
                <a:gd name="T50" fmla="*/ 93 w 442"/>
                <a:gd name="T51" fmla="*/ 119 h 449"/>
                <a:gd name="T52" fmla="*/ 36 w 442"/>
                <a:gd name="T53" fmla="*/ 95 h 449"/>
                <a:gd name="T54" fmla="*/ 0 w 442"/>
                <a:gd name="T55" fmla="*/ 180 h 449"/>
                <a:gd name="T56" fmla="*/ 56 w 442"/>
                <a:gd name="T57" fmla="*/ 204 h 449"/>
                <a:gd name="T58" fmla="*/ 65 w 442"/>
                <a:gd name="T59" fmla="*/ 283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2" h="449">
                  <a:moveTo>
                    <a:pt x="211" y="137"/>
                  </a:moveTo>
                  <a:cubicBezTo>
                    <a:pt x="259" y="132"/>
                    <a:pt x="303" y="166"/>
                    <a:pt x="308" y="215"/>
                  </a:cubicBezTo>
                  <a:cubicBezTo>
                    <a:pt x="314" y="263"/>
                    <a:pt x="279" y="307"/>
                    <a:pt x="231" y="312"/>
                  </a:cubicBezTo>
                  <a:cubicBezTo>
                    <a:pt x="183" y="318"/>
                    <a:pt x="139" y="283"/>
                    <a:pt x="133" y="235"/>
                  </a:cubicBezTo>
                  <a:cubicBezTo>
                    <a:pt x="128" y="187"/>
                    <a:pt x="162" y="143"/>
                    <a:pt x="211" y="137"/>
                  </a:cubicBezTo>
                  <a:close/>
                  <a:moveTo>
                    <a:pt x="65" y="283"/>
                  </a:moveTo>
                  <a:cubicBezTo>
                    <a:pt x="16" y="320"/>
                    <a:pt x="16" y="320"/>
                    <a:pt x="16" y="320"/>
                  </a:cubicBezTo>
                  <a:cubicBezTo>
                    <a:pt x="71" y="394"/>
                    <a:pt x="71" y="394"/>
                    <a:pt x="71" y="394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94" y="389"/>
                    <a:pt x="194" y="389"/>
                    <a:pt x="194" y="389"/>
                  </a:cubicBezTo>
                  <a:cubicBezTo>
                    <a:pt x="201" y="449"/>
                    <a:pt x="201" y="449"/>
                    <a:pt x="201" y="449"/>
                  </a:cubicBezTo>
                  <a:cubicBezTo>
                    <a:pt x="292" y="439"/>
                    <a:pt x="292" y="439"/>
                    <a:pt x="292" y="439"/>
                  </a:cubicBezTo>
                  <a:cubicBezTo>
                    <a:pt x="285" y="378"/>
                    <a:pt x="285" y="378"/>
                    <a:pt x="285" y="378"/>
                  </a:cubicBezTo>
                  <a:cubicBezTo>
                    <a:pt x="349" y="330"/>
                    <a:pt x="349" y="330"/>
                    <a:pt x="349" y="330"/>
                  </a:cubicBezTo>
                  <a:cubicBezTo>
                    <a:pt x="405" y="354"/>
                    <a:pt x="405" y="354"/>
                    <a:pt x="405" y="354"/>
                  </a:cubicBezTo>
                  <a:cubicBezTo>
                    <a:pt x="442" y="270"/>
                    <a:pt x="442" y="270"/>
                    <a:pt x="442" y="270"/>
                  </a:cubicBezTo>
                  <a:cubicBezTo>
                    <a:pt x="385" y="246"/>
                    <a:pt x="385" y="246"/>
                    <a:pt x="385" y="246"/>
                  </a:cubicBezTo>
                  <a:cubicBezTo>
                    <a:pt x="376" y="166"/>
                    <a:pt x="376" y="166"/>
                    <a:pt x="376" y="166"/>
                  </a:cubicBezTo>
                  <a:cubicBezTo>
                    <a:pt x="425" y="130"/>
                    <a:pt x="425" y="130"/>
                    <a:pt x="425" y="130"/>
                  </a:cubicBezTo>
                  <a:cubicBezTo>
                    <a:pt x="370" y="56"/>
                    <a:pt x="370" y="56"/>
                    <a:pt x="370" y="56"/>
                  </a:cubicBezTo>
                  <a:cubicBezTo>
                    <a:pt x="321" y="93"/>
                    <a:pt x="321" y="93"/>
                    <a:pt x="321" y="93"/>
                  </a:cubicBezTo>
                  <a:cubicBezTo>
                    <a:pt x="248" y="61"/>
                    <a:pt x="248" y="61"/>
                    <a:pt x="248" y="61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56" y="72"/>
                    <a:pt x="156" y="72"/>
                    <a:pt x="156" y="72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36" y="95"/>
                    <a:pt x="36" y="95"/>
                    <a:pt x="36" y="95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56" y="204"/>
                    <a:pt x="56" y="204"/>
                    <a:pt x="56" y="204"/>
                  </a:cubicBezTo>
                  <a:lnTo>
                    <a:pt x="65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86" name="Freeform 16">
              <a:extLst>
                <a:ext uri="{FF2B5EF4-FFF2-40B4-BE49-F238E27FC236}">
                  <a16:creationId xmlns:a16="http://schemas.microsoft.com/office/drawing/2014/main" id="{D8E5B8FC-1AAB-487D-B330-DD4F72C760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0313" y="6340475"/>
              <a:ext cx="5073650" cy="4994275"/>
            </a:xfrm>
            <a:custGeom>
              <a:avLst/>
              <a:gdLst>
                <a:gd name="T0" fmla="*/ 306 w 449"/>
                <a:gd name="T1" fmla="*/ 256 h 442"/>
                <a:gd name="T2" fmla="*/ 190 w 449"/>
                <a:gd name="T3" fmla="*/ 302 h 442"/>
                <a:gd name="T4" fmla="*/ 144 w 449"/>
                <a:gd name="T5" fmla="*/ 186 h 442"/>
                <a:gd name="T6" fmla="*/ 259 w 449"/>
                <a:gd name="T7" fmla="*/ 140 h 442"/>
                <a:gd name="T8" fmla="*/ 306 w 449"/>
                <a:gd name="T9" fmla="*/ 256 h 442"/>
                <a:gd name="T10" fmla="*/ 449 w 449"/>
                <a:gd name="T11" fmla="*/ 240 h 442"/>
                <a:gd name="T12" fmla="*/ 438 w 449"/>
                <a:gd name="T13" fmla="*/ 149 h 442"/>
                <a:gd name="T14" fmla="*/ 377 w 449"/>
                <a:gd name="T15" fmla="*/ 156 h 442"/>
                <a:gd name="T16" fmla="*/ 330 w 449"/>
                <a:gd name="T17" fmla="*/ 92 h 442"/>
                <a:gd name="T18" fmla="*/ 354 w 449"/>
                <a:gd name="T19" fmla="*/ 36 h 442"/>
                <a:gd name="T20" fmla="*/ 269 w 449"/>
                <a:gd name="T21" fmla="*/ 0 h 442"/>
                <a:gd name="T22" fmla="*/ 245 w 449"/>
                <a:gd name="T23" fmla="*/ 56 h 442"/>
                <a:gd name="T24" fmla="*/ 166 w 449"/>
                <a:gd name="T25" fmla="*/ 66 h 442"/>
                <a:gd name="T26" fmla="*/ 129 w 449"/>
                <a:gd name="T27" fmla="*/ 17 h 442"/>
                <a:gd name="T28" fmla="*/ 55 w 449"/>
                <a:gd name="T29" fmla="*/ 72 h 442"/>
                <a:gd name="T30" fmla="*/ 92 w 449"/>
                <a:gd name="T31" fmla="*/ 121 h 442"/>
                <a:gd name="T32" fmla="*/ 61 w 449"/>
                <a:gd name="T33" fmla="*/ 194 h 442"/>
                <a:gd name="T34" fmla="*/ 0 w 449"/>
                <a:gd name="T35" fmla="*/ 202 h 442"/>
                <a:gd name="T36" fmla="*/ 11 w 449"/>
                <a:gd name="T37" fmla="*/ 293 h 442"/>
                <a:gd name="T38" fmla="*/ 72 w 449"/>
                <a:gd name="T39" fmla="*/ 286 h 442"/>
                <a:gd name="T40" fmla="*/ 120 w 449"/>
                <a:gd name="T41" fmla="*/ 350 h 442"/>
                <a:gd name="T42" fmla="*/ 96 w 449"/>
                <a:gd name="T43" fmla="*/ 406 h 442"/>
                <a:gd name="T44" fmla="*/ 180 w 449"/>
                <a:gd name="T45" fmla="*/ 442 h 442"/>
                <a:gd name="T46" fmla="*/ 205 w 449"/>
                <a:gd name="T47" fmla="*/ 386 h 442"/>
                <a:gd name="T48" fmla="*/ 284 w 449"/>
                <a:gd name="T49" fmla="*/ 376 h 442"/>
                <a:gd name="T50" fmla="*/ 320 w 449"/>
                <a:gd name="T51" fmla="*/ 425 h 442"/>
                <a:gd name="T52" fmla="*/ 394 w 449"/>
                <a:gd name="T53" fmla="*/ 370 h 442"/>
                <a:gd name="T54" fmla="*/ 357 w 449"/>
                <a:gd name="T55" fmla="*/ 321 h 442"/>
                <a:gd name="T56" fmla="*/ 389 w 449"/>
                <a:gd name="T57" fmla="*/ 248 h 442"/>
                <a:gd name="T58" fmla="*/ 449 w 449"/>
                <a:gd name="T59" fmla="*/ 24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9" h="442">
                  <a:moveTo>
                    <a:pt x="306" y="256"/>
                  </a:moveTo>
                  <a:cubicBezTo>
                    <a:pt x="287" y="300"/>
                    <a:pt x="235" y="321"/>
                    <a:pt x="190" y="302"/>
                  </a:cubicBezTo>
                  <a:cubicBezTo>
                    <a:pt x="145" y="283"/>
                    <a:pt x="125" y="231"/>
                    <a:pt x="144" y="186"/>
                  </a:cubicBezTo>
                  <a:cubicBezTo>
                    <a:pt x="163" y="142"/>
                    <a:pt x="215" y="121"/>
                    <a:pt x="259" y="140"/>
                  </a:cubicBezTo>
                  <a:cubicBezTo>
                    <a:pt x="304" y="159"/>
                    <a:pt x="325" y="211"/>
                    <a:pt x="306" y="256"/>
                  </a:cubicBezTo>
                  <a:close/>
                  <a:moveTo>
                    <a:pt x="449" y="240"/>
                  </a:moveTo>
                  <a:cubicBezTo>
                    <a:pt x="438" y="149"/>
                    <a:pt x="438" y="149"/>
                    <a:pt x="438" y="149"/>
                  </a:cubicBezTo>
                  <a:cubicBezTo>
                    <a:pt x="377" y="156"/>
                    <a:pt x="377" y="156"/>
                    <a:pt x="377" y="156"/>
                  </a:cubicBezTo>
                  <a:cubicBezTo>
                    <a:pt x="330" y="92"/>
                    <a:pt x="330" y="92"/>
                    <a:pt x="330" y="92"/>
                  </a:cubicBezTo>
                  <a:cubicBezTo>
                    <a:pt x="354" y="36"/>
                    <a:pt x="354" y="36"/>
                    <a:pt x="354" y="36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245" y="56"/>
                    <a:pt x="245" y="56"/>
                    <a:pt x="245" y="56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92" y="121"/>
                    <a:pt x="92" y="121"/>
                    <a:pt x="92" y="121"/>
                  </a:cubicBezTo>
                  <a:cubicBezTo>
                    <a:pt x="61" y="194"/>
                    <a:pt x="61" y="194"/>
                    <a:pt x="61" y="194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11" y="293"/>
                    <a:pt x="11" y="293"/>
                    <a:pt x="11" y="293"/>
                  </a:cubicBezTo>
                  <a:cubicBezTo>
                    <a:pt x="72" y="286"/>
                    <a:pt x="72" y="286"/>
                    <a:pt x="72" y="286"/>
                  </a:cubicBezTo>
                  <a:cubicBezTo>
                    <a:pt x="120" y="350"/>
                    <a:pt x="120" y="350"/>
                    <a:pt x="120" y="350"/>
                  </a:cubicBezTo>
                  <a:cubicBezTo>
                    <a:pt x="96" y="406"/>
                    <a:pt x="96" y="406"/>
                    <a:pt x="96" y="406"/>
                  </a:cubicBezTo>
                  <a:cubicBezTo>
                    <a:pt x="180" y="442"/>
                    <a:pt x="180" y="442"/>
                    <a:pt x="180" y="442"/>
                  </a:cubicBezTo>
                  <a:cubicBezTo>
                    <a:pt x="205" y="386"/>
                    <a:pt x="205" y="386"/>
                    <a:pt x="205" y="386"/>
                  </a:cubicBezTo>
                  <a:cubicBezTo>
                    <a:pt x="284" y="376"/>
                    <a:pt x="284" y="376"/>
                    <a:pt x="284" y="376"/>
                  </a:cubicBezTo>
                  <a:cubicBezTo>
                    <a:pt x="320" y="425"/>
                    <a:pt x="320" y="425"/>
                    <a:pt x="320" y="425"/>
                  </a:cubicBezTo>
                  <a:cubicBezTo>
                    <a:pt x="394" y="370"/>
                    <a:pt x="394" y="370"/>
                    <a:pt x="394" y="370"/>
                  </a:cubicBezTo>
                  <a:cubicBezTo>
                    <a:pt x="357" y="321"/>
                    <a:pt x="357" y="321"/>
                    <a:pt x="357" y="321"/>
                  </a:cubicBezTo>
                  <a:cubicBezTo>
                    <a:pt x="389" y="248"/>
                    <a:pt x="389" y="248"/>
                    <a:pt x="389" y="248"/>
                  </a:cubicBezTo>
                  <a:lnTo>
                    <a:pt x="449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90" name="Freeform 17">
              <a:extLst>
                <a:ext uri="{FF2B5EF4-FFF2-40B4-BE49-F238E27FC236}">
                  <a16:creationId xmlns:a16="http://schemas.microsoft.com/office/drawing/2014/main" id="{589B38A5-EDC2-466F-A666-6059EEC71A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8100" y="1638300"/>
              <a:ext cx="7627938" cy="7616825"/>
            </a:xfrm>
            <a:custGeom>
              <a:avLst/>
              <a:gdLst>
                <a:gd name="T0" fmla="*/ 337 w 675"/>
                <a:gd name="T1" fmla="*/ 485 h 674"/>
                <a:gd name="T2" fmla="*/ 189 w 675"/>
                <a:gd name="T3" fmla="*/ 337 h 674"/>
                <a:gd name="T4" fmla="*/ 337 w 675"/>
                <a:gd name="T5" fmla="*/ 189 h 674"/>
                <a:gd name="T6" fmla="*/ 486 w 675"/>
                <a:gd name="T7" fmla="*/ 337 h 674"/>
                <a:gd name="T8" fmla="*/ 337 w 675"/>
                <a:gd name="T9" fmla="*/ 485 h 674"/>
                <a:gd name="T10" fmla="*/ 571 w 675"/>
                <a:gd name="T11" fmla="*/ 479 h 674"/>
                <a:gd name="T12" fmla="*/ 602 w 675"/>
                <a:gd name="T13" fmla="*/ 401 h 674"/>
                <a:gd name="T14" fmla="*/ 675 w 675"/>
                <a:gd name="T15" fmla="*/ 395 h 674"/>
                <a:gd name="T16" fmla="*/ 675 w 675"/>
                <a:gd name="T17" fmla="*/ 279 h 674"/>
                <a:gd name="T18" fmla="*/ 602 w 675"/>
                <a:gd name="T19" fmla="*/ 272 h 674"/>
                <a:gd name="T20" fmla="*/ 571 w 675"/>
                <a:gd name="T21" fmla="*/ 195 h 674"/>
                <a:gd name="T22" fmla="*/ 617 w 675"/>
                <a:gd name="T23" fmla="*/ 139 h 674"/>
                <a:gd name="T24" fmla="*/ 535 w 675"/>
                <a:gd name="T25" fmla="*/ 57 h 674"/>
                <a:gd name="T26" fmla="*/ 479 w 675"/>
                <a:gd name="T27" fmla="*/ 104 h 674"/>
                <a:gd name="T28" fmla="*/ 402 w 675"/>
                <a:gd name="T29" fmla="*/ 72 h 674"/>
                <a:gd name="T30" fmla="*/ 395 w 675"/>
                <a:gd name="T31" fmla="*/ 0 h 674"/>
                <a:gd name="T32" fmla="*/ 279 w 675"/>
                <a:gd name="T33" fmla="*/ 0 h 674"/>
                <a:gd name="T34" fmla="*/ 273 w 675"/>
                <a:gd name="T35" fmla="*/ 72 h 674"/>
                <a:gd name="T36" fmla="*/ 195 w 675"/>
                <a:gd name="T37" fmla="*/ 103 h 674"/>
                <a:gd name="T38" fmla="*/ 140 w 675"/>
                <a:gd name="T39" fmla="*/ 57 h 674"/>
                <a:gd name="T40" fmla="*/ 58 w 675"/>
                <a:gd name="T41" fmla="*/ 139 h 674"/>
                <a:gd name="T42" fmla="*/ 104 w 675"/>
                <a:gd name="T43" fmla="*/ 195 h 674"/>
                <a:gd name="T44" fmla="*/ 72 w 675"/>
                <a:gd name="T45" fmla="*/ 272 h 674"/>
                <a:gd name="T46" fmla="*/ 0 w 675"/>
                <a:gd name="T47" fmla="*/ 279 h 674"/>
                <a:gd name="T48" fmla="*/ 0 w 675"/>
                <a:gd name="T49" fmla="*/ 395 h 674"/>
                <a:gd name="T50" fmla="*/ 72 w 675"/>
                <a:gd name="T51" fmla="*/ 401 h 674"/>
                <a:gd name="T52" fmla="*/ 104 w 675"/>
                <a:gd name="T53" fmla="*/ 479 h 674"/>
                <a:gd name="T54" fmla="*/ 58 w 675"/>
                <a:gd name="T55" fmla="*/ 534 h 674"/>
                <a:gd name="T56" fmla="*/ 140 w 675"/>
                <a:gd name="T57" fmla="*/ 616 h 674"/>
                <a:gd name="T58" fmla="*/ 195 w 675"/>
                <a:gd name="T59" fmla="*/ 570 h 674"/>
                <a:gd name="T60" fmla="*/ 273 w 675"/>
                <a:gd name="T61" fmla="*/ 602 h 674"/>
                <a:gd name="T62" fmla="*/ 279 w 675"/>
                <a:gd name="T63" fmla="*/ 674 h 674"/>
                <a:gd name="T64" fmla="*/ 395 w 675"/>
                <a:gd name="T65" fmla="*/ 674 h 674"/>
                <a:gd name="T66" fmla="*/ 402 w 675"/>
                <a:gd name="T67" fmla="*/ 602 h 674"/>
                <a:gd name="T68" fmla="*/ 479 w 675"/>
                <a:gd name="T69" fmla="*/ 570 h 674"/>
                <a:gd name="T70" fmla="*/ 535 w 675"/>
                <a:gd name="T71" fmla="*/ 616 h 674"/>
                <a:gd name="T72" fmla="*/ 617 w 675"/>
                <a:gd name="T73" fmla="*/ 534 h 674"/>
                <a:gd name="T74" fmla="*/ 571 w 675"/>
                <a:gd name="T75" fmla="*/ 479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5" h="674">
                  <a:moveTo>
                    <a:pt x="337" y="485"/>
                  </a:moveTo>
                  <a:cubicBezTo>
                    <a:pt x="255" y="485"/>
                    <a:pt x="189" y="419"/>
                    <a:pt x="189" y="337"/>
                  </a:cubicBezTo>
                  <a:cubicBezTo>
                    <a:pt x="189" y="255"/>
                    <a:pt x="255" y="189"/>
                    <a:pt x="337" y="189"/>
                  </a:cubicBezTo>
                  <a:cubicBezTo>
                    <a:pt x="419" y="189"/>
                    <a:pt x="486" y="255"/>
                    <a:pt x="486" y="337"/>
                  </a:cubicBezTo>
                  <a:cubicBezTo>
                    <a:pt x="486" y="419"/>
                    <a:pt x="419" y="485"/>
                    <a:pt x="337" y="485"/>
                  </a:cubicBezTo>
                  <a:close/>
                  <a:moveTo>
                    <a:pt x="571" y="479"/>
                  </a:moveTo>
                  <a:cubicBezTo>
                    <a:pt x="602" y="401"/>
                    <a:pt x="602" y="401"/>
                    <a:pt x="602" y="401"/>
                  </a:cubicBezTo>
                  <a:cubicBezTo>
                    <a:pt x="675" y="395"/>
                    <a:pt x="675" y="395"/>
                    <a:pt x="675" y="395"/>
                  </a:cubicBezTo>
                  <a:cubicBezTo>
                    <a:pt x="675" y="279"/>
                    <a:pt x="675" y="279"/>
                    <a:pt x="675" y="279"/>
                  </a:cubicBezTo>
                  <a:cubicBezTo>
                    <a:pt x="602" y="272"/>
                    <a:pt x="602" y="272"/>
                    <a:pt x="602" y="272"/>
                  </a:cubicBezTo>
                  <a:cubicBezTo>
                    <a:pt x="571" y="195"/>
                    <a:pt x="571" y="195"/>
                    <a:pt x="571" y="195"/>
                  </a:cubicBezTo>
                  <a:cubicBezTo>
                    <a:pt x="617" y="139"/>
                    <a:pt x="617" y="139"/>
                    <a:pt x="617" y="139"/>
                  </a:cubicBezTo>
                  <a:cubicBezTo>
                    <a:pt x="535" y="57"/>
                    <a:pt x="535" y="57"/>
                    <a:pt x="535" y="57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02" y="72"/>
                    <a:pt x="402" y="72"/>
                    <a:pt x="402" y="72"/>
                  </a:cubicBezTo>
                  <a:cubicBezTo>
                    <a:pt x="395" y="0"/>
                    <a:pt x="395" y="0"/>
                    <a:pt x="395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3" y="72"/>
                    <a:pt x="273" y="72"/>
                    <a:pt x="273" y="72"/>
                  </a:cubicBezTo>
                  <a:cubicBezTo>
                    <a:pt x="195" y="103"/>
                    <a:pt x="195" y="103"/>
                    <a:pt x="195" y="103"/>
                  </a:cubicBezTo>
                  <a:cubicBezTo>
                    <a:pt x="140" y="57"/>
                    <a:pt x="140" y="57"/>
                    <a:pt x="140" y="57"/>
                  </a:cubicBezTo>
                  <a:cubicBezTo>
                    <a:pt x="58" y="139"/>
                    <a:pt x="58" y="139"/>
                    <a:pt x="58" y="139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72" y="272"/>
                    <a:pt x="72" y="272"/>
                    <a:pt x="72" y="272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0" y="395"/>
                    <a:pt x="0" y="395"/>
                    <a:pt x="0" y="395"/>
                  </a:cubicBezTo>
                  <a:cubicBezTo>
                    <a:pt x="72" y="401"/>
                    <a:pt x="72" y="401"/>
                    <a:pt x="72" y="401"/>
                  </a:cubicBezTo>
                  <a:cubicBezTo>
                    <a:pt x="104" y="479"/>
                    <a:pt x="104" y="479"/>
                    <a:pt x="104" y="479"/>
                  </a:cubicBezTo>
                  <a:cubicBezTo>
                    <a:pt x="58" y="534"/>
                    <a:pt x="58" y="534"/>
                    <a:pt x="58" y="534"/>
                  </a:cubicBezTo>
                  <a:cubicBezTo>
                    <a:pt x="140" y="616"/>
                    <a:pt x="140" y="616"/>
                    <a:pt x="140" y="616"/>
                  </a:cubicBezTo>
                  <a:cubicBezTo>
                    <a:pt x="195" y="570"/>
                    <a:pt x="195" y="570"/>
                    <a:pt x="195" y="570"/>
                  </a:cubicBezTo>
                  <a:cubicBezTo>
                    <a:pt x="273" y="602"/>
                    <a:pt x="273" y="602"/>
                    <a:pt x="273" y="602"/>
                  </a:cubicBezTo>
                  <a:cubicBezTo>
                    <a:pt x="279" y="674"/>
                    <a:pt x="279" y="674"/>
                    <a:pt x="279" y="674"/>
                  </a:cubicBezTo>
                  <a:cubicBezTo>
                    <a:pt x="395" y="674"/>
                    <a:pt x="395" y="674"/>
                    <a:pt x="395" y="674"/>
                  </a:cubicBezTo>
                  <a:cubicBezTo>
                    <a:pt x="402" y="602"/>
                    <a:pt x="402" y="602"/>
                    <a:pt x="402" y="602"/>
                  </a:cubicBezTo>
                  <a:cubicBezTo>
                    <a:pt x="479" y="570"/>
                    <a:pt x="479" y="570"/>
                    <a:pt x="479" y="570"/>
                  </a:cubicBezTo>
                  <a:cubicBezTo>
                    <a:pt x="535" y="616"/>
                    <a:pt x="535" y="616"/>
                    <a:pt x="535" y="616"/>
                  </a:cubicBezTo>
                  <a:cubicBezTo>
                    <a:pt x="617" y="534"/>
                    <a:pt x="617" y="534"/>
                    <a:pt x="617" y="534"/>
                  </a:cubicBezTo>
                  <a:lnTo>
                    <a:pt x="571" y="4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92B1FF14-C363-48E1-8ECF-E67EF6C4EE17}"/>
              </a:ext>
            </a:extLst>
          </p:cNvPr>
          <p:cNvGrpSpPr/>
          <p:nvPr userDrawn="1"/>
        </p:nvGrpSpPr>
        <p:grpSpPr>
          <a:xfrm>
            <a:off x="10888450" y="1863876"/>
            <a:ext cx="192036" cy="289932"/>
            <a:chOff x="-3947158" y="1719597"/>
            <a:chExt cx="3385092" cy="5109416"/>
          </a:xfrm>
          <a:solidFill>
            <a:schemeClr val="bg1">
              <a:alpha val="80000"/>
            </a:schemeClr>
          </a:solidFill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889E47B6-77E2-4756-9416-398A46BB3868}"/>
                </a:ext>
              </a:extLst>
            </p:cNvPr>
            <p:cNvSpPr/>
            <p:nvPr/>
          </p:nvSpPr>
          <p:spPr>
            <a:xfrm>
              <a:off x="-3624517" y="2322583"/>
              <a:ext cx="3062451" cy="218046"/>
            </a:xfrm>
            <a:prstGeom prst="rect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CFB901B2-072F-44BD-BCB2-80C58C3D4D73}"/>
                </a:ext>
              </a:extLst>
            </p:cNvPr>
            <p:cNvSpPr/>
            <p:nvPr/>
          </p:nvSpPr>
          <p:spPr>
            <a:xfrm>
              <a:off x="-3947158" y="3738067"/>
              <a:ext cx="1988090" cy="3089947"/>
            </a:xfrm>
            <a:custGeom>
              <a:avLst/>
              <a:gdLst>
                <a:gd name="connsiteX0" fmla="*/ 1536585 w 1988090"/>
                <a:gd name="connsiteY0" fmla="*/ 279 h 3089947"/>
                <a:gd name="connsiteX1" fmla="*/ 1493799 w 1988090"/>
                <a:gd name="connsiteY1" fmla="*/ 6084 h 3089947"/>
                <a:gd name="connsiteX2" fmla="*/ 994045 w 1988090"/>
                <a:gd name="connsiteY2" fmla="*/ 201257 h 3089947"/>
                <a:gd name="connsiteX3" fmla="*/ 494330 w 1988090"/>
                <a:gd name="connsiteY3" fmla="*/ 6122 h 3089947"/>
                <a:gd name="connsiteX4" fmla="*/ 451390 w 1988090"/>
                <a:gd name="connsiteY4" fmla="*/ 317 h 3089947"/>
                <a:gd name="connsiteX5" fmla="*/ 362549 w 1988090"/>
                <a:gd name="connsiteY5" fmla="*/ 12004 h 3089947"/>
                <a:gd name="connsiteX6" fmla="*/ 126819 w 1988090"/>
                <a:gd name="connsiteY6" fmla="*/ 305590 h 3089947"/>
                <a:gd name="connsiteX7" fmla="*/ 36 w 1988090"/>
                <a:gd name="connsiteY7" fmla="*/ 1551706 h 3089947"/>
                <a:gd name="connsiteX8" fmla="*/ 56470 w 1988090"/>
                <a:gd name="connsiteY8" fmla="*/ 1695481 h 3089947"/>
                <a:gd name="connsiteX9" fmla="*/ 198053 w 1988090"/>
                <a:gd name="connsiteY9" fmla="*/ 1757220 h 3089947"/>
                <a:gd name="connsiteX10" fmla="*/ 199975 w 1988090"/>
                <a:gd name="connsiteY10" fmla="*/ 1757258 h 3089947"/>
                <a:gd name="connsiteX11" fmla="*/ 201898 w 1988090"/>
                <a:gd name="connsiteY11" fmla="*/ 1757258 h 3089947"/>
                <a:gd name="connsiteX12" fmla="*/ 290969 w 1988090"/>
                <a:gd name="connsiteY12" fmla="*/ 1736154 h 3089947"/>
                <a:gd name="connsiteX13" fmla="*/ 359743 w 1988090"/>
                <a:gd name="connsiteY13" fmla="*/ 1679873 h 3089947"/>
                <a:gd name="connsiteX14" fmla="*/ 359743 w 1988090"/>
                <a:gd name="connsiteY14" fmla="*/ 2240751 h 3089947"/>
                <a:gd name="connsiteX15" fmla="*/ 359743 w 1988090"/>
                <a:gd name="connsiteY15" fmla="*/ 2801628 h 3089947"/>
                <a:gd name="connsiteX16" fmla="*/ 444201 w 1988090"/>
                <a:gd name="connsiteY16" fmla="*/ 3005489 h 3089947"/>
                <a:gd name="connsiteX17" fmla="*/ 648062 w 1988090"/>
                <a:gd name="connsiteY17" fmla="*/ 3089947 h 3089947"/>
                <a:gd name="connsiteX18" fmla="*/ 851923 w 1988090"/>
                <a:gd name="connsiteY18" fmla="*/ 3005489 h 3089947"/>
                <a:gd name="connsiteX19" fmla="*/ 936382 w 1988090"/>
                <a:gd name="connsiteY19" fmla="*/ 2801628 h 3089947"/>
                <a:gd name="connsiteX20" fmla="*/ 936382 w 1988090"/>
                <a:gd name="connsiteY20" fmla="*/ 2340317 h 3089947"/>
                <a:gd name="connsiteX21" fmla="*/ 936382 w 1988090"/>
                <a:gd name="connsiteY21" fmla="*/ 1879006 h 3089947"/>
                <a:gd name="connsiteX22" fmla="*/ 994045 w 1988090"/>
                <a:gd name="connsiteY22" fmla="*/ 1879006 h 3089947"/>
                <a:gd name="connsiteX23" fmla="*/ 1051709 w 1988090"/>
                <a:gd name="connsiteY23" fmla="*/ 1879006 h 3089947"/>
                <a:gd name="connsiteX24" fmla="*/ 1051709 w 1988090"/>
                <a:gd name="connsiteY24" fmla="*/ 2340317 h 3089947"/>
                <a:gd name="connsiteX25" fmla="*/ 1051709 w 1988090"/>
                <a:gd name="connsiteY25" fmla="*/ 2801628 h 3089947"/>
                <a:gd name="connsiteX26" fmla="*/ 1136167 w 1988090"/>
                <a:gd name="connsiteY26" fmla="*/ 3005489 h 3089947"/>
                <a:gd name="connsiteX27" fmla="*/ 1340029 w 1988090"/>
                <a:gd name="connsiteY27" fmla="*/ 3089947 h 3089947"/>
                <a:gd name="connsiteX28" fmla="*/ 1543889 w 1988090"/>
                <a:gd name="connsiteY28" fmla="*/ 3005489 h 3089947"/>
                <a:gd name="connsiteX29" fmla="*/ 1628348 w 1988090"/>
                <a:gd name="connsiteY29" fmla="*/ 2801628 h 3089947"/>
                <a:gd name="connsiteX30" fmla="*/ 1628348 w 1988090"/>
                <a:gd name="connsiteY30" fmla="*/ 2263432 h 3089947"/>
                <a:gd name="connsiteX31" fmla="*/ 1628348 w 1988090"/>
                <a:gd name="connsiteY31" fmla="*/ 1725313 h 3089947"/>
                <a:gd name="connsiteX32" fmla="*/ 1628348 w 1988090"/>
                <a:gd name="connsiteY32" fmla="*/ 1725236 h 3089947"/>
                <a:gd name="connsiteX33" fmla="*/ 1628348 w 1988090"/>
                <a:gd name="connsiteY33" fmla="*/ 1725159 h 3089947"/>
                <a:gd name="connsiteX34" fmla="*/ 1628348 w 1988090"/>
                <a:gd name="connsiteY34" fmla="*/ 1702478 h 3089947"/>
                <a:gd name="connsiteX35" fmla="*/ 1628348 w 1988090"/>
                <a:gd name="connsiteY35" fmla="*/ 1679797 h 3089947"/>
                <a:gd name="connsiteX36" fmla="*/ 1697122 w 1988090"/>
                <a:gd name="connsiteY36" fmla="*/ 1736115 h 3089947"/>
                <a:gd name="connsiteX37" fmla="*/ 1786193 w 1988090"/>
                <a:gd name="connsiteY37" fmla="*/ 1757220 h 3089947"/>
                <a:gd name="connsiteX38" fmla="*/ 1788115 w 1988090"/>
                <a:gd name="connsiteY38" fmla="*/ 1757220 h 3089947"/>
                <a:gd name="connsiteX39" fmla="*/ 1790037 w 1988090"/>
                <a:gd name="connsiteY39" fmla="*/ 1757182 h 3089947"/>
                <a:gd name="connsiteX40" fmla="*/ 1931621 w 1988090"/>
                <a:gd name="connsiteY40" fmla="*/ 1695443 h 3089947"/>
                <a:gd name="connsiteX41" fmla="*/ 1988055 w 1988090"/>
                <a:gd name="connsiteY41" fmla="*/ 1551668 h 3089947"/>
                <a:gd name="connsiteX42" fmla="*/ 1861233 w 1988090"/>
                <a:gd name="connsiteY42" fmla="*/ 305552 h 3089947"/>
                <a:gd name="connsiteX43" fmla="*/ 1625465 w 1988090"/>
                <a:gd name="connsiteY43" fmla="*/ 11966 h 3089947"/>
                <a:gd name="connsiteX44" fmla="*/ 1536585 w 1988090"/>
                <a:gd name="connsiteY44" fmla="*/ 279 h 308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988090" h="3089947">
                  <a:moveTo>
                    <a:pt x="1536585" y="279"/>
                  </a:moveTo>
                  <a:cubicBezTo>
                    <a:pt x="1521939" y="971"/>
                    <a:pt x="1507676" y="3008"/>
                    <a:pt x="1493799" y="6084"/>
                  </a:cubicBezTo>
                  <a:cubicBezTo>
                    <a:pt x="1361787" y="126870"/>
                    <a:pt x="1186643" y="201257"/>
                    <a:pt x="994045" y="201257"/>
                  </a:cubicBezTo>
                  <a:cubicBezTo>
                    <a:pt x="801448" y="201257"/>
                    <a:pt x="626342" y="126870"/>
                    <a:pt x="494330" y="6122"/>
                  </a:cubicBezTo>
                  <a:cubicBezTo>
                    <a:pt x="480414" y="3047"/>
                    <a:pt x="466075" y="1009"/>
                    <a:pt x="451390" y="317"/>
                  </a:cubicBezTo>
                  <a:cubicBezTo>
                    <a:pt x="422827" y="-1028"/>
                    <a:pt x="392996" y="2432"/>
                    <a:pt x="362549" y="12004"/>
                  </a:cubicBezTo>
                  <a:cubicBezTo>
                    <a:pt x="277591" y="38683"/>
                    <a:pt x="193133" y="92772"/>
                    <a:pt x="126819" y="305590"/>
                  </a:cubicBezTo>
                  <a:cubicBezTo>
                    <a:pt x="60506" y="518408"/>
                    <a:pt x="12337" y="889994"/>
                    <a:pt x="36" y="1551706"/>
                  </a:cubicBezTo>
                  <a:cubicBezTo>
                    <a:pt x="-1002" y="1607409"/>
                    <a:pt x="20641" y="1658308"/>
                    <a:pt x="56470" y="1695481"/>
                  </a:cubicBezTo>
                  <a:cubicBezTo>
                    <a:pt x="92298" y="1732655"/>
                    <a:pt x="142312" y="1756221"/>
                    <a:pt x="198053" y="1757220"/>
                  </a:cubicBezTo>
                  <a:cubicBezTo>
                    <a:pt x="198707" y="1757220"/>
                    <a:pt x="199322" y="1757220"/>
                    <a:pt x="199975" y="1757258"/>
                  </a:cubicBezTo>
                  <a:cubicBezTo>
                    <a:pt x="200629" y="1757297"/>
                    <a:pt x="201244" y="1757258"/>
                    <a:pt x="201898" y="1757258"/>
                  </a:cubicBezTo>
                  <a:cubicBezTo>
                    <a:pt x="233920" y="1757258"/>
                    <a:pt x="264136" y="1749647"/>
                    <a:pt x="290969" y="1736154"/>
                  </a:cubicBezTo>
                  <a:cubicBezTo>
                    <a:pt x="317802" y="1722660"/>
                    <a:pt x="341214" y="1703323"/>
                    <a:pt x="359743" y="1679873"/>
                  </a:cubicBezTo>
                  <a:lnTo>
                    <a:pt x="359743" y="2240751"/>
                  </a:lnTo>
                  <a:lnTo>
                    <a:pt x="359743" y="2801628"/>
                  </a:lnTo>
                  <a:cubicBezTo>
                    <a:pt x="359743" y="2881243"/>
                    <a:pt x="391996" y="2953323"/>
                    <a:pt x="444201" y="3005489"/>
                  </a:cubicBezTo>
                  <a:cubicBezTo>
                    <a:pt x="496406" y="3057656"/>
                    <a:pt x="568447" y="3089947"/>
                    <a:pt x="648062" y="3089947"/>
                  </a:cubicBezTo>
                  <a:cubicBezTo>
                    <a:pt x="727677" y="3089947"/>
                    <a:pt x="799757" y="3057694"/>
                    <a:pt x="851923" y="3005489"/>
                  </a:cubicBezTo>
                  <a:cubicBezTo>
                    <a:pt x="904090" y="2953284"/>
                    <a:pt x="936382" y="2881243"/>
                    <a:pt x="936382" y="2801628"/>
                  </a:cubicBezTo>
                  <a:lnTo>
                    <a:pt x="936382" y="2340317"/>
                  </a:lnTo>
                  <a:lnTo>
                    <a:pt x="936382" y="1879006"/>
                  </a:lnTo>
                  <a:lnTo>
                    <a:pt x="994045" y="1879006"/>
                  </a:lnTo>
                  <a:lnTo>
                    <a:pt x="1051709" y="1879006"/>
                  </a:lnTo>
                  <a:lnTo>
                    <a:pt x="1051709" y="2340317"/>
                  </a:lnTo>
                  <a:lnTo>
                    <a:pt x="1051709" y="2801628"/>
                  </a:lnTo>
                  <a:cubicBezTo>
                    <a:pt x="1051709" y="2881243"/>
                    <a:pt x="1083962" y="2953323"/>
                    <a:pt x="1136167" y="3005489"/>
                  </a:cubicBezTo>
                  <a:cubicBezTo>
                    <a:pt x="1188372" y="3057656"/>
                    <a:pt x="1260414" y="3089947"/>
                    <a:pt x="1340029" y="3089947"/>
                  </a:cubicBezTo>
                  <a:cubicBezTo>
                    <a:pt x="1419643" y="3089947"/>
                    <a:pt x="1491723" y="3057694"/>
                    <a:pt x="1543889" y="3005489"/>
                  </a:cubicBezTo>
                  <a:cubicBezTo>
                    <a:pt x="1596056" y="2953284"/>
                    <a:pt x="1628348" y="2881243"/>
                    <a:pt x="1628348" y="2801628"/>
                  </a:cubicBezTo>
                  <a:lnTo>
                    <a:pt x="1628348" y="2263432"/>
                  </a:lnTo>
                  <a:lnTo>
                    <a:pt x="1628348" y="1725313"/>
                  </a:lnTo>
                  <a:cubicBezTo>
                    <a:pt x="1628348" y="1725274"/>
                    <a:pt x="1628348" y="1725274"/>
                    <a:pt x="1628348" y="1725236"/>
                  </a:cubicBezTo>
                  <a:cubicBezTo>
                    <a:pt x="1628348" y="1725197"/>
                    <a:pt x="1628348" y="1725197"/>
                    <a:pt x="1628348" y="1725159"/>
                  </a:cubicBezTo>
                  <a:lnTo>
                    <a:pt x="1628348" y="1702478"/>
                  </a:lnTo>
                  <a:lnTo>
                    <a:pt x="1628348" y="1679797"/>
                  </a:lnTo>
                  <a:cubicBezTo>
                    <a:pt x="1646839" y="1703247"/>
                    <a:pt x="1670289" y="1722622"/>
                    <a:pt x="1697122" y="1736115"/>
                  </a:cubicBezTo>
                  <a:cubicBezTo>
                    <a:pt x="1723955" y="1749609"/>
                    <a:pt x="1754170" y="1757220"/>
                    <a:pt x="1786193" y="1757220"/>
                  </a:cubicBezTo>
                  <a:cubicBezTo>
                    <a:pt x="1786847" y="1757220"/>
                    <a:pt x="1787461" y="1757220"/>
                    <a:pt x="1788115" y="1757220"/>
                  </a:cubicBezTo>
                  <a:cubicBezTo>
                    <a:pt x="1788769" y="1757220"/>
                    <a:pt x="1789384" y="1757220"/>
                    <a:pt x="1790037" y="1757182"/>
                  </a:cubicBezTo>
                  <a:cubicBezTo>
                    <a:pt x="1845779" y="1756144"/>
                    <a:pt x="1895793" y="1732617"/>
                    <a:pt x="1931621" y="1695443"/>
                  </a:cubicBezTo>
                  <a:cubicBezTo>
                    <a:pt x="1967450" y="1658269"/>
                    <a:pt x="1989093" y="1607371"/>
                    <a:pt x="1988055" y="1551668"/>
                  </a:cubicBezTo>
                  <a:cubicBezTo>
                    <a:pt x="1975715" y="889955"/>
                    <a:pt x="1927585" y="518370"/>
                    <a:pt x="1861233" y="305552"/>
                  </a:cubicBezTo>
                  <a:cubicBezTo>
                    <a:pt x="1794881" y="92733"/>
                    <a:pt x="1710423" y="38683"/>
                    <a:pt x="1625465" y="11966"/>
                  </a:cubicBezTo>
                  <a:cubicBezTo>
                    <a:pt x="1594980" y="2393"/>
                    <a:pt x="1565148" y="-1066"/>
                    <a:pt x="1536585" y="27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3A64DFE5-94DC-4099-8C03-12A6ECA15A4D}"/>
                </a:ext>
              </a:extLst>
            </p:cNvPr>
            <p:cNvSpPr/>
            <p:nvPr/>
          </p:nvSpPr>
          <p:spPr>
            <a:xfrm>
              <a:off x="-3541246" y="2609288"/>
              <a:ext cx="1176265" cy="1176265"/>
            </a:xfrm>
            <a:custGeom>
              <a:avLst/>
              <a:gdLst>
                <a:gd name="connsiteX0" fmla="*/ 1176266 w 1176265"/>
                <a:gd name="connsiteY0" fmla="*/ 588133 h 1176265"/>
                <a:gd name="connsiteX1" fmla="*/ 588133 w 1176265"/>
                <a:gd name="connsiteY1" fmla="*/ 1176266 h 1176265"/>
                <a:gd name="connsiteX2" fmla="*/ 0 w 1176265"/>
                <a:gd name="connsiteY2" fmla="*/ 588133 h 1176265"/>
                <a:gd name="connsiteX3" fmla="*/ 588133 w 1176265"/>
                <a:gd name="connsiteY3" fmla="*/ 0 h 1176265"/>
                <a:gd name="connsiteX4" fmla="*/ 1176266 w 1176265"/>
                <a:gd name="connsiteY4" fmla="*/ 588133 h 117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6265" h="1176265">
                  <a:moveTo>
                    <a:pt x="1176266" y="588133"/>
                  </a:moveTo>
                  <a:cubicBezTo>
                    <a:pt x="1176266" y="912950"/>
                    <a:pt x="912950" y="1176266"/>
                    <a:pt x="588133" y="1176266"/>
                  </a:cubicBezTo>
                  <a:cubicBezTo>
                    <a:pt x="263316" y="1176266"/>
                    <a:pt x="0" y="912950"/>
                    <a:pt x="0" y="588133"/>
                  </a:cubicBezTo>
                  <a:cubicBezTo>
                    <a:pt x="0" y="263316"/>
                    <a:pt x="263316" y="0"/>
                    <a:pt x="588133" y="0"/>
                  </a:cubicBezTo>
                  <a:cubicBezTo>
                    <a:pt x="912950" y="0"/>
                    <a:pt x="1176266" y="263316"/>
                    <a:pt x="1176266" y="5881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7B6B40A1-930C-4260-847A-C3AFE48C299D}"/>
                </a:ext>
              </a:extLst>
            </p:cNvPr>
            <p:cNvSpPr/>
            <p:nvPr/>
          </p:nvSpPr>
          <p:spPr>
            <a:xfrm>
              <a:off x="-1697617" y="2605328"/>
              <a:ext cx="956528" cy="4223685"/>
            </a:xfrm>
            <a:custGeom>
              <a:avLst/>
              <a:gdLst>
                <a:gd name="connsiteX0" fmla="*/ 956528 w 956528"/>
                <a:gd name="connsiteY0" fmla="*/ 4223686 h 4223685"/>
                <a:gd name="connsiteX1" fmla="*/ 956528 w 956528"/>
                <a:gd name="connsiteY1" fmla="*/ 0 h 4223685"/>
                <a:gd name="connsiteX2" fmla="*/ 900248 w 956528"/>
                <a:gd name="connsiteY2" fmla="*/ 0 h 4223685"/>
                <a:gd name="connsiteX3" fmla="*/ 900248 w 956528"/>
                <a:gd name="connsiteY3" fmla="*/ 4167445 h 4223685"/>
                <a:gd name="connsiteX4" fmla="*/ 56280 w 956528"/>
                <a:gd name="connsiteY4" fmla="*/ 4167445 h 4223685"/>
                <a:gd name="connsiteX5" fmla="*/ 56280 w 956528"/>
                <a:gd name="connsiteY5" fmla="*/ 3998643 h 4223685"/>
                <a:gd name="connsiteX6" fmla="*/ 337603 w 956528"/>
                <a:gd name="connsiteY6" fmla="*/ 3998643 h 4223685"/>
                <a:gd name="connsiteX7" fmla="*/ 337603 w 956528"/>
                <a:gd name="connsiteY7" fmla="*/ 3942363 h 4223685"/>
                <a:gd name="connsiteX8" fmla="*/ 56280 w 956528"/>
                <a:gd name="connsiteY8" fmla="*/ 3942363 h 4223685"/>
                <a:gd name="connsiteX9" fmla="*/ 56280 w 956528"/>
                <a:gd name="connsiteY9" fmla="*/ 3773562 h 4223685"/>
                <a:gd name="connsiteX10" fmla="*/ 337603 w 956528"/>
                <a:gd name="connsiteY10" fmla="*/ 3773562 h 4223685"/>
                <a:gd name="connsiteX11" fmla="*/ 337603 w 956528"/>
                <a:gd name="connsiteY11" fmla="*/ 3717321 h 4223685"/>
                <a:gd name="connsiteX12" fmla="*/ 56280 w 956528"/>
                <a:gd name="connsiteY12" fmla="*/ 3717321 h 4223685"/>
                <a:gd name="connsiteX13" fmla="*/ 56280 w 956528"/>
                <a:gd name="connsiteY13" fmla="*/ 3548519 h 4223685"/>
                <a:gd name="connsiteX14" fmla="*/ 337603 w 956528"/>
                <a:gd name="connsiteY14" fmla="*/ 3548519 h 4223685"/>
                <a:gd name="connsiteX15" fmla="*/ 337603 w 956528"/>
                <a:gd name="connsiteY15" fmla="*/ 3492239 h 4223685"/>
                <a:gd name="connsiteX16" fmla="*/ 56280 w 956528"/>
                <a:gd name="connsiteY16" fmla="*/ 3492239 h 4223685"/>
                <a:gd name="connsiteX17" fmla="*/ 56280 w 956528"/>
                <a:gd name="connsiteY17" fmla="*/ 3323438 h 4223685"/>
                <a:gd name="connsiteX18" fmla="*/ 675205 w 956528"/>
                <a:gd name="connsiteY18" fmla="*/ 3323438 h 4223685"/>
                <a:gd name="connsiteX19" fmla="*/ 675205 w 956528"/>
                <a:gd name="connsiteY19" fmla="*/ 3267158 h 4223685"/>
                <a:gd name="connsiteX20" fmla="*/ 56280 w 956528"/>
                <a:gd name="connsiteY20" fmla="*/ 3267158 h 4223685"/>
                <a:gd name="connsiteX21" fmla="*/ 56280 w 956528"/>
                <a:gd name="connsiteY21" fmla="*/ 3098395 h 4223685"/>
                <a:gd name="connsiteX22" fmla="*/ 337603 w 956528"/>
                <a:gd name="connsiteY22" fmla="*/ 3098395 h 4223685"/>
                <a:gd name="connsiteX23" fmla="*/ 337603 w 956528"/>
                <a:gd name="connsiteY23" fmla="*/ 3042115 h 4223685"/>
                <a:gd name="connsiteX24" fmla="*/ 56280 w 956528"/>
                <a:gd name="connsiteY24" fmla="*/ 3042115 h 4223685"/>
                <a:gd name="connsiteX25" fmla="*/ 56280 w 956528"/>
                <a:gd name="connsiteY25" fmla="*/ 2873314 h 4223685"/>
                <a:gd name="connsiteX26" fmla="*/ 337603 w 956528"/>
                <a:gd name="connsiteY26" fmla="*/ 2873314 h 4223685"/>
                <a:gd name="connsiteX27" fmla="*/ 337603 w 956528"/>
                <a:gd name="connsiteY27" fmla="*/ 2817034 h 4223685"/>
                <a:gd name="connsiteX28" fmla="*/ 56280 w 956528"/>
                <a:gd name="connsiteY28" fmla="*/ 2817034 h 4223685"/>
                <a:gd name="connsiteX29" fmla="*/ 56280 w 956528"/>
                <a:gd name="connsiteY29" fmla="*/ 2648233 h 4223685"/>
                <a:gd name="connsiteX30" fmla="*/ 337603 w 956528"/>
                <a:gd name="connsiteY30" fmla="*/ 2648233 h 4223685"/>
                <a:gd name="connsiteX31" fmla="*/ 337603 w 956528"/>
                <a:gd name="connsiteY31" fmla="*/ 2591991 h 4223685"/>
                <a:gd name="connsiteX32" fmla="*/ 56280 w 956528"/>
                <a:gd name="connsiteY32" fmla="*/ 2591991 h 4223685"/>
                <a:gd name="connsiteX33" fmla="*/ 56280 w 956528"/>
                <a:gd name="connsiteY33" fmla="*/ 2423190 h 4223685"/>
                <a:gd name="connsiteX34" fmla="*/ 675205 w 956528"/>
                <a:gd name="connsiteY34" fmla="*/ 2423190 h 4223685"/>
                <a:gd name="connsiteX35" fmla="*/ 675205 w 956528"/>
                <a:gd name="connsiteY35" fmla="*/ 2366909 h 4223685"/>
                <a:gd name="connsiteX36" fmla="*/ 56280 w 956528"/>
                <a:gd name="connsiteY36" fmla="*/ 2366909 h 4223685"/>
                <a:gd name="connsiteX37" fmla="*/ 56280 w 956528"/>
                <a:gd name="connsiteY37" fmla="*/ 2198108 h 4223685"/>
                <a:gd name="connsiteX38" fmla="*/ 337603 w 956528"/>
                <a:gd name="connsiteY38" fmla="*/ 2198108 h 4223685"/>
                <a:gd name="connsiteX39" fmla="*/ 337603 w 956528"/>
                <a:gd name="connsiteY39" fmla="*/ 2141867 h 4223685"/>
                <a:gd name="connsiteX40" fmla="*/ 56280 w 956528"/>
                <a:gd name="connsiteY40" fmla="*/ 2141867 h 4223685"/>
                <a:gd name="connsiteX41" fmla="*/ 56280 w 956528"/>
                <a:gd name="connsiteY41" fmla="*/ 1973065 h 4223685"/>
                <a:gd name="connsiteX42" fmla="*/ 337603 w 956528"/>
                <a:gd name="connsiteY42" fmla="*/ 1973065 h 4223685"/>
                <a:gd name="connsiteX43" fmla="*/ 337603 w 956528"/>
                <a:gd name="connsiteY43" fmla="*/ 1916785 h 4223685"/>
                <a:gd name="connsiteX44" fmla="*/ 56280 w 956528"/>
                <a:gd name="connsiteY44" fmla="*/ 1916785 h 4223685"/>
                <a:gd name="connsiteX45" fmla="*/ 56280 w 956528"/>
                <a:gd name="connsiteY45" fmla="*/ 1747984 h 4223685"/>
                <a:gd name="connsiteX46" fmla="*/ 337603 w 956528"/>
                <a:gd name="connsiteY46" fmla="*/ 1747984 h 4223685"/>
                <a:gd name="connsiteX47" fmla="*/ 337603 w 956528"/>
                <a:gd name="connsiteY47" fmla="*/ 1691704 h 4223685"/>
                <a:gd name="connsiteX48" fmla="*/ 56280 w 956528"/>
                <a:gd name="connsiteY48" fmla="*/ 1691704 h 4223685"/>
                <a:gd name="connsiteX49" fmla="*/ 56280 w 956528"/>
                <a:gd name="connsiteY49" fmla="*/ 1522941 h 4223685"/>
                <a:gd name="connsiteX50" fmla="*/ 675205 w 956528"/>
                <a:gd name="connsiteY50" fmla="*/ 1522941 h 4223685"/>
                <a:gd name="connsiteX51" fmla="*/ 675205 w 956528"/>
                <a:gd name="connsiteY51" fmla="*/ 1466661 h 4223685"/>
                <a:gd name="connsiteX52" fmla="*/ 56280 w 956528"/>
                <a:gd name="connsiteY52" fmla="*/ 1466661 h 4223685"/>
                <a:gd name="connsiteX53" fmla="*/ 56280 w 956528"/>
                <a:gd name="connsiteY53" fmla="*/ 1297860 h 4223685"/>
                <a:gd name="connsiteX54" fmla="*/ 337603 w 956528"/>
                <a:gd name="connsiteY54" fmla="*/ 1297860 h 4223685"/>
                <a:gd name="connsiteX55" fmla="*/ 337603 w 956528"/>
                <a:gd name="connsiteY55" fmla="*/ 1241580 h 4223685"/>
                <a:gd name="connsiteX56" fmla="*/ 56280 w 956528"/>
                <a:gd name="connsiteY56" fmla="*/ 1241580 h 4223685"/>
                <a:gd name="connsiteX57" fmla="*/ 56280 w 956528"/>
                <a:gd name="connsiteY57" fmla="*/ 1072779 h 4223685"/>
                <a:gd name="connsiteX58" fmla="*/ 337603 w 956528"/>
                <a:gd name="connsiteY58" fmla="*/ 1072779 h 4223685"/>
                <a:gd name="connsiteX59" fmla="*/ 337603 w 956528"/>
                <a:gd name="connsiteY59" fmla="*/ 1016537 h 4223685"/>
                <a:gd name="connsiteX60" fmla="*/ 56280 w 956528"/>
                <a:gd name="connsiteY60" fmla="*/ 1016537 h 4223685"/>
                <a:gd name="connsiteX61" fmla="*/ 56280 w 956528"/>
                <a:gd name="connsiteY61" fmla="*/ 847736 h 4223685"/>
                <a:gd name="connsiteX62" fmla="*/ 337603 w 956528"/>
                <a:gd name="connsiteY62" fmla="*/ 847736 h 4223685"/>
                <a:gd name="connsiteX63" fmla="*/ 337603 w 956528"/>
                <a:gd name="connsiteY63" fmla="*/ 791456 h 4223685"/>
                <a:gd name="connsiteX64" fmla="*/ 56280 w 956528"/>
                <a:gd name="connsiteY64" fmla="*/ 791456 h 4223685"/>
                <a:gd name="connsiteX65" fmla="*/ 56280 w 956528"/>
                <a:gd name="connsiteY65" fmla="*/ 622654 h 4223685"/>
                <a:gd name="connsiteX66" fmla="*/ 675205 w 956528"/>
                <a:gd name="connsiteY66" fmla="*/ 622654 h 4223685"/>
                <a:gd name="connsiteX67" fmla="*/ 675205 w 956528"/>
                <a:gd name="connsiteY67" fmla="*/ 566413 h 4223685"/>
                <a:gd name="connsiteX68" fmla="*/ 56280 w 956528"/>
                <a:gd name="connsiteY68" fmla="*/ 566413 h 4223685"/>
                <a:gd name="connsiteX69" fmla="*/ 56280 w 956528"/>
                <a:gd name="connsiteY69" fmla="*/ 397612 h 4223685"/>
                <a:gd name="connsiteX70" fmla="*/ 337603 w 956528"/>
                <a:gd name="connsiteY70" fmla="*/ 397612 h 4223685"/>
                <a:gd name="connsiteX71" fmla="*/ 337603 w 956528"/>
                <a:gd name="connsiteY71" fmla="*/ 341332 h 4223685"/>
                <a:gd name="connsiteX72" fmla="*/ 56280 w 956528"/>
                <a:gd name="connsiteY72" fmla="*/ 341332 h 4223685"/>
                <a:gd name="connsiteX73" fmla="*/ 56280 w 956528"/>
                <a:gd name="connsiteY73" fmla="*/ 172530 h 4223685"/>
                <a:gd name="connsiteX74" fmla="*/ 337603 w 956528"/>
                <a:gd name="connsiteY74" fmla="*/ 172530 h 4223685"/>
                <a:gd name="connsiteX75" fmla="*/ 337603 w 956528"/>
                <a:gd name="connsiteY75" fmla="*/ 116250 h 4223685"/>
                <a:gd name="connsiteX76" fmla="*/ 56280 w 956528"/>
                <a:gd name="connsiteY76" fmla="*/ 116250 h 4223685"/>
                <a:gd name="connsiteX77" fmla="*/ 56280 w 956528"/>
                <a:gd name="connsiteY77" fmla="*/ 0 h 4223685"/>
                <a:gd name="connsiteX78" fmla="*/ 0 w 956528"/>
                <a:gd name="connsiteY78" fmla="*/ 0 h 4223685"/>
                <a:gd name="connsiteX79" fmla="*/ 0 w 956528"/>
                <a:gd name="connsiteY79" fmla="*/ 4223686 h 4223685"/>
                <a:gd name="connsiteX80" fmla="*/ 56280 w 956528"/>
                <a:gd name="connsiteY80" fmla="*/ 4223686 h 4223685"/>
                <a:gd name="connsiteX81" fmla="*/ 900248 w 956528"/>
                <a:gd name="connsiteY81" fmla="*/ 4223686 h 422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956528" h="4223685">
                  <a:moveTo>
                    <a:pt x="956528" y="4223686"/>
                  </a:moveTo>
                  <a:lnTo>
                    <a:pt x="956528" y="0"/>
                  </a:lnTo>
                  <a:lnTo>
                    <a:pt x="900248" y="0"/>
                  </a:lnTo>
                  <a:lnTo>
                    <a:pt x="900248" y="4167445"/>
                  </a:lnTo>
                  <a:lnTo>
                    <a:pt x="56280" y="4167445"/>
                  </a:lnTo>
                  <a:lnTo>
                    <a:pt x="56280" y="3998643"/>
                  </a:lnTo>
                  <a:lnTo>
                    <a:pt x="337603" y="3998643"/>
                  </a:lnTo>
                  <a:lnTo>
                    <a:pt x="337603" y="3942363"/>
                  </a:lnTo>
                  <a:lnTo>
                    <a:pt x="56280" y="3942363"/>
                  </a:lnTo>
                  <a:lnTo>
                    <a:pt x="56280" y="3773562"/>
                  </a:lnTo>
                  <a:lnTo>
                    <a:pt x="337603" y="3773562"/>
                  </a:lnTo>
                  <a:lnTo>
                    <a:pt x="337603" y="3717321"/>
                  </a:lnTo>
                  <a:lnTo>
                    <a:pt x="56280" y="3717321"/>
                  </a:lnTo>
                  <a:lnTo>
                    <a:pt x="56280" y="3548519"/>
                  </a:lnTo>
                  <a:lnTo>
                    <a:pt x="337603" y="3548519"/>
                  </a:lnTo>
                  <a:lnTo>
                    <a:pt x="337603" y="3492239"/>
                  </a:lnTo>
                  <a:lnTo>
                    <a:pt x="56280" y="3492239"/>
                  </a:lnTo>
                  <a:lnTo>
                    <a:pt x="56280" y="3323438"/>
                  </a:lnTo>
                  <a:lnTo>
                    <a:pt x="675205" y="3323438"/>
                  </a:lnTo>
                  <a:lnTo>
                    <a:pt x="675205" y="3267158"/>
                  </a:lnTo>
                  <a:lnTo>
                    <a:pt x="56280" y="3267158"/>
                  </a:lnTo>
                  <a:lnTo>
                    <a:pt x="56280" y="3098395"/>
                  </a:lnTo>
                  <a:lnTo>
                    <a:pt x="337603" y="3098395"/>
                  </a:lnTo>
                  <a:lnTo>
                    <a:pt x="337603" y="3042115"/>
                  </a:lnTo>
                  <a:lnTo>
                    <a:pt x="56280" y="3042115"/>
                  </a:lnTo>
                  <a:lnTo>
                    <a:pt x="56280" y="2873314"/>
                  </a:lnTo>
                  <a:lnTo>
                    <a:pt x="337603" y="2873314"/>
                  </a:lnTo>
                  <a:lnTo>
                    <a:pt x="337603" y="2817034"/>
                  </a:lnTo>
                  <a:lnTo>
                    <a:pt x="56280" y="2817034"/>
                  </a:lnTo>
                  <a:lnTo>
                    <a:pt x="56280" y="2648233"/>
                  </a:lnTo>
                  <a:lnTo>
                    <a:pt x="337603" y="2648233"/>
                  </a:lnTo>
                  <a:lnTo>
                    <a:pt x="337603" y="2591991"/>
                  </a:lnTo>
                  <a:lnTo>
                    <a:pt x="56280" y="2591991"/>
                  </a:lnTo>
                  <a:lnTo>
                    <a:pt x="56280" y="2423190"/>
                  </a:lnTo>
                  <a:lnTo>
                    <a:pt x="675205" y="2423190"/>
                  </a:lnTo>
                  <a:lnTo>
                    <a:pt x="675205" y="2366909"/>
                  </a:lnTo>
                  <a:lnTo>
                    <a:pt x="56280" y="2366909"/>
                  </a:lnTo>
                  <a:lnTo>
                    <a:pt x="56280" y="2198108"/>
                  </a:lnTo>
                  <a:lnTo>
                    <a:pt x="337603" y="2198108"/>
                  </a:lnTo>
                  <a:lnTo>
                    <a:pt x="337603" y="2141867"/>
                  </a:lnTo>
                  <a:lnTo>
                    <a:pt x="56280" y="2141867"/>
                  </a:lnTo>
                  <a:lnTo>
                    <a:pt x="56280" y="1973065"/>
                  </a:lnTo>
                  <a:lnTo>
                    <a:pt x="337603" y="1973065"/>
                  </a:lnTo>
                  <a:lnTo>
                    <a:pt x="337603" y="1916785"/>
                  </a:lnTo>
                  <a:lnTo>
                    <a:pt x="56280" y="1916785"/>
                  </a:lnTo>
                  <a:lnTo>
                    <a:pt x="56280" y="1747984"/>
                  </a:lnTo>
                  <a:lnTo>
                    <a:pt x="337603" y="1747984"/>
                  </a:lnTo>
                  <a:lnTo>
                    <a:pt x="337603" y="1691704"/>
                  </a:lnTo>
                  <a:lnTo>
                    <a:pt x="56280" y="1691704"/>
                  </a:lnTo>
                  <a:lnTo>
                    <a:pt x="56280" y="1522941"/>
                  </a:lnTo>
                  <a:lnTo>
                    <a:pt x="675205" y="1522941"/>
                  </a:lnTo>
                  <a:lnTo>
                    <a:pt x="675205" y="1466661"/>
                  </a:lnTo>
                  <a:lnTo>
                    <a:pt x="56280" y="1466661"/>
                  </a:lnTo>
                  <a:lnTo>
                    <a:pt x="56280" y="1297860"/>
                  </a:lnTo>
                  <a:lnTo>
                    <a:pt x="337603" y="1297860"/>
                  </a:lnTo>
                  <a:lnTo>
                    <a:pt x="337603" y="1241580"/>
                  </a:lnTo>
                  <a:lnTo>
                    <a:pt x="56280" y="1241580"/>
                  </a:lnTo>
                  <a:lnTo>
                    <a:pt x="56280" y="1072779"/>
                  </a:lnTo>
                  <a:lnTo>
                    <a:pt x="337603" y="1072779"/>
                  </a:lnTo>
                  <a:lnTo>
                    <a:pt x="337603" y="1016537"/>
                  </a:lnTo>
                  <a:lnTo>
                    <a:pt x="56280" y="1016537"/>
                  </a:lnTo>
                  <a:lnTo>
                    <a:pt x="56280" y="847736"/>
                  </a:lnTo>
                  <a:lnTo>
                    <a:pt x="337603" y="847736"/>
                  </a:lnTo>
                  <a:lnTo>
                    <a:pt x="337603" y="791456"/>
                  </a:lnTo>
                  <a:lnTo>
                    <a:pt x="56280" y="791456"/>
                  </a:lnTo>
                  <a:lnTo>
                    <a:pt x="56280" y="622654"/>
                  </a:lnTo>
                  <a:lnTo>
                    <a:pt x="675205" y="622654"/>
                  </a:lnTo>
                  <a:lnTo>
                    <a:pt x="675205" y="566413"/>
                  </a:lnTo>
                  <a:lnTo>
                    <a:pt x="56280" y="566413"/>
                  </a:lnTo>
                  <a:lnTo>
                    <a:pt x="56280" y="397612"/>
                  </a:lnTo>
                  <a:lnTo>
                    <a:pt x="337603" y="397612"/>
                  </a:lnTo>
                  <a:lnTo>
                    <a:pt x="337603" y="341332"/>
                  </a:lnTo>
                  <a:lnTo>
                    <a:pt x="56280" y="341332"/>
                  </a:lnTo>
                  <a:lnTo>
                    <a:pt x="56280" y="172530"/>
                  </a:lnTo>
                  <a:lnTo>
                    <a:pt x="337603" y="172530"/>
                  </a:lnTo>
                  <a:lnTo>
                    <a:pt x="337603" y="116250"/>
                  </a:lnTo>
                  <a:lnTo>
                    <a:pt x="56280" y="116250"/>
                  </a:lnTo>
                  <a:lnTo>
                    <a:pt x="56280" y="0"/>
                  </a:lnTo>
                  <a:lnTo>
                    <a:pt x="0" y="0"/>
                  </a:lnTo>
                  <a:lnTo>
                    <a:pt x="0" y="4223686"/>
                  </a:lnTo>
                  <a:lnTo>
                    <a:pt x="56280" y="4223686"/>
                  </a:lnTo>
                  <a:lnTo>
                    <a:pt x="900248" y="42236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93104CD2-8693-4DB7-AC2D-0093CF85F6DA}"/>
                </a:ext>
              </a:extLst>
            </p:cNvPr>
            <p:cNvSpPr/>
            <p:nvPr/>
          </p:nvSpPr>
          <p:spPr>
            <a:xfrm>
              <a:off x="-1697617" y="1719597"/>
              <a:ext cx="337603" cy="538326"/>
            </a:xfrm>
            <a:custGeom>
              <a:avLst/>
              <a:gdLst>
                <a:gd name="connsiteX0" fmla="*/ 0 w 337603"/>
                <a:gd name="connsiteY0" fmla="*/ 0 h 538326"/>
                <a:gd name="connsiteX1" fmla="*/ 56280 w 337603"/>
                <a:gd name="connsiteY1" fmla="*/ 0 h 538326"/>
                <a:gd name="connsiteX2" fmla="*/ 56280 w 337603"/>
                <a:gd name="connsiteY2" fmla="*/ 101734 h 538326"/>
                <a:gd name="connsiteX3" fmla="*/ 337603 w 337603"/>
                <a:gd name="connsiteY3" fmla="*/ 101734 h 538326"/>
                <a:gd name="connsiteX4" fmla="*/ 337603 w 337603"/>
                <a:gd name="connsiteY4" fmla="*/ 158014 h 538326"/>
                <a:gd name="connsiteX5" fmla="*/ 56280 w 337603"/>
                <a:gd name="connsiteY5" fmla="*/ 158014 h 538326"/>
                <a:gd name="connsiteX6" fmla="*/ 56280 w 337603"/>
                <a:gd name="connsiteY6" fmla="*/ 326815 h 538326"/>
                <a:gd name="connsiteX7" fmla="*/ 337603 w 337603"/>
                <a:gd name="connsiteY7" fmla="*/ 326815 h 538326"/>
                <a:gd name="connsiteX8" fmla="*/ 337603 w 337603"/>
                <a:gd name="connsiteY8" fmla="*/ 383056 h 538326"/>
                <a:gd name="connsiteX9" fmla="*/ 56280 w 337603"/>
                <a:gd name="connsiteY9" fmla="*/ 383056 h 538326"/>
                <a:gd name="connsiteX10" fmla="*/ 56280 w 337603"/>
                <a:gd name="connsiteY10" fmla="*/ 538326 h 538326"/>
                <a:gd name="connsiteX11" fmla="*/ 0 w 337603"/>
                <a:gd name="connsiteY11" fmla="*/ 538326 h 538326"/>
                <a:gd name="connsiteX12" fmla="*/ 0 w 337603"/>
                <a:gd name="connsiteY12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7603" h="538326">
                  <a:moveTo>
                    <a:pt x="0" y="0"/>
                  </a:moveTo>
                  <a:lnTo>
                    <a:pt x="56280" y="0"/>
                  </a:lnTo>
                  <a:lnTo>
                    <a:pt x="56280" y="101734"/>
                  </a:lnTo>
                  <a:lnTo>
                    <a:pt x="337603" y="101734"/>
                  </a:lnTo>
                  <a:lnTo>
                    <a:pt x="337603" y="158014"/>
                  </a:lnTo>
                  <a:lnTo>
                    <a:pt x="56280" y="158014"/>
                  </a:lnTo>
                  <a:lnTo>
                    <a:pt x="56280" y="326815"/>
                  </a:lnTo>
                  <a:lnTo>
                    <a:pt x="337603" y="326815"/>
                  </a:lnTo>
                  <a:lnTo>
                    <a:pt x="337603" y="383056"/>
                  </a:lnTo>
                  <a:lnTo>
                    <a:pt x="56280" y="383056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3ACC5431-AE35-4EDE-AAD0-CB193A0BF583}"/>
                </a:ext>
              </a:extLst>
            </p:cNvPr>
            <p:cNvSpPr/>
            <p:nvPr/>
          </p:nvSpPr>
          <p:spPr>
            <a:xfrm>
              <a:off x="-797368" y="1719597"/>
              <a:ext cx="56280" cy="538326"/>
            </a:xfrm>
            <a:custGeom>
              <a:avLst/>
              <a:gdLst>
                <a:gd name="connsiteX0" fmla="*/ 0 w 56280"/>
                <a:gd name="connsiteY0" fmla="*/ 0 h 538326"/>
                <a:gd name="connsiteX1" fmla="*/ 56280 w 56280"/>
                <a:gd name="connsiteY1" fmla="*/ 0 h 538326"/>
                <a:gd name="connsiteX2" fmla="*/ 56280 w 56280"/>
                <a:gd name="connsiteY2" fmla="*/ 538326 h 538326"/>
                <a:gd name="connsiteX3" fmla="*/ 0 w 56280"/>
                <a:gd name="connsiteY3" fmla="*/ 538326 h 538326"/>
                <a:gd name="connsiteX4" fmla="*/ 0 w 56280"/>
                <a:gd name="connsiteY4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80" h="538326">
                  <a:moveTo>
                    <a:pt x="0" y="0"/>
                  </a:moveTo>
                  <a:lnTo>
                    <a:pt x="56280" y="0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</p:grpSp>
      <p:sp>
        <p:nvSpPr>
          <p:cNvPr id="61" name="Round Same-side Corner of Rectangle 79">
            <a:extLst>
              <a:ext uri="{FF2B5EF4-FFF2-40B4-BE49-F238E27FC236}">
                <a16:creationId xmlns:a16="http://schemas.microsoft.com/office/drawing/2014/main" id="{14BFD3AC-4AB3-4DD4-A81C-763FB4D24100}"/>
              </a:ext>
            </a:extLst>
          </p:cNvPr>
          <p:cNvSpPr/>
          <p:nvPr userDrawn="1"/>
        </p:nvSpPr>
        <p:spPr>
          <a:xfrm rot="5400000">
            <a:off x="10613117" y="550943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2" name="TextBox 61">
            <a:hlinkClick r:id="" action="ppaction://noaction"/>
            <a:extLst>
              <a:ext uri="{FF2B5EF4-FFF2-40B4-BE49-F238E27FC236}">
                <a16:creationId xmlns:a16="http://schemas.microsoft.com/office/drawing/2014/main" id="{615ED974-0C51-49B7-9765-635B61D7660B}"/>
              </a:ext>
            </a:extLst>
          </p:cNvPr>
          <p:cNvSpPr txBox="1"/>
          <p:nvPr userDrawn="1"/>
        </p:nvSpPr>
        <p:spPr>
          <a:xfrm>
            <a:off x="10870644" y="555078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63" name="Round Same-side Corner of Rectangle 79">
            <a:extLst>
              <a:ext uri="{FF2B5EF4-FFF2-40B4-BE49-F238E27FC236}">
                <a16:creationId xmlns:a16="http://schemas.microsoft.com/office/drawing/2014/main" id="{C1BEB30F-B18F-4A20-988A-87E9DF77F63E}"/>
              </a:ext>
            </a:extLst>
          </p:cNvPr>
          <p:cNvSpPr/>
          <p:nvPr userDrawn="1"/>
        </p:nvSpPr>
        <p:spPr>
          <a:xfrm rot="5400000">
            <a:off x="10613117" y="5784862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77" name="TextBox 76">
            <a:hlinkClick r:id="" action="ppaction://noaction"/>
            <a:extLst>
              <a:ext uri="{FF2B5EF4-FFF2-40B4-BE49-F238E27FC236}">
                <a16:creationId xmlns:a16="http://schemas.microsoft.com/office/drawing/2014/main" id="{4669B3FE-90DD-48B0-A71D-6F94AE50BAD6}"/>
              </a:ext>
            </a:extLst>
          </p:cNvPr>
          <p:cNvSpPr txBox="1"/>
          <p:nvPr userDrawn="1"/>
        </p:nvSpPr>
        <p:spPr>
          <a:xfrm>
            <a:off x="10870644" y="5826211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81" name="Freeform 25">
            <a:extLst>
              <a:ext uri="{FF2B5EF4-FFF2-40B4-BE49-F238E27FC236}">
                <a16:creationId xmlns:a16="http://schemas.microsoft.com/office/drawing/2014/main" id="{74C0C8C4-8E20-49C6-834D-7639B378425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5549100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82" name="Round Same-side Corner of Rectangle 79">
            <a:extLst>
              <a:ext uri="{FF2B5EF4-FFF2-40B4-BE49-F238E27FC236}">
                <a16:creationId xmlns:a16="http://schemas.microsoft.com/office/drawing/2014/main" id="{0687D713-F3CA-4170-B330-C9C0855459E8}"/>
              </a:ext>
            </a:extLst>
          </p:cNvPr>
          <p:cNvSpPr/>
          <p:nvPr userDrawn="1"/>
        </p:nvSpPr>
        <p:spPr>
          <a:xfrm rot="5400000">
            <a:off x="10615976" y="606635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83" name="TextBox 82">
            <a:hlinkClick r:id="" action="ppaction://noaction"/>
            <a:extLst>
              <a:ext uri="{FF2B5EF4-FFF2-40B4-BE49-F238E27FC236}">
                <a16:creationId xmlns:a16="http://schemas.microsoft.com/office/drawing/2014/main" id="{EDAD2830-A67D-455A-BBFC-33409BF873ED}"/>
              </a:ext>
            </a:extLst>
          </p:cNvPr>
          <p:cNvSpPr txBox="1"/>
          <p:nvPr userDrawn="1"/>
        </p:nvSpPr>
        <p:spPr>
          <a:xfrm>
            <a:off x="10873503" y="6107704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91" name="Freeform 21">
            <a:extLst>
              <a:ext uri="{FF2B5EF4-FFF2-40B4-BE49-F238E27FC236}">
                <a16:creationId xmlns:a16="http://schemas.microsoft.com/office/drawing/2014/main" id="{13E94539-F5B0-4665-89E0-47DB3A21F586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6115929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93" name="Graphic 28" descr="List">
            <a:extLst>
              <a:ext uri="{FF2B5EF4-FFF2-40B4-BE49-F238E27FC236}">
                <a16:creationId xmlns:a16="http://schemas.microsoft.com/office/drawing/2014/main" id="{D2DB2B60-0B29-4707-8741-887F215A798D}"/>
              </a:ext>
            </a:extLst>
          </p:cNvPr>
          <p:cNvGrpSpPr/>
          <p:nvPr userDrawn="1"/>
        </p:nvGrpSpPr>
        <p:grpSpPr>
          <a:xfrm>
            <a:off x="10657446" y="5818069"/>
            <a:ext cx="103548" cy="146640"/>
            <a:chOff x="981871" y="1231905"/>
            <a:chExt cx="246063" cy="317501"/>
          </a:xfrm>
        </p:grpSpPr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854C399A-6C5F-4AA7-94DE-476D78501F9E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629FD170-2ACF-41A4-8ED5-4BC7A78AD620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F9D52347-AC71-4512-83E1-DFFBF88DBD52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ADC83048-732B-4C67-87D4-3E837830DE29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2555DDF8-DC6F-4C38-9BAC-5D71DD1D9937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D717A6A5-C466-428A-A1A4-61D43160BDD6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3C101219-EF28-4A18-B442-7F7750BFE0F7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8ED6DE41-549F-45DC-B507-EF3D0968E456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CA81AD9A-ABD3-4FFF-B660-E21AD0912F71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80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BFD41619-F31A-4DE1-B30A-42C6339A57A3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2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4EE930DC-63D3-4F6B-A445-F4C8E08B587D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8AFFB2D3-3A07-4C13-99CE-E412EFBC8E87}"/>
              </a:ext>
            </a:extLst>
          </p:cNvPr>
          <p:cNvSpPr/>
          <p:nvPr userDrawn="1"/>
        </p:nvSpPr>
        <p:spPr>
          <a:xfrm rot="5400000">
            <a:off x="11280167" y="4840571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6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EF70FB88-0944-4D71-8B3E-D3D0442A73E7}"/>
              </a:ext>
            </a:extLst>
          </p:cNvPr>
          <p:cNvSpPr/>
          <p:nvPr userDrawn="1"/>
        </p:nvSpPr>
        <p:spPr>
          <a:xfrm rot="5400000">
            <a:off x="11280167" y="5116475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7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5B689473-8747-462A-A00F-1F29875942F3}"/>
              </a:ext>
            </a:extLst>
          </p:cNvPr>
          <p:cNvSpPr/>
          <p:nvPr userDrawn="1"/>
        </p:nvSpPr>
        <p:spPr>
          <a:xfrm rot="5400000">
            <a:off x="11280167" y="5392379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8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0B5D73D2-57E3-4F77-BAED-AF40C56AC66E}"/>
              </a:ext>
            </a:extLst>
          </p:cNvPr>
          <p:cNvSpPr/>
          <p:nvPr userDrawn="1"/>
        </p:nvSpPr>
        <p:spPr>
          <a:xfrm rot="5400000">
            <a:off x="11283961" y="1283620"/>
            <a:ext cx="349171" cy="1460557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5FBB1432-2436-4EAB-9C48-C030D5DB6EC6}"/>
              </a:ext>
            </a:extLst>
          </p:cNvPr>
          <p:cNvSpPr/>
          <p:nvPr userDrawn="1"/>
        </p:nvSpPr>
        <p:spPr>
          <a:xfrm rot="5400000">
            <a:off x="11473096" y="192820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4" name="Round Same-side Corner of Rectangle 79">
            <a:hlinkClick r:id="rId5" action="ppaction://hlinksldjump"/>
            <a:extLst>
              <a:ext uri="{FF2B5EF4-FFF2-40B4-BE49-F238E27FC236}">
                <a16:creationId xmlns:a16="http://schemas.microsoft.com/office/drawing/2014/main" id="{1E92587C-B0ED-4C3B-8F69-6206FC08CD2D}"/>
              </a:ext>
            </a:extLst>
          </p:cNvPr>
          <p:cNvSpPr/>
          <p:nvPr userDrawn="1"/>
        </p:nvSpPr>
        <p:spPr>
          <a:xfrm rot="5400000">
            <a:off x="11473096" y="2380734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CA5BF027-3B5C-4DA3-AD1E-17E43FD21963}"/>
              </a:ext>
            </a:extLst>
          </p:cNvPr>
          <p:cNvSpPr/>
          <p:nvPr userDrawn="1"/>
        </p:nvSpPr>
        <p:spPr>
          <a:xfrm rot="5400000">
            <a:off x="11473096" y="2833262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6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5FCD0C7E-A5BA-4457-836F-0E9623185570}"/>
              </a:ext>
            </a:extLst>
          </p:cNvPr>
          <p:cNvSpPr/>
          <p:nvPr userDrawn="1"/>
        </p:nvSpPr>
        <p:spPr>
          <a:xfrm rot="5400000">
            <a:off x="11473096" y="3285790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7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AA7B0423-869C-4032-A026-22CF374BB678}"/>
              </a:ext>
            </a:extLst>
          </p:cNvPr>
          <p:cNvSpPr/>
          <p:nvPr userDrawn="1"/>
        </p:nvSpPr>
        <p:spPr>
          <a:xfrm rot="5400000">
            <a:off x="11473096" y="3738318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8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CAEF2F05-D16C-4BFE-BF44-D6D6697766F4}"/>
              </a:ext>
            </a:extLst>
          </p:cNvPr>
          <p:cNvSpPr/>
          <p:nvPr userDrawn="1"/>
        </p:nvSpPr>
        <p:spPr>
          <a:xfrm rot="5400000">
            <a:off x="11473096" y="419084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9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40A056BF-82AF-488D-A6E6-E47879B042E2}"/>
              </a:ext>
            </a:extLst>
          </p:cNvPr>
          <p:cNvSpPr/>
          <p:nvPr userDrawn="1"/>
        </p:nvSpPr>
        <p:spPr>
          <a:xfrm rot="5400000">
            <a:off x="11473096" y="464337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432192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8725770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llar 1 - Let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4" name="Round Same-side Corner of Rectangle 79">
            <a:extLst>
              <a:ext uri="{FF2B5EF4-FFF2-40B4-BE49-F238E27FC236}">
                <a16:creationId xmlns:a16="http://schemas.microsoft.com/office/drawing/2014/main" id="{429E155D-7E57-4822-8852-F94F1A49D6FC}"/>
              </a:ext>
            </a:extLst>
          </p:cNvPr>
          <p:cNvSpPr/>
          <p:nvPr userDrawn="1"/>
        </p:nvSpPr>
        <p:spPr>
          <a:xfrm rot="16200000">
            <a:off x="11384856" y="4661233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8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0" name="Round Same-side Corner of Rectangle 79">
            <a:extLst>
              <a:ext uri="{FF2B5EF4-FFF2-40B4-BE49-F238E27FC236}">
                <a16:creationId xmlns:a16="http://schemas.microsoft.com/office/drawing/2014/main" id="{DA632258-7E89-4C63-86BD-EA679E94BCAB}"/>
              </a:ext>
            </a:extLst>
          </p:cNvPr>
          <p:cNvSpPr/>
          <p:nvPr userDrawn="1"/>
        </p:nvSpPr>
        <p:spPr>
          <a:xfrm rot="16200000">
            <a:off x="11384854" y="4208631"/>
            <a:ext cx="388777" cy="104122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7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1" name="Round Same-side Corner of Rectangle 79">
            <a:extLst>
              <a:ext uri="{FF2B5EF4-FFF2-40B4-BE49-F238E27FC236}">
                <a16:creationId xmlns:a16="http://schemas.microsoft.com/office/drawing/2014/main" id="{D4B93879-3513-4875-A1C4-5980915623CE}"/>
              </a:ext>
            </a:extLst>
          </p:cNvPr>
          <p:cNvSpPr/>
          <p:nvPr userDrawn="1"/>
        </p:nvSpPr>
        <p:spPr>
          <a:xfrm rot="16200000">
            <a:off x="11384854" y="3756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6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8" name="Round Same-side Corner of Rectangle 79">
            <a:extLst>
              <a:ext uri="{FF2B5EF4-FFF2-40B4-BE49-F238E27FC236}">
                <a16:creationId xmlns:a16="http://schemas.microsoft.com/office/drawing/2014/main" id="{312255C5-65A9-47AB-B67B-8924547FF7C2}"/>
              </a:ext>
            </a:extLst>
          </p:cNvPr>
          <p:cNvSpPr/>
          <p:nvPr userDrawn="1"/>
        </p:nvSpPr>
        <p:spPr>
          <a:xfrm rot="16200000">
            <a:off x="11384854" y="33034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5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9" name="Round Same-side Corner of Rectangle 79">
            <a:extLst>
              <a:ext uri="{FF2B5EF4-FFF2-40B4-BE49-F238E27FC236}">
                <a16:creationId xmlns:a16="http://schemas.microsoft.com/office/drawing/2014/main" id="{F23596D5-FD36-49E3-B746-F3D7A290DF3D}"/>
              </a:ext>
            </a:extLst>
          </p:cNvPr>
          <p:cNvSpPr/>
          <p:nvPr userDrawn="1"/>
        </p:nvSpPr>
        <p:spPr>
          <a:xfrm rot="16200000">
            <a:off x="11384853" y="28508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4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7" name="Round Same-side Corner of Rectangle 79">
            <a:extLst>
              <a:ext uri="{FF2B5EF4-FFF2-40B4-BE49-F238E27FC236}">
                <a16:creationId xmlns:a16="http://schemas.microsoft.com/office/drawing/2014/main" id="{059574F1-9FE9-480C-B4ED-14EFB4169B0E}"/>
              </a:ext>
            </a:extLst>
          </p:cNvPr>
          <p:cNvSpPr/>
          <p:nvPr userDrawn="1"/>
        </p:nvSpPr>
        <p:spPr>
          <a:xfrm rot="16200000">
            <a:off x="11384854" y="23982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3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8" name="Round Same-side Corner of Rectangle 79">
            <a:extLst>
              <a:ext uri="{FF2B5EF4-FFF2-40B4-BE49-F238E27FC236}">
                <a16:creationId xmlns:a16="http://schemas.microsoft.com/office/drawing/2014/main" id="{82236BCB-3538-4E87-B0C9-CACC40793A57}"/>
              </a:ext>
            </a:extLst>
          </p:cNvPr>
          <p:cNvSpPr/>
          <p:nvPr userDrawn="1"/>
        </p:nvSpPr>
        <p:spPr>
          <a:xfrm rot="16200000">
            <a:off x="11384854" y="19456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2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9" name="Round Same-side Corner of Rectangle 79">
            <a:extLst>
              <a:ext uri="{FF2B5EF4-FFF2-40B4-BE49-F238E27FC236}">
                <a16:creationId xmlns:a16="http://schemas.microsoft.com/office/drawing/2014/main" id="{61090AD0-0469-4342-901A-FC4BE401662F}"/>
              </a:ext>
            </a:extLst>
          </p:cNvPr>
          <p:cNvSpPr/>
          <p:nvPr userDrawn="1"/>
        </p:nvSpPr>
        <p:spPr>
          <a:xfrm rot="16200000">
            <a:off x="11219847" y="1328023"/>
            <a:ext cx="388777" cy="137124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2102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600" b="1"/>
              <a:t>Pillar  </a:t>
            </a:r>
            <a:r>
              <a:rPr lang="en-US" sz="1600" b="1"/>
              <a:t>1</a:t>
            </a:r>
          </a:p>
        </p:txBody>
      </p:sp>
      <p:sp>
        <p:nvSpPr>
          <p:cNvPr id="96" name="Round Same-side Corner of Rectangle 79">
            <a:extLst>
              <a:ext uri="{FF2B5EF4-FFF2-40B4-BE49-F238E27FC236}">
                <a16:creationId xmlns:a16="http://schemas.microsoft.com/office/drawing/2014/main" id="{75C801CE-9FCA-486D-96A7-6973FA449CCA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8" name="Round Same-side Corner of Rectangle 79">
            <a:extLst>
              <a:ext uri="{FF2B5EF4-FFF2-40B4-BE49-F238E27FC236}">
                <a16:creationId xmlns:a16="http://schemas.microsoft.com/office/drawing/2014/main" id="{B358AAFE-318C-4629-9F49-D9DBA46F85EC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42" name="Content Placeholder 2">
            <a:extLst>
              <a:ext uri="{FF2B5EF4-FFF2-40B4-BE49-F238E27FC236}">
                <a16:creationId xmlns:a16="http://schemas.microsoft.com/office/drawing/2014/main" id="{612B9BC4-C9DA-4448-8DC7-1F35B98CC67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6706" y="918349"/>
            <a:ext cx="9963591" cy="5673283"/>
          </a:xfrm>
        </p:spPr>
        <p:txBody>
          <a:bodyPr/>
          <a:lstStyle>
            <a:lvl1pPr marL="0" indent="0">
              <a:spcBef>
                <a:spcPts val="1200"/>
              </a:spcBef>
              <a:buFontTx/>
              <a:buNone/>
              <a:defRPr sz="1799" b="1">
                <a:solidFill>
                  <a:schemeClr val="accent1">
                    <a:lumMod val="75000"/>
                  </a:schemeClr>
                </a:solidFill>
              </a:defRPr>
            </a:lvl1pPr>
            <a:lvl2pPr marL="230119" indent="-274238">
              <a:spcBef>
                <a:spcPts val="1200"/>
              </a:spcBef>
              <a:buFont typeface="+mj-lt"/>
              <a:buAutoNum type="alphaUcPeriod"/>
              <a:defRPr/>
            </a:lvl2pPr>
            <a:lvl3pPr marL="512609" indent="-228531">
              <a:spcBef>
                <a:spcPts val="600"/>
              </a:spcBef>
              <a:buFont typeface="+mj-lt"/>
              <a:buAutoNum type="romanLcPeriod"/>
              <a:defRPr sz="1300"/>
            </a:lvl3pPr>
            <a:lvl4pPr marL="798273" indent="-169812">
              <a:spcBef>
                <a:spcPts val="400"/>
              </a:spcBef>
              <a:buFont typeface="+mj-lt"/>
              <a:buAutoNum type="alphaLcPeriod"/>
              <a:defRPr sz="1300"/>
            </a:lvl4pPr>
            <a:lvl5pPr marL="1144245" indent="-115853">
              <a:spcBef>
                <a:spcPts val="2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5BFAEFC-2211-49AC-BF18-B83AEB886735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03C2196-DA31-4ADD-9029-9D146C80059F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49" name="Round Same-side Corner of Rectangle 79">
            <a:extLst>
              <a:ext uri="{FF2B5EF4-FFF2-40B4-BE49-F238E27FC236}">
                <a16:creationId xmlns:a16="http://schemas.microsoft.com/office/drawing/2014/main" id="{D8C85FC7-2C6E-44F1-8101-9552E1EB2349}"/>
              </a:ext>
            </a:extLst>
          </p:cNvPr>
          <p:cNvSpPr/>
          <p:nvPr userDrawn="1"/>
        </p:nvSpPr>
        <p:spPr>
          <a:xfrm rot="16200000">
            <a:off x="11900597" y="1919803"/>
            <a:ext cx="388777" cy="18768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>
              <a:lumMod val="75000"/>
              <a:alpha val="59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13" name="TextBox 12">
            <a:hlinkClick r:id="" action="ppaction://noaction"/>
            <a:extLst>
              <a:ext uri="{FF2B5EF4-FFF2-40B4-BE49-F238E27FC236}">
                <a16:creationId xmlns:a16="http://schemas.microsoft.com/office/drawing/2014/main" id="{323DBC9D-AE62-4BA8-8010-CA9E110C6621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14" name="TextBox 13">
            <a:hlinkClick r:id="" action="ppaction://noaction"/>
            <a:extLst>
              <a:ext uri="{FF2B5EF4-FFF2-40B4-BE49-F238E27FC236}">
                <a16:creationId xmlns:a16="http://schemas.microsoft.com/office/drawing/2014/main" id="{A240114C-7A23-4FF0-B806-66751E1821F1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874ECCE4-62D0-4ED4-8496-AABF7B5B33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782B6456-2948-4698-9F74-A1C0CE9C076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254B647F-5C6A-4891-8E7E-A5CC395829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45" name="Freeform 9">
            <a:extLst>
              <a:ext uri="{FF2B5EF4-FFF2-40B4-BE49-F238E27FC236}">
                <a16:creationId xmlns:a16="http://schemas.microsoft.com/office/drawing/2014/main" id="{D23C3B72-6045-4FD2-A12C-7C461896C0B0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95767" y="4176118"/>
            <a:ext cx="181694" cy="212254"/>
          </a:xfrm>
          <a:custGeom>
            <a:avLst/>
            <a:gdLst>
              <a:gd name="T0" fmla="*/ 708 w 809"/>
              <a:gd name="T1" fmla="*/ 509 h 945"/>
              <a:gd name="T2" fmla="*/ 405 w 809"/>
              <a:gd name="T3" fmla="*/ 838 h 945"/>
              <a:gd name="T4" fmla="*/ 404 w 809"/>
              <a:gd name="T5" fmla="*/ 838 h 945"/>
              <a:gd name="T6" fmla="*/ 404 w 809"/>
              <a:gd name="T7" fmla="*/ 473 h 945"/>
              <a:gd name="T8" fmla="*/ 101 w 809"/>
              <a:gd name="T9" fmla="*/ 473 h 945"/>
              <a:gd name="T10" fmla="*/ 101 w 809"/>
              <a:gd name="T11" fmla="*/ 245 h 945"/>
              <a:gd name="T12" fmla="*/ 404 w 809"/>
              <a:gd name="T13" fmla="*/ 123 h 945"/>
              <a:gd name="T14" fmla="*/ 404 w 809"/>
              <a:gd name="T15" fmla="*/ 473 h 945"/>
              <a:gd name="T16" fmla="*/ 708 w 809"/>
              <a:gd name="T17" fmla="*/ 473 h 945"/>
              <a:gd name="T18" fmla="*/ 708 w 809"/>
              <a:gd name="T19" fmla="*/ 509 h 945"/>
              <a:gd name="T20" fmla="*/ 792 w 809"/>
              <a:gd name="T21" fmla="*/ 150 h 945"/>
              <a:gd name="T22" fmla="*/ 415 w 809"/>
              <a:gd name="T23" fmla="*/ 4 h 945"/>
              <a:gd name="T24" fmla="*/ 394 w 809"/>
              <a:gd name="T25" fmla="*/ 4 h 945"/>
              <a:gd name="T26" fmla="*/ 17 w 809"/>
              <a:gd name="T27" fmla="*/ 150 h 945"/>
              <a:gd name="T28" fmla="*/ 0 w 809"/>
              <a:gd name="T29" fmla="*/ 168 h 945"/>
              <a:gd name="T30" fmla="*/ 0 w 809"/>
              <a:gd name="T31" fmla="*/ 508 h 945"/>
              <a:gd name="T32" fmla="*/ 398 w 809"/>
              <a:gd name="T33" fmla="*/ 944 h 945"/>
              <a:gd name="T34" fmla="*/ 410 w 809"/>
              <a:gd name="T35" fmla="*/ 944 h 945"/>
              <a:gd name="T36" fmla="*/ 809 w 809"/>
              <a:gd name="T37" fmla="*/ 508 h 945"/>
              <a:gd name="T38" fmla="*/ 809 w 809"/>
              <a:gd name="T39" fmla="*/ 168 h 945"/>
              <a:gd name="T40" fmla="*/ 792 w 809"/>
              <a:gd name="T41" fmla="*/ 150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9" h="945">
                <a:moveTo>
                  <a:pt x="708" y="509"/>
                </a:moveTo>
                <a:cubicBezTo>
                  <a:pt x="708" y="713"/>
                  <a:pt x="483" y="811"/>
                  <a:pt x="405" y="838"/>
                </a:cubicBezTo>
                <a:cubicBezTo>
                  <a:pt x="405" y="838"/>
                  <a:pt x="404" y="838"/>
                  <a:pt x="404" y="838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101" y="473"/>
                  <a:pt x="101" y="473"/>
                  <a:pt x="101" y="473"/>
                </a:cubicBezTo>
                <a:cubicBezTo>
                  <a:pt x="101" y="245"/>
                  <a:pt x="101" y="245"/>
                  <a:pt x="101" y="245"/>
                </a:cubicBezTo>
                <a:cubicBezTo>
                  <a:pt x="185" y="231"/>
                  <a:pt x="288" y="197"/>
                  <a:pt x="404" y="123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708" y="473"/>
                  <a:pt x="708" y="473"/>
                  <a:pt x="708" y="473"/>
                </a:cubicBezTo>
                <a:lnTo>
                  <a:pt x="708" y="509"/>
                </a:lnTo>
                <a:close/>
                <a:moveTo>
                  <a:pt x="792" y="150"/>
                </a:moveTo>
                <a:cubicBezTo>
                  <a:pt x="691" y="146"/>
                  <a:pt x="562" y="109"/>
                  <a:pt x="415" y="4"/>
                </a:cubicBezTo>
                <a:cubicBezTo>
                  <a:pt x="409" y="0"/>
                  <a:pt x="400" y="0"/>
                  <a:pt x="394" y="4"/>
                </a:cubicBezTo>
                <a:cubicBezTo>
                  <a:pt x="247" y="109"/>
                  <a:pt x="118" y="146"/>
                  <a:pt x="17" y="150"/>
                </a:cubicBezTo>
                <a:cubicBezTo>
                  <a:pt x="7" y="150"/>
                  <a:pt x="0" y="158"/>
                  <a:pt x="0" y="168"/>
                </a:cubicBezTo>
                <a:cubicBezTo>
                  <a:pt x="0" y="209"/>
                  <a:pt x="0" y="325"/>
                  <a:pt x="0" y="508"/>
                </a:cubicBezTo>
                <a:cubicBezTo>
                  <a:pt x="0" y="792"/>
                  <a:pt x="348" y="926"/>
                  <a:pt x="398" y="944"/>
                </a:cubicBezTo>
                <a:cubicBezTo>
                  <a:pt x="402" y="945"/>
                  <a:pt x="406" y="945"/>
                  <a:pt x="410" y="944"/>
                </a:cubicBezTo>
                <a:cubicBezTo>
                  <a:pt x="460" y="926"/>
                  <a:pt x="809" y="792"/>
                  <a:pt x="809" y="508"/>
                </a:cubicBezTo>
                <a:cubicBezTo>
                  <a:pt x="809" y="325"/>
                  <a:pt x="809" y="209"/>
                  <a:pt x="809" y="168"/>
                </a:cubicBezTo>
                <a:cubicBezTo>
                  <a:pt x="809" y="158"/>
                  <a:pt x="801" y="150"/>
                  <a:pt x="792" y="15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46" name="Freeform 13">
            <a:extLst>
              <a:ext uri="{FF2B5EF4-FFF2-40B4-BE49-F238E27FC236}">
                <a16:creationId xmlns:a16="http://schemas.microsoft.com/office/drawing/2014/main" id="{D7A5D32A-BEC6-4FFB-B7B4-660CC2F2ED2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87920" y="5097137"/>
            <a:ext cx="218911" cy="197141"/>
          </a:xfrm>
          <a:custGeom>
            <a:avLst/>
            <a:gdLst>
              <a:gd name="T0" fmla="*/ 757 w 1043"/>
              <a:gd name="T1" fmla="*/ 313 h 939"/>
              <a:gd name="T2" fmla="*/ 313 w 1043"/>
              <a:gd name="T3" fmla="*/ 321 h 939"/>
              <a:gd name="T4" fmla="*/ 321 w 1043"/>
              <a:gd name="T5" fmla="*/ 348 h 939"/>
              <a:gd name="T6" fmla="*/ 765 w 1043"/>
              <a:gd name="T7" fmla="*/ 340 h 939"/>
              <a:gd name="T8" fmla="*/ 765 w 1043"/>
              <a:gd name="T9" fmla="*/ 251 h 939"/>
              <a:gd name="T10" fmla="*/ 321 w 1043"/>
              <a:gd name="T11" fmla="*/ 243 h 939"/>
              <a:gd name="T12" fmla="*/ 313 w 1043"/>
              <a:gd name="T13" fmla="*/ 270 h 939"/>
              <a:gd name="T14" fmla="*/ 757 w 1043"/>
              <a:gd name="T15" fmla="*/ 278 h 939"/>
              <a:gd name="T16" fmla="*/ 765 w 1043"/>
              <a:gd name="T17" fmla="*/ 251 h 939"/>
              <a:gd name="T18" fmla="*/ 757 w 1043"/>
              <a:gd name="T19" fmla="*/ 382 h 939"/>
              <a:gd name="T20" fmla="*/ 313 w 1043"/>
              <a:gd name="T21" fmla="*/ 390 h 939"/>
              <a:gd name="T22" fmla="*/ 321 w 1043"/>
              <a:gd name="T23" fmla="*/ 417 h 939"/>
              <a:gd name="T24" fmla="*/ 765 w 1043"/>
              <a:gd name="T25" fmla="*/ 409 h 939"/>
              <a:gd name="T26" fmla="*/ 765 w 1043"/>
              <a:gd name="T27" fmla="*/ 182 h 939"/>
              <a:gd name="T28" fmla="*/ 321 w 1043"/>
              <a:gd name="T29" fmla="*/ 174 h 939"/>
              <a:gd name="T30" fmla="*/ 313 w 1043"/>
              <a:gd name="T31" fmla="*/ 201 h 939"/>
              <a:gd name="T32" fmla="*/ 757 w 1043"/>
              <a:gd name="T33" fmla="*/ 209 h 939"/>
              <a:gd name="T34" fmla="*/ 765 w 1043"/>
              <a:gd name="T35" fmla="*/ 182 h 939"/>
              <a:gd name="T36" fmla="*/ 1027 w 1043"/>
              <a:gd name="T37" fmla="*/ 730 h 939"/>
              <a:gd name="T38" fmla="*/ 491 w 1043"/>
              <a:gd name="T39" fmla="*/ 735 h 939"/>
              <a:gd name="T40" fmla="*/ 487 w 1043"/>
              <a:gd name="T41" fmla="*/ 747 h 939"/>
              <a:gd name="T42" fmla="*/ 358 w 1043"/>
              <a:gd name="T43" fmla="*/ 869 h 939"/>
              <a:gd name="T44" fmla="*/ 243 w 1043"/>
              <a:gd name="T45" fmla="*/ 757 h 939"/>
              <a:gd name="T46" fmla="*/ 243 w 1043"/>
              <a:gd name="T47" fmla="*/ 139 h 939"/>
              <a:gd name="T48" fmla="*/ 742 w 1043"/>
              <a:gd name="T49" fmla="*/ 69 h 939"/>
              <a:gd name="T50" fmla="*/ 834 w 1043"/>
              <a:gd name="T51" fmla="*/ 695 h 939"/>
              <a:gd name="T52" fmla="*/ 904 w 1043"/>
              <a:gd name="T53" fmla="*/ 161 h 939"/>
              <a:gd name="T54" fmla="*/ 685 w 1043"/>
              <a:gd name="T55" fmla="*/ 0 h 939"/>
              <a:gd name="T56" fmla="*/ 0 w 1043"/>
              <a:gd name="T57" fmla="*/ 174 h 939"/>
              <a:gd name="T58" fmla="*/ 16 w 1043"/>
              <a:gd name="T59" fmla="*/ 209 h 939"/>
              <a:gd name="T60" fmla="*/ 174 w 1043"/>
              <a:gd name="T61" fmla="*/ 757 h 939"/>
              <a:gd name="T62" fmla="*/ 820 w 1043"/>
              <a:gd name="T63" fmla="*/ 939 h 939"/>
              <a:gd name="T64" fmla="*/ 1043 w 1043"/>
              <a:gd name="T65" fmla="*/ 765 h 939"/>
              <a:gd name="T66" fmla="*/ 765 w 1043"/>
              <a:gd name="T67" fmla="*/ 529 h 939"/>
              <a:gd name="T68" fmla="*/ 321 w 1043"/>
              <a:gd name="T69" fmla="*/ 522 h 939"/>
              <a:gd name="T70" fmla="*/ 313 w 1043"/>
              <a:gd name="T71" fmla="*/ 548 h 939"/>
              <a:gd name="T72" fmla="*/ 757 w 1043"/>
              <a:gd name="T73" fmla="*/ 556 h 939"/>
              <a:gd name="T74" fmla="*/ 765 w 1043"/>
              <a:gd name="T75" fmla="*/ 529 h 939"/>
              <a:gd name="T76" fmla="*/ 757 w 1043"/>
              <a:gd name="T77" fmla="*/ 452 h 939"/>
              <a:gd name="T78" fmla="*/ 313 w 1043"/>
              <a:gd name="T79" fmla="*/ 460 h 939"/>
              <a:gd name="T80" fmla="*/ 321 w 1043"/>
              <a:gd name="T81" fmla="*/ 487 h 939"/>
              <a:gd name="T82" fmla="*/ 765 w 1043"/>
              <a:gd name="T83" fmla="*/ 479 h 939"/>
              <a:gd name="T84" fmla="*/ 765 w 1043"/>
              <a:gd name="T85" fmla="*/ 599 h 939"/>
              <a:gd name="T86" fmla="*/ 757 w 1043"/>
              <a:gd name="T87" fmla="*/ 626 h 939"/>
              <a:gd name="T88" fmla="*/ 313 w 1043"/>
              <a:gd name="T89" fmla="*/ 618 h 939"/>
              <a:gd name="T90" fmla="*/ 321 w 1043"/>
              <a:gd name="T91" fmla="*/ 591 h 939"/>
              <a:gd name="T92" fmla="*/ 765 w 1043"/>
              <a:gd name="T93" fmla="*/ 59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43" h="939">
                <a:moveTo>
                  <a:pt x="765" y="321"/>
                </a:moveTo>
                <a:cubicBezTo>
                  <a:pt x="765" y="316"/>
                  <a:pt x="761" y="313"/>
                  <a:pt x="757" y="313"/>
                </a:cubicBezTo>
                <a:cubicBezTo>
                  <a:pt x="321" y="313"/>
                  <a:pt x="321" y="313"/>
                  <a:pt x="321" y="313"/>
                </a:cubicBezTo>
                <a:cubicBezTo>
                  <a:pt x="316" y="313"/>
                  <a:pt x="313" y="316"/>
                  <a:pt x="313" y="321"/>
                </a:cubicBezTo>
                <a:cubicBezTo>
                  <a:pt x="313" y="340"/>
                  <a:pt x="313" y="340"/>
                  <a:pt x="313" y="340"/>
                </a:cubicBezTo>
                <a:cubicBezTo>
                  <a:pt x="313" y="344"/>
                  <a:pt x="316" y="348"/>
                  <a:pt x="321" y="348"/>
                </a:cubicBezTo>
                <a:cubicBezTo>
                  <a:pt x="757" y="348"/>
                  <a:pt x="757" y="348"/>
                  <a:pt x="757" y="348"/>
                </a:cubicBezTo>
                <a:cubicBezTo>
                  <a:pt x="761" y="348"/>
                  <a:pt x="765" y="344"/>
                  <a:pt x="765" y="340"/>
                </a:cubicBezTo>
                <a:lnTo>
                  <a:pt x="765" y="321"/>
                </a:lnTo>
                <a:close/>
                <a:moveTo>
                  <a:pt x="765" y="251"/>
                </a:moveTo>
                <a:cubicBezTo>
                  <a:pt x="765" y="247"/>
                  <a:pt x="761" y="243"/>
                  <a:pt x="757" y="243"/>
                </a:cubicBezTo>
                <a:cubicBezTo>
                  <a:pt x="321" y="243"/>
                  <a:pt x="321" y="243"/>
                  <a:pt x="321" y="243"/>
                </a:cubicBezTo>
                <a:cubicBezTo>
                  <a:pt x="316" y="243"/>
                  <a:pt x="313" y="247"/>
                  <a:pt x="313" y="251"/>
                </a:cubicBezTo>
                <a:cubicBezTo>
                  <a:pt x="313" y="270"/>
                  <a:pt x="313" y="270"/>
                  <a:pt x="313" y="270"/>
                </a:cubicBezTo>
                <a:cubicBezTo>
                  <a:pt x="313" y="275"/>
                  <a:pt x="316" y="278"/>
                  <a:pt x="321" y="278"/>
                </a:cubicBezTo>
                <a:cubicBezTo>
                  <a:pt x="757" y="278"/>
                  <a:pt x="757" y="278"/>
                  <a:pt x="757" y="278"/>
                </a:cubicBezTo>
                <a:cubicBezTo>
                  <a:pt x="761" y="278"/>
                  <a:pt x="765" y="275"/>
                  <a:pt x="765" y="270"/>
                </a:cubicBezTo>
                <a:lnTo>
                  <a:pt x="765" y="251"/>
                </a:lnTo>
                <a:close/>
                <a:moveTo>
                  <a:pt x="765" y="390"/>
                </a:moveTo>
                <a:cubicBezTo>
                  <a:pt x="765" y="386"/>
                  <a:pt x="761" y="382"/>
                  <a:pt x="757" y="382"/>
                </a:cubicBezTo>
                <a:cubicBezTo>
                  <a:pt x="321" y="382"/>
                  <a:pt x="321" y="382"/>
                  <a:pt x="321" y="382"/>
                </a:cubicBezTo>
                <a:cubicBezTo>
                  <a:pt x="316" y="382"/>
                  <a:pt x="313" y="386"/>
                  <a:pt x="313" y="390"/>
                </a:cubicBezTo>
                <a:cubicBezTo>
                  <a:pt x="313" y="409"/>
                  <a:pt x="313" y="409"/>
                  <a:pt x="313" y="409"/>
                </a:cubicBezTo>
                <a:cubicBezTo>
                  <a:pt x="313" y="414"/>
                  <a:pt x="316" y="417"/>
                  <a:pt x="321" y="417"/>
                </a:cubicBezTo>
                <a:cubicBezTo>
                  <a:pt x="757" y="417"/>
                  <a:pt x="757" y="417"/>
                  <a:pt x="757" y="417"/>
                </a:cubicBezTo>
                <a:cubicBezTo>
                  <a:pt x="761" y="417"/>
                  <a:pt x="765" y="414"/>
                  <a:pt x="765" y="409"/>
                </a:cubicBezTo>
                <a:lnTo>
                  <a:pt x="765" y="390"/>
                </a:lnTo>
                <a:close/>
                <a:moveTo>
                  <a:pt x="765" y="182"/>
                </a:moveTo>
                <a:cubicBezTo>
                  <a:pt x="765" y="177"/>
                  <a:pt x="761" y="174"/>
                  <a:pt x="757" y="174"/>
                </a:cubicBezTo>
                <a:cubicBezTo>
                  <a:pt x="321" y="174"/>
                  <a:pt x="321" y="174"/>
                  <a:pt x="321" y="174"/>
                </a:cubicBezTo>
                <a:cubicBezTo>
                  <a:pt x="316" y="174"/>
                  <a:pt x="313" y="177"/>
                  <a:pt x="313" y="182"/>
                </a:cubicBezTo>
                <a:cubicBezTo>
                  <a:pt x="313" y="201"/>
                  <a:pt x="313" y="201"/>
                  <a:pt x="313" y="201"/>
                </a:cubicBezTo>
                <a:cubicBezTo>
                  <a:pt x="313" y="205"/>
                  <a:pt x="316" y="209"/>
                  <a:pt x="321" y="209"/>
                </a:cubicBezTo>
                <a:cubicBezTo>
                  <a:pt x="757" y="209"/>
                  <a:pt x="757" y="209"/>
                  <a:pt x="757" y="209"/>
                </a:cubicBezTo>
                <a:cubicBezTo>
                  <a:pt x="761" y="209"/>
                  <a:pt x="765" y="205"/>
                  <a:pt x="765" y="201"/>
                </a:cubicBezTo>
                <a:lnTo>
                  <a:pt x="765" y="182"/>
                </a:lnTo>
                <a:close/>
                <a:moveTo>
                  <a:pt x="1041" y="743"/>
                </a:moveTo>
                <a:cubicBezTo>
                  <a:pt x="1041" y="736"/>
                  <a:pt x="1034" y="730"/>
                  <a:pt x="1027" y="730"/>
                </a:cubicBezTo>
                <a:cubicBezTo>
                  <a:pt x="501" y="730"/>
                  <a:pt x="501" y="730"/>
                  <a:pt x="501" y="730"/>
                </a:cubicBezTo>
                <a:cubicBezTo>
                  <a:pt x="497" y="730"/>
                  <a:pt x="494" y="732"/>
                  <a:pt x="491" y="735"/>
                </a:cubicBezTo>
                <a:cubicBezTo>
                  <a:pt x="488" y="737"/>
                  <a:pt x="486" y="741"/>
                  <a:pt x="487" y="745"/>
                </a:cubicBezTo>
                <a:cubicBezTo>
                  <a:pt x="487" y="746"/>
                  <a:pt x="487" y="747"/>
                  <a:pt x="487" y="747"/>
                </a:cubicBezTo>
                <a:cubicBezTo>
                  <a:pt x="487" y="815"/>
                  <a:pt x="432" y="869"/>
                  <a:pt x="365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295" y="869"/>
                  <a:pt x="243" y="819"/>
                  <a:pt x="243" y="757"/>
                </a:cubicBezTo>
                <a:cubicBezTo>
                  <a:pt x="243" y="757"/>
                  <a:pt x="243" y="243"/>
                  <a:pt x="243" y="174"/>
                </a:cubicBezTo>
                <a:cubicBezTo>
                  <a:pt x="243" y="139"/>
                  <a:pt x="243" y="139"/>
                  <a:pt x="243" y="139"/>
                </a:cubicBezTo>
                <a:cubicBezTo>
                  <a:pt x="243" y="100"/>
                  <a:pt x="212" y="69"/>
                  <a:pt x="174" y="69"/>
                </a:cubicBezTo>
                <a:cubicBezTo>
                  <a:pt x="742" y="69"/>
                  <a:pt x="742" y="69"/>
                  <a:pt x="742" y="69"/>
                </a:cubicBezTo>
                <a:cubicBezTo>
                  <a:pt x="793" y="69"/>
                  <a:pt x="834" y="111"/>
                  <a:pt x="834" y="161"/>
                </a:cubicBezTo>
                <a:cubicBezTo>
                  <a:pt x="834" y="695"/>
                  <a:pt x="834" y="695"/>
                  <a:pt x="834" y="695"/>
                </a:cubicBezTo>
                <a:cubicBezTo>
                  <a:pt x="904" y="695"/>
                  <a:pt x="904" y="695"/>
                  <a:pt x="904" y="695"/>
                </a:cubicBezTo>
                <a:cubicBezTo>
                  <a:pt x="904" y="573"/>
                  <a:pt x="904" y="326"/>
                  <a:pt x="904" y="161"/>
                </a:cubicBezTo>
                <a:cubicBezTo>
                  <a:pt x="904" y="72"/>
                  <a:pt x="832" y="0"/>
                  <a:pt x="742" y="0"/>
                </a:cubicBezTo>
                <a:cubicBezTo>
                  <a:pt x="685" y="0"/>
                  <a:pt x="685" y="0"/>
                  <a:pt x="685" y="0"/>
                </a:cubicBezTo>
                <a:cubicBezTo>
                  <a:pt x="174" y="0"/>
                  <a:pt x="174" y="0"/>
                  <a:pt x="174" y="0"/>
                </a:cubicBezTo>
                <a:cubicBezTo>
                  <a:pt x="78" y="0"/>
                  <a:pt x="0" y="78"/>
                  <a:pt x="0" y="174"/>
                </a:cubicBezTo>
                <a:cubicBezTo>
                  <a:pt x="0" y="181"/>
                  <a:pt x="0" y="188"/>
                  <a:pt x="1" y="196"/>
                </a:cubicBezTo>
                <a:cubicBezTo>
                  <a:pt x="2" y="203"/>
                  <a:pt x="8" y="209"/>
                  <a:pt x="16" y="209"/>
                </a:cubicBezTo>
                <a:cubicBezTo>
                  <a:pt x="174" y="209"/>
                  <a:pt x="174" y="209"/>
                  <a:pt x="174" y="209"/>
                </a:cubicBezTo>
                <a:cubicBezTo>
                  <a:pt x="174" y="410"/>
                  <a:pt x="174" y="694"/>
                  <a:pt x="174" y="757"/>
                </a:cubicBezTo>
                <a:cubicBezTo>
                  <a:pt x="174" y="857"/>
                  <a:pt x="256" y="939"/>
                  <a:pt x="358" y="939"/>
                </a:cubicBezTo>
                <a:cubicBezTo>
                  <a:pt x="820" y="939"/>
                  <a:pt x="820" y="939"/>
                  <a:pt x="820" y="939"/>
                </a:cubicBezTo>
                <a:cubicBezTo>
                  <a:pt x="869" y="939"/>
                  <a:pt x="869" y="939"/>
                  <a:pt x="869" y="939"/>
                </a:cubicBezTo>
                <a:cubicBezTo>
                  <a:pt x="965" y="939"/>
                  <a:pt x="1043" y="861"/>
                  <a:pt x="1043" y="765"/>
                </a:cubicBezTo>
                <a:cubicBezTo>
                  <a:pt x="1043" y="757"/>
                  <a:pt x="1042" y="750"/>
                  <a:pt x="1041" y="743"/>
                </a:cubicBezTo>
                <a:close/>
                <a:moveTo>
                  <a:pt x="765" y="529"/>
                </a:moveTo>
                <a:cubicBezTo>
                  <a:pt x="765" y="525"/>
                  <a:pt x="761" y="522"/>
                  <a:pt x="757" y="522"/>
                </a:cubicBezTo>
                <a:cubicBezTo>
                  <a:pt x="321" y="522"/>
                  <a:pt x="321" y="522"/>
                  <a:pt x="321" y="522"/>
                </a:cubicBezTo>
                <a:cubicBezTo>
                  <a:pt x="316" y="522"/>
                  <a:pt x="313" y="525"/>
                  <a:pt x="313" y="529"/>
                </a:cubicBezTo>
                <a:cubicBezTo>
                  <a:pt x="313" y="548"/>
                  <a:pt x="313" y="548"/>
                  <a:pt x="313" y="548"/>
                </a:cubicBezTo>
                <a:cubicBezTo>
                  <a:pt x="313" y="553"/>
                  <a:pt x="316" y="556"/>
                  <a:pt x="321" y="556"/>
                </a:cubicBezTo>
                <a:cubicBezTo>
                  <a:pt x="757" y="556"/>
                  <a:pt x="757" y="556"/>
                  <a:pt x="757" y="556"/>
                </a:cubicBezTo>
                <a:cubicBezTo>
                  <a:pt x="761" y="556"/>
                  <a:pt x="765" y="553"/>
                  <a:pt x="765" y="548"/>
                </a:cubicBezTo>
                <a:lnTo>
                  <a:pt x="765" y="529"/>
                </a:lnTo>
                <a:close/>
                <a:moveTo>
                  <a:pt x="765" y="460"/>
                </a:moveTo>
                <a:cubicBezTo>
                  <a:pt x="765" y="456"/>
                  <a:pt x="761" y="452"/>
                  <a:pt x="757" y="452"/>
                </a:cubicBezTo>
                <a:cubicBezTo>
                  <a:pt x="321" y="452"/>
                  <a:pt x="321" y="452"/>
                  <a:pt x="321" y="452"/>
                </a:cubicBezTo>
                <a:cubicBezTo>
                  <a:pt x="316" y="452"/>
                  <a:pt x="313" y="456"/>
                  <a:pt x="313" y="460"/>
                </a:cubicBezTo>
                <a:cubicBezTo>
                  <a:pt x="313" y="479"/>
                  <a:pt x="313" y="479"/>
                  <a:pt x="313" y="479"/>
                </a:cubicBezTo>
                <a:cubicBezTo>
                  <a:pt x="313" y="483"/>
                  <a:pt x="316" y="487"/>
                  <a:pt x="321" y="487"/>
                </a:cubicBezTo>
                <a:cubicBezTo>
                  <a:pt x="757" y="487"/>
                  <a:pt x="757" y="487"/>
                  <a:pt x="757" y="487"/>
                </a:cubicBezTo>
                <a:cubicBezTo>
                  <a:pt x="761" y="487"/>
                  <a:pt x="765" y="483"/>
                  <a:pt x="765" y="479"/>
                </a:cubicBezTo>
                <a:lnTo>
                  <a:pt x="765" y="460"/>
                </a:lnTo>
                <a:close/>
                <a:moveTo>
                  <a:pt x="765" y="599"/>
                </a:moveTo>
                <a:cubicBezTo>
                  <a:pt x="765" y="618"/>
                  <a:pt x="765" y="618"/>
                  <a:pt x="765" y="618"/>
                </a:cubicBezTo>
                <a:cubicBezTo>
                  <a:pt x="765" y="622"/>
                  <a:pt x="761" y="626"/>
                  <a:pt x="757" y="626"/>
                </a:cubicBezTo>
                <a:cubicBezTo>
                  <a:pt x="321" y="626"/>
                  <a:pt x="321" y="626"/>
                  <a:pt x="321" y="626"/>
                </a:cubicBezTo>
                <a:cubicBezTo>
                  <a:pt x="316" y="626"/>
                  <a:pt x="313" y="622"/>
                  <a:pt x="313" y="618"/>
                </a:cubicBezTo>
                <a:cubicBezTo>
                  <a:pt x="313" y="599"/>
                  <a:pt x="313" y="599"/>
                  <a:pt x="313" y="599"/>
                </a:cubicBezTo>
                <a:cubicBezTo>
                  <a:pt x="313" y="595"/>
                  <a:pt x="316" y="591"/>
                  <a:pt x="321" y="591"/>
                </a:cubicBezTo>
                <a:cubicBezTo>
                  <a:pt x="757" y="591"/>
                  <a:pt x="757" y="591"/>
                  <a:pt x="757" y="591"/>
                </a:cubicBezTo>
                <a:cubicBezTo>
                  <a:pt x="761" y="591"/>
                  <a:pt x="765" y="595"/>
                  <a:pt x="765" y="5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58D5E51-CE65-43C3-BDF0-F1CE7322ADD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200260" y="2340801"/>
            <a:ext cx="182832" cy="231961"/>
            <a:chOff x="849313" y="-539751"/>
            <a:chExt cx="8375650" cy="10623551"/>
          </a:xfrm>
          <a:solidFill>
            <a:schemeClr val="bg1">
              <a:alpha val="70000"/>
            </a:schemeClr>
          </a:solidFill>
        </p:grpSpPr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82BC6F4C-1150-4124-AF79-040C4155611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3" y="2670175"/>
              <a:ext cx="8375650" cy="7413625"/>
            </a:xfrm>
            <a:custGeom>
              <a:avLst/>
              <a:gdLst>
                <a:gd name="T0" fmla="*/ 116 w 741"/>
                <a:gd name="T1" fmla="*/ 656 h 656"/>
                <a:gd name="T2" fmla="*/ 165 w 741"/>
                <a:gd name="T3" fmla="*/ 561 h 656"/>
                <a:gd name="T4" fmla="*/ 92 w 741"/>
                <a:gd name="T5" fmla="*/ 506 h 656"/>
                <a:gd name="T6" fmla="*/ 0 w 741"/>
                <a:gd name="T7" fmla="*/ 284 h 656"/>
                <a:gd name="T8" fmla="*/ 181 w 741"/>
                <a:gd name="T9" fmla="*/ 0 h 656"/>
                <a:gd name="T10" fmla="*/ 210 w 741"/>
                <a:gd name="T11" fmla="*/ 118 h 656"/>
                <a:gd name="T12" fmla="*/ 118 w 741"/>
                <a:gd name="T13" fmla="*/ 275 h 656"/>
                <a:gd name="T14" fmla="*/ 347 w 741"/>
                <a:gd name="T15" fmla="*/ 437 h 656"/>
                <a:gd name="T16" fmla="*/ 663 w 741"/>
                <a:gd name="T17" fmla="*/ 353 h 656"/>
                <a:gd name="T18" fmla="*/ 699 w 741"/>
                <a:gd name="T19" fmla="*/ 374 h 656"/>
                <a:gd name="T20" fmla="*/ 678 w 741"/>
                <a:gd name="T21" fmla="*/ 410 h 656"/>
                <a:gd name="T22" fmla="*/ 373 w 741"/>
                <a:gd name="T23" fmla="*/ 491 h 656"/>
                <a:gd name="T24" fmla="*/ 386 w 741"/>
                <a:gd name="T25" fmla="*/ 539 h 656"/>
                <a:gd name="T26" fmla="*/ 623 w 741"/>
                <a:gd name="T27" fmla="*/ 539 h 656"/>
                <a:gd name="T28" fmla="*/ 741 w 741"/>
                <a:gd name="T29" fmla="*/ 656 h 656"/>
                <a:gd name="T30" fmla="*/ 116 w 741"/>
                <a:gd name="T31" fmla="*/ 656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1" h="656">
                  <a:moveTo>
                    <a:pt x="116" y="656"/>
                  </a:moveTo>
                  <a:cubicBezTo>
                    <a:pt x="116" y="617"/>
                    <a:pt x="136" y="582"/>
                    <a:pt x="165" y="561"/>
                  </a:cubicBezTo>
                  <a:cubicBezTo>
                    <a:pt x="138" y="546"/>
                    <a:pt x="113" y="528"/>
                    <a:pt x="92" y="506"/>
                  </a:cubicBezTo>
                  <a:cubicBezTo>
                    <a:pt x="35" y="449"/>
                    <a:pt x="0" y="371"/>
                    <a:pt x="0" y="284"/>
                  </a:cubicBezTo>
                  <a:cubicBezTo>
                    <a:pt x="0" y="162"/>
                    <a:pt x="71" y="52"/>
                    <a:pt x="181" y="0"/>
                  </a:cubicBezTo>
                  <a:cubicBezTo>
                    <a:pt x="171" y="41"/>
                    <a:pt x="182" y="86"/>
                    <a:pt x="210" y="118"/>
                  </a:cubicBezTo>
                  <a:cubicBezTo>
                    <a:pt x="156" y="151"/>
                    <a:pt x="120" y="210"/>
                    <a:pt x="118" y="275"/>
                  </a:cubicBezTo>
                  <a:cubicBezTo>
                    <a:pt x="114" y="385"/>
                    <a:pt x="226" y="466"/>
                    <a:pt x="347" y="437"/>
                  </a:cubicBezTo>
                  <a:cubicBezTo>
                    <a:pt x="663" y="353"/>
                    <a:pt x="663" y="353"/>
                    <a:pt x="663" y="353"/>
                  </a:cubicBezTo>
                  <a:cubicBezTo>
                    <a:pt x="678" y="349"/>
                    <a:pt x="694" y="358"/>
                    <a:pt x="699" y="374"/>
                  </a:cubicBezTo>
                  <a:cubicBezTo>
                    <a:pt x="703" y="389"/>
                    <a:pt x="693" y="406"/>
                    <a:pt x="678" y="410"/>
                  </a:cubicBezTo>
                  <a:cubicBezTo>
                    <a:pt x="373" y="491"/>
                    <a:pt x="373" y="491"/>
                    <a:pt x="373" y="491"/>
                  </a:cubicBezTo>
                  <a:cubicBezTo>
                    <a:pt x="386" y="539"/>
                    <a:pt x="386" y="539"/>
                    <a:pt x="386" y="539"/>
                  </a:cubicBezTo>
                  <a:cubicBezTo>
                    <a:pt x="623" y="539"/>
                    <a:pt x="623" y="539"/>
                    <a:pt x="623" y="539"/>
                  </a:cubicBezTo>
                  <a:cubicBezTo>
                    <a:pt x="688" y="539"/>
                    <a:pt x="741" y="591"/>
                    <a:pt x="741" y="656"/>
                  </a:cubicBezTo>
                  <a:lnTo>
                    <a:pt x="116" y="6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0" name="Freeform 42">
              <a:extLst>
                <a:ext uri="{FF2B5EF4-FFF2-40B4-BE49-F238E27FC236}">
                  <a16:creationId xmlns:a16="http://schemas.microsoft.com/office/drawing/2014/main" id="{D966AB41-8E28-4904-84C7-F1A11EC5098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1" y="5043487"/>
              <a:ext cx="2587625" cy="1231900"/>
            </a:xfrm>
            <a:custGeom>
              <a:avLst/>
              <a:gdLst>
                <a:gd name="T0" fmla="*/ 40 w 229"/>
                <a:gd name="T1" fmla="*/ 104 h 109"/>
                <a:gd name="T2" fmla="*/ 4 w 229"/>
                <a:gd name="T3" fmla="*/ 84 h 109"/>
                <a:gd name="T4" fmla="*/ 25 w 229"/>
                <a:gd name="T5" fmla="*/ 48 h 109"/>
                <a:gd name="T6" fmla="*/ 188 w 229"/>
                <a:gd name="T7" fmla="*/ 4 h 109"/>
                <a:gd name="T8" fmla="*/ 224 w 229"/>
                <a:gd name="T9" fmla="*/ 25 h 109"/>
                <a:gd name="T10" fmla="*/ 204 w 229"/>
                <a:gd name="T11" fmla="*/ 61 h 109"/>
                <a:gd name="T12" fmla="*/ 40 w 229"/>
                <a:gd name="T13" fmla="*/ 10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109">
                  <a:moveTo>
                    <a:pt x="40" y="104"/>
                  </a:moveTo>
                  <a:cubicBezTo>
                    <a:pt x="25" y="109"/>
                    <a:pt x="9" y="99"/>
                    <a:pt x="4" y="84"/>
                  </a:cubicBezTo>
                  <a:cubicBezTo>
                    <a:pt x="0" y="68"/>
                    <a:pt x="10" y="52"/>
                    <a:pt x="25" y="48"/>
                  </a:cubicBezTo>
                  <a:cubicBezTo>
                    <a:pt x="188" y="4"/>
                    <a:pt x="188" y="4"/>
                    <a:pt x="188" y="4"/>
                  </a:cubicBezTo>
                  <a:cubicBezTo>
                    <a:pt x="204" y="0"/>
                    <a:pt x="220" y="9"/>
                    <a:pt x="224" y="25"/>
                  </a:cubicBezTo>
                  <a:cubicBezTo>
                    <a:pt x="229" y="40"/>
                    <a:pt x="219" y="57"/>
                    <a:pt x="204" y="61"/>
                  </a:cubicBezTo>
                  <a:lnTo>
                    <a:pt x="4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1" name="Freeform 43">
              <a:extLst>
                <a:ext uri="{FF2B5EF4-FFF2-40B4-BE49-F238E27FC236}">
                  <a16:creationId xmlns:a16="http://schemas.microsoft.com/office/drawing/2014/main" id="{638339A7-E8AC-4239-B87C-F41D697469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4851" y="-539751"/>
              <a:ext cx="4092575" cy="5910263"/>
            </a:xfrm>
            <a:custGeom>
              <a:avLst/>
              <a:gdLst>
                <a:gd name="T0" fmla="*/ 105 w 362"/>
                <a:gd name="T1" fmla="*/ 348 h 523"/>
                <a:gd name="T2" fmla="*/ 69 w 362"/>
                <a:gd name="T3" fmla="*/ 327 h 523"/>
                <a:gd name="T4" fmla="*/ 90 w 362"/>
                <a:gd name="T5" fmla="*/ 291 h 523"/>
                <a:gd name="T6" fmla="*/ 126 w 362"/>
                <a:gd name="T7" fmla="*/ 312 h 523"/>
                <a:gd name="T8" fmla="*/ 105 w 362"/>
                <a:gd name="T9" fmla="*/ 348 h 523"/>
                <a:gd name="T10" fmla="*/ 358 w 362"/>
                <a:gd name="T11" fmla="*/ 441 h 523"/>
                <a:gd name="T12" fmla="*/ 271 w 362"/>
                <a:gd name="T13" fmla="*/ 115 h 523"/>
                <a:gd name="T14" fmla="*/ 233 w 362"/>
                <a:gd name="T15" fmla="*/ 93 h 523"/>
                <a:gd name="T16" fmla="*/ 206 w 362"/>
                <a:gd name="T17" fmla="*/ 101 h 523"/>
                <a:gd name="T18" fmla="*/ 182 w 362"/>
                <a:gd name="T19" fmla="*/ 12 h 523"/>
                <a:gd name="T20" fmla="*/ 164 w 362"/>
                <a:gd name="T21" fmla="*/ 2 h 523"/>
                <a:gd name="T22" fmla="*/ 93 w 362"/>
                <a:gd name="T23" fmla="*/ 21 h 523"/>
                <a:gd name="T24" fmla="*/ 83 w 362"/>
                <a:gd name="T25" fmla="*/ 39 h 523"/>
                <a:gd name="T26" fmla="*/ 107 w 362"/>
                <a:gd name="T27" fmla="*/ 127 h 523"/>
                <a:gd name="T28" fmla="*/ 80 w 362"/>
                <a:gd name="T29" fmla="*/ 135 h 523"/>
                <a:gd name="T30" fmla="*/ 58 w 362"/>
                <a:gd name="T31" fmla="*/ 172 h 523"/>
                <a:gd name="T32" fmla="*/ 75 w 362"/>
                <a:gd name="T33" fmla="*/ 235 h 523"/>
                <a:gd name="T34" fmla="*/ 12 w 362"/>
                <a:gd name="T35" fmla="*/ 342 h 523"/>
                <a:gd name="T36" fmla="*/ 120 w 362"/>
                <a:gd name="T37" fmla="*/ 405 h 523"/>
                <a:gd name="T38" fmla="*/ 120 w 362"/>
                <a:gd name="T39" fmla="*/ 405 h 523"/>
                <a:gd name="T40" fmla="*/ 145 w 362"/>
                <a:gd name="T41" fmla="*/ 498 h 523"/>
                <a:gd name="T42" fmla="*/ 181 w 362"/>
                <a:gd name="T43" fmla="*/ 518 h 523"/>
                <a:gd name="T44" fmla="*/ 337 w 362"/>
                <a:gd name="T45" fmla="*/ 477 h 523"/>
                <a:gd name="T46" fmla="*/ 358 w 362"/>
                <a:gd name="T47" fmla="*/ 441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2" h="523">
                  <a:moveTo>
                    <a:pt x="105" y="348"/>
                  </a:moveTo>
                  <a:cubicBezTo>
                    <a:pt x="89" y="352"/>
                    <a:pt x="73" y="343"/>
                    <a:pt x="69" y="327"/>
                  </a:cubicBezTo>
                  <a:cubicBezTo>
                    <a:pt x="65" y="311"/>
                    <a:pt x="74" y="295"/>
                    <a:pt x="90" y="291"/>
                  </a:cubicBezTo>
                  <a:cubicBezTo>
                    <a:pt x="106" y="287"/>
                    <a:pt x="122" y="296"/>
                    <a:pt x="126" y="312"/>
                  </a:cubicBezTo>
                  <a:cubicBezTo>
                    <a:pt x="130" y="328"/>
                    <a:pt x="121" y="344"/>
                    <a:pt x="105" y="348"/>
                  </a:cubicBezTo>
                  <a:close/>
                  <a:moveTo>
                    <a:pt x="358" y="441"/>
                  </a:moveTo>
                  <a:cubicBezTo>
                    <a:pt x="271" y="115"/>
                    <a:pt x="271" y="115"/>
                    <a:pt x="271" y="115"/>
                  </a:cubicBezTo>
                  <a:cubicBezTo>
                    <a:pt x="266" y="99"/>
                    <a:pt x="250" y="89"/>
                    <a:pt x="233" y="93"/>
                  </a:cubicBezTo>
                  <a:cubicBezTo>
                    <a:pt x="206" y="101"/>
                    <a:pt x="206" y="101"/>
                    <a:pt x="206" y="101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0" y="4"/>
                    <a:pt x="172" y="0"/>
                    <a:pt x="164" y="2"/>
                  </a:cubicBezTo>
                  <a:cubicBezTo>
                    <a:pt x="93" y="21"/>
                    <a:pt x="93" y="21"/>
                    <a:pt x="93" y="21"/>
                  </a:cubicBezTo>
                  <a:cubicBezTo>
                    <a:pt x="86" y="23"/>
                    <a:pt x="81" y="31"/>
                    <a:pt x="83" y="39"/>
                  </a:cubicBezTo>
                  <a:cubicBezTo>
                    <a:pt x="107" y="127"/>
                    <a:pt x="107" y="127"/>
                    <a:pt x="107" y="127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63" y="139"/>
                    <a:pt x="54" y="156"/>
                    <a:pt x="58" y="172"/>
                  </a:cubicBezTo>
                  <a:cubicBezTo>
                    <a:pt x="75" y="235"/>
                    <a:pt x="75" y="235"/>
                    <a:pt x="75" y="235"/>
                  </a:cubicBezTo>
                  <a:cubicBezTo>
                    <a:pt x="28" y="247"/>
                    <a:pt x="0" y="295"/>
                    <a:pt x="12" y="342"/>
                  </a:cubicBezTo>
                  <a:cubicBezTo>
                    <a:pt x="25" y="389"/>
                    <a:pt x="73" y="417"/>
                    <a:pt x="120" y="405"/>
                  </a:cubicBezTo>
                  <a:cubicBezTo>
                    <a:pt x="120" y="405"/>
                    <a:pt x="120" y="405"/>
                    <a:pt x="120" y="405"/>
                  </a:cubicBezTo>
                  <a:cubicBezTo>
                    <a:pt x="145" y="498"/>
                    <a:pt x="145" y="498"/>
                    <a:pt x="145" y="498"/>
                  </a:cubicBezTo>
                  <a:cubicBezTo>
                    <a:pt x="150" y="513"/>
                    <a:pt x="166" y="523"/>
                    <a:pt x="181" y="518"/>
                  </a:cubicBezTo>
                  <a:cubicBezTo>
                    <a:pt x="337" y="477"/>
                    <a:pt x="337" y="477"/>
                    <a:pt x="337" y="477"/>
                  </a:cubicBezTo>
                  <a:cubicBezTo>
                    <a:pt x="353" y="472"/>
                    <a:pt x="362" y="456"/>
                    <a:pt x="358" y="4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52" name="Freeform 47">
            <a:extLst>
              <a:ext uri="{FF2B5EF4-FFF2-40B4-BE49-F238E27FC236}">
                <a16:creationId xmlns:a16="http://schemas.microsoft.com/office/drawing/2014/main" id="{F71D1E0E-DFF9-4618-8B94-A100B76A7F50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74781" y="3268800"/>
            <a:ext cx="201116" cy="201139"/>
          </a:xfrm>
          <a:custGeom>
            <a:avLst/>
            <a:gdLst>
              <a:gd name="T0" fmla="*/ 951 w 981"/>
              <a:gd name="T1" fmla="*/ 842 h 981"/>
              <a:gd name="T2" fmla="*/ 711 w 981"/>
              <a:gd name="T3" fmla="*/ 603 h 981"/>
              <a:gd name="T4" fmla="*/ 603 w 981"/>
              <a:gd name="T5" fmla="*/ 107 h 981"/>
              <a:gd name="T6" fmla="*/ 107 w 981"/>
              <a:gd name="T7" fmla="*/ 216 h 981"/>
              <a:gd name="T8" fmla="*/ 216 w 981"/>
              <a:gd name="T9" fmla="*/ 712 h 981"/>
              <a:gd name="T10" fmla="*/ 603 w 981"/>
              <a:gd name="T11" fmla="*/ 712 h 981"/>
              <a:gd name="T12" fmla="*/ 842 w 981"/>
              <a:gd name="T13" fmla="*/ 951 h 981"/>
              <a:gd name="T14" fmla="*/ 951 w 981"/>
              <a:gd name="T15" fmla="*/ 951 h 981"/>
              <a:gd name="T16" fmla="*/ 951 w 981"/>
              <a:gd name="T17" fmla="*/ 843 h 981"/>
              <a:gd name="T18" fmla="*/ 951 w 981"/>
              <a:gd name="T19" fmla="*/ 842 h 981"/>
              <a:gd name="T20" fmla="*/ 153 w 981"/>
              <a:gd name="T21" fmla="*/ 410 h 981"/>
              <a:gd name="T22" fmla="*/ 410 w 981"/>
              <a:gd name="T23" fmla="*/ 153 h 981"/>
              <a:gd name="T24" fmla="*/ 666 w 981"/>
              <a:gd name="T25" fmla="*/ 410 h 981"/>
              <a:gd name="T26" fmla="*/ 410 w 981"/>
              <a:gd name="T27" fmla="*/ 666 h 981"/>
              <a:gd name="T28" fmla="*/ 153 w 981"/>
              <a:gd name="T29" fmla="*/ 410 h 9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81" h="981">
                <a:moveTo>
                  <a:pt x="951" y="842"/>
                </a:moveTo>
                <a:cubicBezTo>
                  <a:pt x="711" y="603"/>
                  <a:pt x="711" y="603"/>
                  <a:pt x="711" y="603"/>
                </a:cubicBezTo>
                <a:cubicBezTo>
                  <a:pt x="818" y="436"/>
                  <a:pt x="770" y="214"/>
                  <a:pt x="603" y="107"/>
                </a:cubicBezTo>
                <a:cubicBezTo>
                  <a:pt x="436" y="0"/>
                  <a:pt x="214" y="49"/>
                  <a:pt x="107" y="216"/>
                </a:cubicBezTo>
                <a:cubicBezTo>
                  <a:pt x="0" y="383"/>
                  <a:pt x="49" y="605"/>
                  <a:pt x="216" y="712"/>
                </a:cubicBezTo>
                <a:cubicBezTo>
                  <a:pt x="334" y="787"/>
                  <a:pt x="485" y="787"/>
                  <a:pt x="603" y="712"/>
                </a:cubicBezTo>
                <a:cubicBezTo>
                  <a:pt x="842" y="951"/>
                  <a:pt x="842" y="951"/>
                  <a:pt x="842" y="951"/>
                </a:cubicBezTo>
                <a:cubicBezTo>
                  <a:pt x="872" y="981"/>
                  <a:pt x="921" y="981"/>
                  <a:pt x="951" y="951"/>
                </a:cubicBezTo>
                <a:cubicBezTo>
                  <a:pt x="981" y="921"/>
                  <a:pt x="981" y="873"/>
                  <a:pt x="951" y="843"/>
                </a:cubicBezTo>
                <a:cubicBezTo>
                  <a:pt x="951" y="843"/>
                  <a:pt x="951" y="842"/>
                  <a:pt x="951" y="842"/>
                </a:cubicBezTo>
                <a:close/>
                <a:moveTo>
                  <a:pt x="153" y="410"/>
                </a:moveTo>
                <a:cubicBezTo>
                  <a:pt x="153" y="268"/>
                  <a:pt x="268" y="153"/>
                  <a:pt x="410" y="153"/>
                </a:cubicBezTo>
                <a:cubicBezTo>
                  <a:pt x="551" y="153"/>
                  <a:pt x="666" y="268"/>
                  <a:pt x="666" y="410"/>
                </a:cubicBezTo>
                <a:cubicBezTo>
                  <a:pt x="666" y="551"/>
                  <a:pt x="551" y="666"/>
                  <a:pt x="410" y="666"/>
                </a:cubicBezTo>
                <a:cubicBezTo>
                  <a:pt x="268" y="666"/>
                  <a:pt x="153" y="551"/>
                  <a:pt x="153" y="41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1FD7C435-20C5-4A10-98A0-8EB0A359A1C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84359" y="2786642"/>
            <a:ext cx="219317" cy="283896"/>
            <a:chOff x="10758416" y="1419641"/>
            <a:chExt cx="3297184" cy="4266944"/>
          </a:xfrm>
          <a:solidFill>
            <a:schemeClr val="bg1">
              <a:alpha val="80000"/>
            </a:schemeClr>
          </a:solidFill>
        </p:grpSpPr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DF539517-90A1-47A1-A756-8F8D347F4279}"/>
                </a:ext>
              </a:extLst>
            </p:cNvPr>
            <p:cNvSpPr/>
            <p:nvPr/>
          </p:nvSpPr>
          <p:spPr>
            <a:xfrm>
              <a:off x="10758416" y="1419641"/>
              <a:ext cx="3297184" cy="4266944"/>
            </a:xfrm>
            <a:custGeom>
              <a:avLst/>
              <a:gdLst>
                <a:gd name="connsiteX0" fmla="*/ 2763817 w 3297184"/>
                <a:gd name="connsiteY0" fmla="*/ 1939520 h 4266944"/>
                <a:gd name="connsiteX1" fmla="*/ 2424401 w 3297184"/>
                <a:gd name="connsiteY1" fmla="*/ 1600104 h 4266944"/>
                <a:gd name="connsiteX2" fmla="*/ 2763817 w 3297184"/>
                <a:gd name="connsiteY2" fmla="*/ 1260688 h 4266944"/>
                <a:gd name="connsiteX3" fmla="*/ 3103233 w 3297184"/>
                <a:gd name="connsiteY3" fmla="*/ 1600104 h 4266944"/>
                <a:gd name="connsiteX4" fmla="*/ 2763817 w 3297184"/>
                <a:gd name="connsiteY4" fmla="*/ 1939520 h 4266944"/>
                <a:gd name="connsiteX5" fmla="*/ 3297185 w 3297184"/>
                <a:gd name="connsiteY5" fmla="*/ 1600104 h 4266944"/>
                <a:gd name="connsiteX6" fmla="*/ 2763817 w 3297184"/>
                <a:gd name="connsiteY6" fmla="*/ 1066736 h 4266944"/>
                <a:gd name="connsiteX7" fmla="*/ 2230449 w 3297184"/>
                <a:gd name="connsiteY7" fmla="*/ 1600104 h 4266944"/>
                <a:gd name="connsiteX8" fmla="*/ 2618353 w 3297184"/>
                <a:gd name="connsiteY8" fmla="*/ 2114077 h 4266944"/>
                <a:gd name="connsiteX9" fmla="*/ 2618353 w 3297184"/>
                <a:gd name="connsiteY9" fmla="*/ 3248697 h 4266944"/>
                <a:gd name="connsiteX10" fmla="*/ 1891032 w 3297184"/>
                <a:gd name="connsiteY10" fmla="*/ 3976017 h 4266944"/>
                <a:gd name="connsiteX11" fmla="*/ 1163712 w 3297184"/>
                <a:gd name="connsiteY11" fmla="*/ 3248697 h 4266944"/>
                <a:gd name="connsiteX12" fmla="*/ 1163712 w 3297184"/>
                <a:gd name="connsiteY12" fmla="*/ 2754119 h 4266944"/>
                <a:gd name="connsiteX13" fmla="*/ 2036496 w 3297184"/>
                <a:gd name="connsiteY13" fmla="*/ 1745568 h 4266944"/>
                <a:gd name="connsiteX14" fmla="*/ 1939520 w 3297184"/>
                <a:gd name="connsiteY14" fmla="*/ 1580709 h 4266944"/>
                <a:gd name="connsiteX15" fmla="*/ 1939520 w 3297184"/>
                <a:gd name="connsiteY15" fmla="*/ 387904 h 4266944"/>
                <a:gd name="connsiteX16" fmla="*/ 1687383 w 3297184"/>
                <a:gd name="connsiteY16" fmla="*/ 101825 h 4266944"/>
                <a:gd name="connsiteX17" fmla="*/ 1551616 w 3297184"/>
                <a:gd name="connsiteY17" fmla="*/ 0 h 4266944"/>
                <a:gd name="connsiteX18" fmla="*/ 1503128 w 3297184"/>
                <a:gd name="connsiteY18" fmla="*/ 0 h 4266944"/>
                <a:gd name="connsiteX19" fmla="*/ 1309176 w 3297184"/>
                <a:gd name="connsiteY19" fmla="*/ 193952 h 4266944"/>
                <a:gd name="connsiteX20" fmla="*/ 1503128 w 3297184"/>
                <a:gd name="connsiteY20" fmla="*/ 387904 h 4266944"/>
                <a:gd name="connsiteX21" fmla="*/ 1551616 w 3297184"/>
                <a:gd name="connsiteY21" fmla="*/ 387904 h 4266944"/>
                <a:gd name="connsiteX22" fmla="*/ 1687383 w 3297184"/>
                <a:gd name="connsiteY22" fmla="*/ 300626 h 4266944"/>
                <a:gd name="connsiteX23" fmla="*/ 1745568 w 3297184"/>
                <a:gd name="connsiteY23" fmla="*/ 387904 h 4266944"/>
                <a:gd name="connsiteX24" fmla="*/ 1745568 w 3297184"/>
                <a:gd name="connsiteY24" fmla="*/ 1580709 h 4266944"/>
                <a:gd name="connsiteX25" fmla="*/ 1648592 w 3297184"/>
                <a:gd name="connsiteY25" fmla="*/ 1745568 h 4266944"/>
                <a:gd name="connsiteX26" fmla="*/ 1018248 w 3297184"/>
                <a:gd name="connsiteY26" fmla="*/ 2375913 h 4266944"/>
                <a:gd name="connsiteX27" fmla="*/ 387904 w 3297184"/>
                <a:gd name="connsiteY27" fmla="*/ 1745568 h 4266944"/>
                <a:gd name="connsiteX28" fmla="*/ 290928 w 3297184"/>
                <a:gd name="connsiteY28" fmla="*/ 1580709 h 4266944"/>
                <a:gd name="connsiteX29" fmla="*/ 290928 w 3297184"/>
                <a:gd name="connsiteY29" fmla="*/ 387904 h 4266944"/>
                <a:gd name="connsiteX30" fmla="*/ 349114 w 3297184"/>
                <a:gd name="connsiteY30" fmla="*/ 300626 h 4266944"/>
                <a:gd name="connsiteX31" fmla="*/ 484880 w 3297184"/>
                <a:gd name="connsiteY31" fmla="*/ 387904 h 4266944"/>
                <a:gd name="connsiteX32" fmla="*/ 533368 w 3297184"/>
                <a:gd name="connsiteY32" fmla="*/ 387904 h 4266944"/>
                <a:gd name="connsiteX33" fmla="*/ 727320 w 3297184"/>
                <a:gd name="connsiteY33" fmla="*/ 193952 h 4266944"/>
                <a:gd name="connsiteX34" fmla="*/ 533368 w 3297184"/>
                <a:gd name="connsiteY34" fmla="*/ 0 h 4266944"/>
                <a:gd name="connsiteX35" fmla="*/ 484880 w 3297184"/>
                <a:gd name="connsiteY35" fmla="*/ 0 h 4266944"/>
                <a:gd name="connsiteX36" fmla="*/ 349114 w 3297184"/>
                <a:gd name="connsiteY36" fmla="*/ 101825 h 4266944"/>
                <a:gd name="connsiteX37" fmla="*/ 96976 w 3297184"/>
                <a:gd name="connsiteY37" fmla="*/ 387904 h 4266944"/>
                <a:gd name="connsiteX38" fmla="*/ 96976 w 3297184"/>
                <a:gd name="connsiteY38" fmla="*/ 1580709 h 4266944"/>
                <a:gd name="connsiteX39" fmla="*/ 0 w 3297184"/>
                <a:gd name="connsiteY39" fmla="*/ 1745568 h 4266944"/>
                <a:gd name="connsiteX40" fmla="*/ 872784 w 3297184"/>
                <a:gd name="connsiteY40" fmla="*/ 2754119 h 4266944"/>
                <a:gd name="connsiteX41" fmla="*/ 872784 w 3297184"/>
                <a:gd name="connsiteY41" fmla="*/ 3248697 h 4266944"/>
                <a:gd name="connsiteX42" fmla="*/ 1891032 w 3297184"/>
                <a:gd name="connsiteY42" fmla="*/ 4266945 h 4266944"/>
                <a:gd name="connsiteX43" fmla="*/ 2909281 w 3297184"/>
                <a:gd name="connsiteY43" fmla="*/ 3248697 h 4266944"/>
                <a:gd name="connsiteX44" fmla="*/ 2909281 w 3297184"/>
                <a:gd name="connsiteY44" fmla="*/ 2114077 h 4266944"/>
                <a:gd name="connsiteX45" fmla="*/ 3297185 w 3297184"/>
                <a:gd name="connsiteY45" fmla="*/ 1600104 h 4266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3297184" h="4266944">
                  <a:moveTo>
                    <a:pt x="2763817" y="1939520"/>
                  </a:moveTo>
                  <a:cubicBezTo>
                    <a:pt x="2574713" y="1939520"/>
                    <a:pt x="2424401" y="1789208"/>
                    <a:pt x="2424401" y="1600104"/>
                  </a:cubicBezTo>
                  <a:cubicBezTo>
                    <a:pt x="2424401" y="1411001"/>
                    <a:pt x="2574713" y="1260688"/>
                    <a:pt x="2763817" y="1260688"/>
                  </a:cubicBezTo>
                  <a:cubicBezTo>
                    <a:pt x="2952920" y="1260688"/>
                    <a:pt x="3103233" y="1411001"/>
                    <a:pt x="3103233" y="1600104"/>
                  </a:cubicBezTo>
                  <a:cubicBezTo>
                    <a:pt x="3103233" y="1789208"/>
                    <a:pt x="2952920" y="1939520"/>
                    <a:pt x="2763817" y="1939520"/>
                  </a:cubicBezTo>
                  <a:close/>
                  <a:moveTo>
                    <a:pt x="3297185" y="1600104"/>
                  </a:moveTo>
                  <a:cubicBezTo>
                    <a:pt x="3297185" y="1304328"/>
                    <a:pt x="3059594" y="1066736"/>
                    <a:pt x="2763817" y="1066736"/>
                  </a:cubicBezTo>
                  <a:cubicBezTo>
                    <a:pt x="2468040" y="1066736"/>
                    <a:pt x="2230449" y="1304328"/>
                    <a:pt x="2230449" y="1600104"/>
                  </a:cubicBezTo>
                  <a:cubicBezTo>
                    <a:pt x="2230449" y="1842544"/>
                    <a:pt x="2395308" y="2051043"/>
                    <a:pt x="2618353" y="2114077"/>
                  </a:cubicBezTo>
                  <a:lnTo>
                    <a:pt x="2618353" y="3248697"/>
                  </a:lnTo>
                  <a:cubicBezTo>
                    <a:pt x="2618353" y="3651147"/>
                    <a:pt x="2293483" y="3976017"/>
                    <a:pt x="1891032" y="3976017"/>
                  </a:cubicBezTo>
                  <a:cubicBezTo>
                    <a:pt x="1488582" y="3976017"/>
                    <a:pt x="1163712" y="3651147"/>
                    <a:pt x="1163712" y="3248697"/>
                  </a:cubicBezTo>
                  <a:lnTo>
                    <a:pt x="1163712" y="2754119"/>
                  </a:lnTo>
                  <a:cubicBezTo>
                    <a:pt x="1658290" y="2681387"/>
                    <a:pt x="2036496" y="2259541"/>
                    <a:pt x="2036496" y="1745568"/>
                  </a:cubicBezTo>
                  <a:cubicBezTo>
                    <a:pt x="2036496" y="1672836"/>
                    <a:pt x="1997706" y="1609802"/>
                    <a:pt x="1939520" y="1580709"/>
                  </a:cubicBezTo>
                  <a:lnTo>
                    <a:pt x="1939520" y="387904"/>
                  </a:lnTo>
                  <a:cubicBezTo>
                    <a:pt x="1939520" y="242440"/>
                    <a:pt x="1827998" y="121220"/>
                    <a:pt x="1687383" y="101825"/>
                  </a:cubicBezTo>
                  <a:cubicBezTo>
                    <a:pt x="1667988" y="43639"/>
                    <a:pt x="1614651" y="0"/>
                    <a:pt x="1551616" y="0"/>
                  </a:cubicBezTo>
                  <a:lnTo>
                    <a:pt x="1503128" y="0"/>
                  </a:lnTo>
                  <a:cubicBezTo>
                    <a:pt x="1396455" y="0"/>
                    <a:pt x="1309176" y="87278"/>
                    <a:pt x="1309176" y="193952"/>
                  </a:cubicBezTo>
                  <a:cubicBezTo>
                    <a:pt x="1309176" y="300626"/>
                    <a:pt x="1396455" y="387904"/>
                    <a:pt x="1503128" y="387904"/>
                  </a:cubicBezTo>
                  <a:lnTo>
                    <a:pt x="1551616" y="387904"/>
                  </a:lnTo>
                  <a:cubicBezTo>
                    <a:pt x="1609802" y="387904"/>
                    <a:pt x="1663139" y="349114"/>
                    <a:pt x="1687383" y="300626"/>
                  </a:cubicBezTo>
                  <a:cubicBezTo>
                    <a:pt x="1721324" y="315172"/>
                    <a:pt x="1745568" y="349114"/>
                    <a:pt x="1745568" y="387904"/>
                  </a:cubicBezTo>
                  <a:lnTo>
                    <a:pt x="1745568" y="1580709"/>
                  </a:lnTo>
                  <a:cubicBezTo>
                    <a:pt x="1687383" y="1614651"/>
                    <a:pt x="1648592" y="1677685"/>
                    <a:pt x="1648592" y="1745568"/>
                  </a:cubicBezTo>
                  <a:cubicBezTo>
                    <a:pt x="1648592" y="2094682"/>
                    <a:pt x="1367362" y="2375913"/>
                    <a:pt x="1018248" y="2375913"/>
                  </a:cubicBezTo>
                  <a:cubicBezTo>
                    <a:pt x="669135" y="2375913"/>
                    <a:pt x="387904" y="2094682"/>
                    <a:pt x="387904" y="1745568"/>
                  </a:cubicBezTo>
                  <a:cubicBezTo>
                    <a:pt x="387904" y="1672836"/>
                    <a:pt x="349114" y="1609802"/>
                    <a:pt x="290928" y="1580709"/>
                  </a:cubicBezTo>
                  <a:lnTo>
                    <a:pt x="290928" y="387904"/>
                  </a:lnTo>
                  <a:cubicBezTo>
                    <a:pt x="290928" y="349114"/>
                    <a:pt x="315172" y="315172"/>
                    <a:pt x="349114" y="300626"/>
                  </a:cubicBezTo>
                  <a:cubicBezTo>
                    <a:pt x="373358" y="353963"/>
                    <a:pt x="421846" y="387904"/>
                    <a:pt x="484880" y="387904"/>
                  </a:cubicBezTo>
                  <a:lnTo>
                    <a:pt x="533368" y="387904"/>
                  </a:lnTo>
                  <a:cubicBezTo>
                    <a:pt x="640042" y="387904"/>
                    <a:pt x="727320" y="300626"/>
                    <a:pt x="727320" y="193952"/>
                  </a:cubicBezTo>
                  <a:cubicBezTo>
                    <a:pt x="727320" y="87278"/>
                    <a:pt x="640042" y="0"/>
                    <a:pt x="533368" y="0"/>
                  </a:cubicBezTo>
                  <a:lnTo>
                    <a:pt x="484880" y="0"/>
                  </a:lnTo>
                  <a:cubicBezTo>
                    <a:pt x="421846" y="0"/>
                    <a:pt x="368509" y="43639"/>
                    <a:pt x="349114" y="101825"/>
                  </a:cubicBezTo>
                  <a:cubicBezTo>
                    <a:pt x="208498" y="121220"/>
                    <a:pt x="96976" y="242440"/>
                    <a:pt x="96976" y="387904"/>
                  </a:cubicBezTo>
                  <a:lnTo>
                    <a:pt x="96976" y="1580709"/>
                  </a:lnTo>
                  <a:cubicBezTo>
                    <a:pt x="38790" y="1614651"/>
                    <a:pt x="0" y="1677685"/>
                    <a:pt x="0" y="1745568"/>
                  </a:cubicBezTo>
                  <a:cubicBezTo>
                    <a:pt x="0" y="2259541"/>
                    <a:pt x="378206" y="2681387"/>
                    <a:pt x="872784" y="2754119"/>
                  </a:cubicBezTo>
                  <a:lnTo>
                    <a:pt x="872784" y="3248697"/>
                  </a:lnTo>
                  <a:cubicBezTo>
                    <a:pt x="872784" y="3811158"/>
                    <a:pt x="1328572" y="4266945"/>
                    <a:pt x="1891032" y="4266945"/>
                  </a:cubicBezTo>
                  <a:cubicBezTo>
                    <a:pt x="2453493" y="4266945"/>
                    <a:pt x="2909281" y="3811158"/>
                    <a:pt x="2909281" y="3248697"/>
                  </a:cubicBezTo>
                  <a:lnTo>
                    <a:pt x="2909281" y="2114077"/>
                  </a:lnTo>
                  <a:cubicBezTo>
                    <a:pt x="3132326" y="2051043"/>
                    <a:pt x="3297185" y="1842544"/>
                    <a:pt x="3297185" y="1600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59C9E748-EF19-4925-83A2-C616D019CBE1}"/>
                </a:ext>
              </a:extLst>
            </p:cNvPr>
            <p:cNvSpPr/>
            <p:nvPr/>
          </p:nvSpPr>
          <p:spPr>
            <a:xfrm>
              <a:off x="13279792" y="2777305"/>
              <a:ext cx="484880" cy="484880"/>
            </a:xfrm>
            <a:custGeom>
              <a:avLst/>
              <a:gdLst>
                <a:gd name="connsiteX0" fmla="*/ 484880 w 484880"/>
                <a:gd name="connsiteY0" fmla="*/ 242440 h 484880"/>
                <a:gd name="connsiteX1" fmla="*/ 242440 w 484880"/>
                <a:gd name="connsiteY1" fmla="*/ 484880 h 484880"/>
                <a:gd name="connsiteX2" fmla="*/ 0 w 484880"/>
                <a:gd name="connsiteY2" fmla="*/ 242440 h 484880"/>
                <a:gd name="connsiteX3" fmla="*/ 242440 w 484880"/>
                <a:gd name="connsiteY3" fmla="*/ 0 h 484880"/>
                <a:gd name="connsiteX4" fmla="*/ 484880 w 484880"/>
                <a:gd name="connsiteY4" fmla="*/ 242440 h 484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880" h="484880">
                  <a:moveTo>
                    <a:pt x="484880" y="242440"/>
                  </a:moveTo>
                  <a:cubicBezTo>
                    <a:pt x="484880" y="376336"/>
                    <a:pt x="376336" y="484880"/>
                    <a:pt x="242440" y="484880"/>
                  </a:cubicBezTo>
                  <a:cubicBezTo>
                    <a:pt x="108544" y="484880"/>
                    <a:pt x="0" y="376336"/>
                    <a:pt x="0" y="242440"/>
                  </a:cubicBezTo>
                  <a:cubicBezTo>
                    <a:pt x="0" y="108544"/>
                    <a:pt x="108544" y="0"/>
                    <a:pt x="242440" y="0"/>
                  </a:cubicBezTo>
                  <a:cubicBezTo>
                    <a:pt x="376336" y="0"/>
                    <a:pt x="484880" y="108544"/>
                    <a:pt x="484880" y="2424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85E1955D-C904-40D3-97B2-BA71712427B5}"/>
              </a:ext>
            </a:extLst>
          </p:cNvPr>
          <p:cNvGrpSpPr/>
          <p:nvPr userDrawn="1"/>
        </p:nvGrpSpPr>
        <p:grpSpPr>
          <a:xfrm>
            <a:off x="11169212" y="3702633"/>
            <a:ext cx="229989" cy="225311"/>
            <a:chOff x="2634853" y="3844528"/>
            <a:chExt cx="261938" cy="268319"/>
          </a:xfrm>
          <a:solidFill>
            <a:schemeClr val="bg1">
              <a:alpha val="80000"/>
            </a:schemeClr>
          </a:solidFill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8DEC7880-EAC1-490E-8CE9-EAA87E1B7165}"/>
                </a:ext>
              </a:extLst>
            </p:cNvPr>
            <p:cNvSpPr/>
            <p:nvPr/>
          </p:nvSpPr>
          <p:spPr>
            <a:xfrm>
              <a:off x="2634853" y="3965972"/>
              <a:ext cx="34366" cy="108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8ED73894-C8AB-4238-B872-717049BE2404}"/>
                </a:ext>
              </a:extLst>
            </p:cNvPr>
            <p:cNvSpPr/>
            <p:nvPr/>
          </p:nvSpPr>
          <p:spPr>
            <a:xfrm>
              <a:off x="2691746" y="3894534"/>
              <a:ext cx="34366" cy="18024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014CD0E4-753A-4AFE-AEC5-3B8416172E14}"/>
                </a:ext>
              </a:extLst>
            </p:cNvPr>
            <p:cNvSpPr/>
            <p:nvPr/>
          </p:nvSpPr>
          <p:spPr>
            <a:xfrm>
              <a:off x="2748639" y="3992166"/>
              <a:ext cx="34366" cy="826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91E6BFC8-09D1-4C84-B22D-798383DFDBE1}"/>
                </a:ext>
              </a:extLst>
            </p:cNvPr>
            <p:cNvSpPr/>
            <p:nvPr/>
          </p:nvSpPr>
          <p:spPr>
            <a:xfrm>
              <a:off x="2805532" y="3942160"/>
              <a:ext cx="34366" cy="13261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1D62B2FE-B41D-4A3D-9314-531D4B526E45}"/>
                </a:ext>
              </a:extLst>
            </p:cNvPr>
            <p:cNvSpPr/>
            <p:nvPr/>
          </p:nvSpPr>
          <p:spPr>
            <a:xfrm>
              <a:off x="2862425" y="3844528"/>
              <a:ext cx="34366" cy="2302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5A97EC36-43D2-4DE1-AFB4-2DB02283BDA7}"/>
                </a:ext>
              </a:extLst>
            </p:cNvPr>
            <p:cNvSpPr/>
            <p:nvPr/>
          </p:nvSpPr>
          <p:spPr>
            <a:xfrm>
              <a:off x="2634853" y="4094559"/>
              <a:ext cx="261938" cy="1828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F3487CD7-285A-43E8-B87E-3EA422EC44E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43494" y="4609169"/>
            <a:ext cx="247314" cy="241130"/>
            <a:chOff x="2578100" y="0"/>
            <a:chExt cx="11628438" cy="11334750"/>
          </a:xfrm>
          <a:solidFill>
            <a:schemeClr val="bg1">
              <a:alpha val="80000"/>
            </a:schemeClr>
          </a:solidFill>
        </p:grpSpPr>
        <p:sp>
          <p:nvSpPr>
            <p:cNvPr id="57" name="Freeform 15">
              <a:extLst>
                <a:ext uri="{FF2B5EF4-FFF2-40B4-BE49-F238E27FC236}">
                  <a16:creationId xmlns:a16="http://schemas.microsoft.com/office/drawing/2014/main" id="{29701839-40DB-46A7-8D1B-7093F256BE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2263" y="0"/>
              <a:ext cx="4994275" cy="5073650"/>
            </a:xfrm>
            <a:custGeom>
              <a:avLst/>
              <a:gdLst>
                <a:gd name="T0" fmla="*/ 211 w 442"/>
                <a:gd name="T1" fmla="*/ 137 h 449"/>
                <a:gd name="T2" fmla="*/ 308 w 442"/>
                <a:gd name="T3" fmla="*/ 215 h 449"/>
                <a:gd name="T4" fmla="*/ 231 w 442"/>
                <a:gd name="T5" fmla="*/ 312 h 449"/>
                <a:gd name="T6" fmla="*/ 133 w 442"/>
                <a:gd name="T7" fmla="*/ 235 h 449"/>
                <a:gd name="T8" fmla="*/ 211 w 442"/>
                <a:gd name="T9" fmla="*/ 137 h 449"/>
                <a:gd name="T10" fmla="*/ 65 w 442"/>
                <a:gd name="T11" fmla="*/ 283 h 449"/>
                <a:gd name="T12" fmla="*/ 16 w 442"/>
                <a:gd name="T13" fmla="*/ 320 h 449"/>
                <a:gd name="T14" fmla="*/ 71 w 442"/>
                <a:gd name="T15" fmla="*/ 394 h 449"/>
                <a:gd name="T16" fmla="*/ 121 w 442"/>
                <a:gd name="T17" fmla="*/ 357 h 449"/>
                <a:gd name="T18" fmla="*/ 194 w 442"/>
                <a:gd name="T19" fmla="*/ 389 h 449"/>
                <a:gd name="T20" fmla="*/ 201 w 442"/>
                <a:gd name="T21" fmla="*/ 449 h 449"/>
                <a:gd name="T22" fmla="*/ 292 w 442"/>
                <a:gd name="T23" fmla="*/ 439 h 449"/>
                <a:gd name="T24" fmla="*/ 285 w 442"/>
                <a:gd name="T25" fmla="*/ 378 h 449"/>
                <a:gd name="T26" fmla="*/ 349 w 442"/>
                <a:gd name="T27" fmla="*/ 330 h 449"/>
                <a:gd name="T28" fmla="*/ 405 w 442"/>
                <a:gd name="T29" fmla="*/ 354 h 449"/>
                <a:gd name="T30" fmla="*/ 442 w 442"/>
                <a:gd name="T31" fmla="*/ 270 h 449"/>
                <a:gd name="T32" fmla="*/ 385 w 442"/>
                <a:gd name="T33" fmla="*/ 246 h 449"/>
                <a:gd name="T34" fmla="*/ 376 w 442"/>
                <a:gd name="T35" fmla="*/ 166 h 449"/>
                <a:gd name="T36" fmla="*/ 425 w 442"/>
                <a:gd name="T37" fmla="*/ 130 h 449"/>
                <a:gd name="T38" fmla="*/ 370 w 442"/>
                <a:gd name="T39" fmla="*/ 56 h 449"/>
                <a:gd name="T40" fmla="*/ 321 w 442"/>
                <a:gd name="T41" fmla="*/ 93 h 449"/>
                <a:gd name="T42" fmla="*/ 248 w 442"/>
                <a:gd name="T43" fmla="*/ 61 h 449"/>
                <a:gd name="T44" fmla="*/ 241 w 442"/>
                <a:gd name="T45" fmla="*/ 0 h 449"/>
                <a:gd name="T46" fmla="*/ 149 w 442"/>
                <a:gd name="T47" fmla="*/ 11 h 449"/>
                <a:gd name="T48" fmla="*/ 156 w 442"/>
                <a:gd name="T49" fmla="*/ 72 h 449"/>
                <a:gd name="T50" fmla="*/ 93 w 442"/>
                <a:gd name="T51" fmla="*/ 119 h 449"/>
                <a:gd name="T52" fmla="*/ 36 w 442"/>
                <a:gd name="T53" fmla="*/ 95 h 449"/>
                <a:gd name="T54" fmla="*/ 0 w 442"/>
                <a:gd name="T55" fmla="*/ 180 h 449"/>
                <a:gd name="T56" fmla="*/ 56 w 442"/>
                <a:gd name="T57" fmla="*/ 204 h 449"/>
                <a:gd name="T58" fmla="*/ 65 w 442"/>
                <a:gd name="T59" fmla="*/ 283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2" h="449">
                  <a:moveTo>
                    <a:pt x="211" y="137"/>
                  </a:moveTo>
                  <a:cubicBezTo>
                    <a:pt x="259" y="132"/>
                    <a:pt x="303" y="166"/>
                    <a:pt x="308" y="215"/>
                  </a:cubicBezTo>
                  <a:cubicBezTo>
                    <a:pt x="314" y="263"/>
                    <a:pt x="279" y="307"/>
                    <a:pt x="231" y="312"/>
                  </a:cubicBezTo>
                  <a:cubicBezTo>
                    <a:pt x="183" y="318"/>
                    <a:pt x="139" y="283"/>
                    <a:pt x="133" y="235"/>
                  </a:cubicBezTo>
                  <a:cubicBezTo>
                    <a:pt x="128" y="187"/>
                    <a:pt x="162" y="143"/>
                    <a:pt x="211" y="137"/>
                  </a:cubicBezTo>
                  <a:close/>
                  <a:moveTo>
                    <a:pt x="65" y="283"/>
                  </a:moveTo>
                  <a:cubicBezTo>
                    <a:pt x="16" y="320"/>
                    <a:pt x="16" y="320"/>
                    <a:pt x="16" y="320"/>
                  </a:cubicBezTo>
                  <a:cubicBezTo>
                    <a:pt x="71" y="394"/>
                    <a:pt x="71" y="394"/>
                    <a:pt x="71" y="394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94" y="389"/>
                    <a:pt x="194" y="389"/>
                    <a:pt x="194" y="389"/>
                  </a:cubicBezTo>
                  <a:cubicBezTo>
                    <a:pt x="201" y="449"/>
                    <a:pt x="201" y="449"/>
                    <a:pt x="201" y="449"/>
                  </a:cubicBezTo>
                  <a:cubicBezTo>
                    <a:pt x="292" y="439"/>
                    <a:pt x="292" y="439"/>
                    <a:pt x="292" y="439"/>
                  </a:cubicBezTo>
                  <a:cubicBezTo>
                    <a:pt x="285" y="378"/>
                    <a:pt x="285" y="378"/>
                    <a:pt x="285" y="378"/>
                  </a:cubicBezTo>
                  <a:cubicBezTo>
                    <a:pt x="349" y="330"/>
                    <a:pt x="349" y="330"/>
                    <a:pt x="349" y="330"/>
                  </a:cubicBezTo>
                  <a:cubicBezTo>
                    <a:pt x="405" y="354"/>
                    <a:pt x="405" y="354"/>
                    <a:pt x="405" y="354"/>
                  </a:cubicBezTo>
                  <a:cubicBezTo>
                    <a:pt x="442" y="270"/>
                    <a:pt x="442" y="270"/>
                    <a:pt x="442" y="270"/>
                  </a:cubicBezTo>
                  <a:cubicBezTo>
                    <a:pt x="385" y="246"/>
                    <a:pt x="385" y="246"/>
                    <a:pt x="385" y="246"/>
                  </a:cubicBezTo>
                  <a:cubicBezTo>
                    <a:pt x="376" y="166"/>
                    <a:pt x="376" y="166"/>
                    <a:pt x="376" y="166"/>
                  </a:cubicBezTo>
                  <a:cubicBezTo>
                    <a:pt x="425" y="130"/>
                    <a:pt x="425" y="130"/>
                    <a:pt x="425" y="130"/>
                  </a:cubicBezTo>
                  <a:cubicBezTo>
                    <a:pt x="370" y="56"/>
                    <a:pt x="370" y="56"/>
                    <a:pt x="370" y="56"/>
                  </a:cubicBezTo>
                  <a:cubicBezTo>
                    <a:pt x="321" y="93"/>
                    <a:pt x="321" y="93"/>
                    <a:pt x="321" y="93"/>
                  </a:cubicBezTo>
                  <a:cubicBezTo>
                    <a:pt x="248" y="61"/>
                    <a:pt x="248" y="61"/>
                    <a:pt x="248" y="61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56" y="72"/>
                    <a:pt x="156" y="72"/>
                    <a:pt x="156" y="72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36" y="95"/>
                    <a:pt x="36" y="95"/>
                    <a:pt x="36" y="95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56" y="204"/>
                    <a:pt x="56" y="204"/>
                    <a:pt x="56" y="204"/>
                  </a:cubicBezTo>
                  <a:lnTo>
                    <a:pt x="65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8" name="Freeform 16">
              <a:extLst>
                <a:ext uri="{FF2B5EF4-FFF2-40B4-BE49-F238E27FC236}">
                  <a16:creationId xmlns:a16="http://schemas.microsoft.com/office/drawing/2014/main" id="{C1D27DD3-7E31-4E1B-8980-0C4A1B49E4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0313" y="6340475"/>
              <a:ext cx="5073650" cy="4994275"/>
            </a:xfrm>
            <a:custGeom>
              <a:avLst/>
              <a:gdLst>
                <a:gd name="T0" fmla="*/ 306 w 449"/>
                <a:gd name="T1" fmla="*/ 256 h 442"/>
                <a:gd name="T2" fmla="*/ 190 w 449"/>
                <a:gd name="T3" fmla="*/ 302 h 442"/>
                <a:gd name="T4" fmla="*/ 144 w 449"/>
                <a:gd name="T5" fmla="*/ 186 h 442"/>
                <a:gd name="T6" fmla="*/ 259 w 449"/>
                <a:gd name="T7" fmla="*/ 140 h 442"/>
                <a:gd name="T8" fmla="*/ 306 w 449"/>
                <a:gd name="T9" fmla="*/ 256 h 442"/>
                <a:gd name="T10" fmla="*/ 449 w 449"/>
                <a:gd name="T11" fmla="*/ 240 h 442"/>
                <a:gd name="T12" fmla="*/ 438 w 449"/>
                <a:gd name="T13" fmla="*/ 149 h 442"/>
                <a:gd name="T14" fmla="*/ 377 w 449"/>
                <a:gd name="T15" fmla="*/ 156 h 442"/>
                <a:gd name="T16" fmla="*/ 330 w 449"/>
                <a:gd name="T17" fmla="*/ 92 h 442"/>
                <a:gd name="T18" fmla="*/ 354 w 449"/>
                <a:gd name="T19" fmla="*/ 36 h 442"/>
                <a:gd name="T20" fmla="*/ 269 w 449"/>
                <a:gd name="T21" fmla="*/ 0 h 442"/>
                <a:gd name="T22" fmla="*/ 245 w 449"/>
                <a:gd name="T23" fmla="*/ 56 h 442"/>
                <a:gd name="T24" fmla="*/ 166 w 449"/>
                <a:gd name="T25" fmla="*/ 66 h 442"/>
                <a:gd name="T26" fmla="*/ 129 w 449"/>
                <a:gd name="T27" fmla="*/ 17 h 442"/>
                <a:gd name="T28" fmla="*/ 55 w 449"/>
                <a:gd name="T29" fmla="*/ 72 h 442"/>
                <a:gd name="T30" fmla="*/ 92 w 449"/>
                <a:gd name="T31" fmla="*/ 121 h 442"/>
                <a:gd name="T32" fmla="*/ 61 w 449"/>
                <a:gd name="T33" fmla="*/ 194 h 442"/>
                <a:gd name="T34" fmla="*/ 0 w 449"/>
                <a:gd name="T35" fmla="*/ 202 h 442"/>
                <a:gd name="T36" fmla="*/ 11 w 449"/>
                <a:gd name="T37" fmla="*/ 293 h 442"/>
                <a:gd name="T38" fmla="*/ 72 w 449"/>
                <a:gd name="T39" fmla="*/ 286 h 442"/>
                <a:gd name="T40" fmla="*/ 120 w 449"/>
                <a:gd name="T41" fmla="*/ 350 h 442"/>
                <a:gd name="T42" fmla="*/ 96 w 449"/>
                <a:gd name="T43" fmla="*/ 406 h 442"/>
                <a:gd name="T44" fmla="*/ 180 w 449"/>
                <a:gd name="T45" fmla="*/ 442 h 442"/>
                <a:gd name="T46" fmla="*/ 205 w 449"/>
                <a:gd name="T47" fmla="*/ 386 h 442"/>
                <a:gd name="T48" fmla="*/ 284 w 449"/>
                <a:gd name="T49" fmla="*/ 376 h 442"/>
                <a:gd name="T50" fmla="*/ 320 w 449"/>
                <a:gd name="T51" fmla="*/ 425 h 442"/>
                <a:gd name="T52" fmla="*/ 394 w 449"/>
                <a:gd name="T53" fmla="*/ 370 h 442"/>
                <a:gd name="T54" fmla="*/ 357 w 449"/>
                <a:gd name="T55" fmla="*/ 321 h 442"/>
                <a:gd name="T56" fmla="*/ 389 w 449"/>
                <a:gd name="T57" fmla="*/ 248 h 442"/>
                <a:gd name="T58" fmla="*/ 449 w 449"/>
                <a:gd name="T59" fmla="*/ 24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9" h="442">
                  <a:moveTo>
                    <a:pt x="306" y="256"/>
                  </a:moveTo>
                  <a:cubicBezTo>
                    <a:pt x="287" y="300"/>
                    <a:pt x="235" y="321"/>
                    <a:pt x="190" y="302"/>
                  </a:cubicBezTo>
                  <a:cubicBezTo>
                    <a:pt x="145" y="283"/>
                    <a:pt x="125" y="231"/>
                    <a:pt x="144" y="186"/>
                  </a:cubicBezTo>
                  <a:cubicBezTo>
                    <a:pt x="163" y="142"/>
                    <a:pt x="215" y="121"/>
                    <a:pt x="259" y="140"/>
                  </a:cubicBezTo>
                  <a:cubicBezTo>
                    <a:pt x="304" y="159"/>
                    <a:pt x="325" y="211"/>
                    <a:pt x="306" y="256"/>
                  </a:cubicBezTo>
                  <a:close/>
                  <a:moveTo>
                    <a:pt x="449" y="240"/>
                  </a:moveTo>
                  <a:cubicBezTo>
                    <a:pt x="438" y="149"/>
                    <a:pt x="438" y="149"/>
                    <a:pt x="438" y="149"/>
                  </a:cubicBezTo>
                  <a:cubicBezTo>
                    <a:pt x="377" y="156"/>
                    <a:pt x="377" y="156"/>
                    <a:pt x="377" y="156"/>
                  </a:cubicBezTo>
                  <a:cubicBezTo>
                    <a:pt x="330" y="92"/>
                    <a:pt x="330" y="92"/>
                    <a:pt x="330" y="92"/>
                  </a:cubicBezTo>
                  <a:cubicBezTo>
                    <a:pt x="354" y="36"/>
                    <a:pt x="354" y="36"/>
                    <a:pt x="354" y="36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245" y="56"/>
                    <a:pt x="245" y="56"/>
                    <a:pt x="245" y="56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92" y="121"/>
                    <a:pt x="92" y="121"/>
                    <a:pt x="92" y="121"/>
                  </a:cubicBezTo>
                  <a:cubicBezTo>
                    <a:pt x="61" y="194"/>
                    <a:pt x="61" y="194"/>
                    <a:pt x="61" y="194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11" y="293"/>
                    <a:pt x="11" y="293"/>
                    <a:pt x="11" y="293"/>
                  </a:cubicBezTo>
                  <a:cubicBezTo>
                    <a:pt x="72" y="286"/>
                    <a:pt x="72" y="286"/>
                    <a:pt x="72" y="286"/>
                  </a:cubicBezTo>
                  <a:cubicBezTo>
                    <a:pt x="120" y="350"/>
                    <a:pt x="120" y="350"/>
                    <a:pt x="120" y="350"/>
                  </a:cubicBezTo>
                  <a:cubicBezTo>
                    <a:pt x="96" y="406"/>
                    <a:pt x="96" y="406"/>
                    <a:pt x="96" y="406"/>
                  </a:cubicBezTo>
                  <a:cubicBezTo>
                    <a:pt x="180" y="442"/>
                    <a:pt x="180" y="442"/>
                    <a:pt x="180" y="442"/>
                  </a:cubicBezTo>
                  <a:cubicBezTo>
                    <a:pt x="205" y="386"/>
                    <a:pt x="205" y="386"/>
                    <a:pt x="205" y="386"/>
                  </a:cubicBezTo>
                  <a:cubicBezTo>
                    <a:pt x="284" y="376"/>
                    <a:pt x="284" y="376"/>
                    <a:pt x="284" y="376"/>
                  </a:cubicBezTo>
                  <a:cubicBezTo>
                    <a:pt x="320" y="425"/>
                    <a:pt x="320" y="425"/>
                    <a:pt x="320" y="425"/>
                  </a:cubicBezTo>
                  <a:cubicBezTo>
                    <a:pt x="394" y="370"/>
                    <a:pt x="394" y="370"/>
                    <a:pt x="394" y="370"/>
                  </a:cubicBezTo>
                  <a:cubicBezTo>
                    <a:pt x="357" y="321"/>
                    <a:pt x="357" y="321"/>
                    <a:pt x="357" y="321"/>
                  </a:cubicBezTo>
                  <a:cubicBezTo>
                    <a:pt x="389" y="248"/>
                    <a:pt x="389" y="248"/>
                    <a:pt x="389" y="248"/>
                  </a:cubicBezTo>
                  <a:lnTo>
                    <a:pt x="449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9" name="Freeform 17">
              <a:extLst>
                <a:ext uri="{FF2B5EF4-FFF2-40B4-BE49-F238E27FC236}">
                  <a16:creationId xmlns:a16="http://schemas.microsoft.com/office/drawing/2014/main" id="{DB7F9ACD-D151-4066-8D5D-A49D772BF3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8100" y="1638300"/>
              <a:ext cx="7627938" cy="7616825"/>
            </a:xfrm>
            <a:custGeom>
              <a:avLst/>
              <a:gdLst>
                <a:gd name="T0" fmla="*/ 337 w 675"/>
                <a:gd name="T1" fmla="*/ 485 h 674"/>
                <a:gd name="T2" fmla="*/ 189 w 675"/>
                <a:gd name="T3" fmla="*/ 337 h 674"/>
                <a:gd name="T4" fmla="*/ 337 w 675"/>
                <a:gd name="T5" fmla="*/ 189 h 674"/>
                <a:gd name="T6" fmla="*/ 486 w 675"/>
                <a:gd name="T7" fmla="*/ 337 h 674"/>
                <a:gd name="T8" fmla="*/ 337 w 675"/>
                <a:gd name="T9" fmla="*/ 485 h 674"/>
                <a:gd name="T10" fmla="*/ 571 w 675"/>
                <a:gd name="T11" fmla="*/ 479 h 674"/>
                <a:gd name="T12" fmla="*/ 602 w 675"/>
                <a:gd name="T13" fmla="*/ 401 h 674"/>
                <a:gd name="T14" fmla="*/ 675 w 675"/>
                <a:gd name="T15" fmla="*/ 395 h 674"/>
                <a:gd name="T16" fmla="*/ 675 w 675"/>
                <a:gd name="T17" fmla="*/ 279 h 674"/>
                <a:gd name="T18" fmla="*/ 602 w 675"/>
                <a:gd name="T19" fmla="*/ 272 h 674"/>
                <a:gd name="T20" fmla="*/ 571 w 675"/>
                <a:gd name="T21" fmla="*/ 195 h 674"/>
                <a:gd name="T22" fmla="*/ 617 w 675"/>
                <a:gd name="T23" fmla="*/ 139 h 674"/>
                <a:gd name="T24" fmla="*/ 535 w 675"/>
                <a:gd name="T25" fmla="*/ 57 h 674"/>
                <a:gd name="T26" fmla="*/ 479 w 675"/>
                <a:gd name="T27" fmla="*/ 104 h 674"/>
                <a:gd name="T28" fmla="*/ 402 w 675"/>
                <a:gd name="T29" fmla="*/ 72 h 674"/>
                <a:gd name="T30" fmla="*/ 395 w 675"/>
                <a:gd name="T31" fmla="*/ 0 h 674"/>
                <a:gd name="T32" fmla="*/ 279 w 675"/>
                <a:gd name="T33" fmla="*/ 0 h 674"/>
                <a:gd name="T34" fmla="*/ 273 w 675"/>
                <a:gd name="T35" fmla="*/ 72 h 674"/>
                <a:gd name="T36" fmla="*/ 195 w 675"/>
                <a:gd name="T37" fmla="*/ 103 h 674"/>
                <a:gd name="T38" fmla="*/ 140 w 675"/>
                <a:gd name="T39" fmla="*/ 57 h 674"/>
                <a:gd name="T40" fmla="*/ 58 w 675"/>
                <a:gd name="T41" fmla="*/ 139 h 674"/>
                <a:gd name="T42" fmla="*/ 104 w 675"/>
                <a:gd name="T43" fmla="*/ 195 h 674"/>
                <a:gd name="T44" fmla="*/ 72 w 675"/>
                <a:gd name="T45" fmla="*/ 272 h 674"/>
                <a:gd name="T46" fmla="*/ 0 w 675"/>
                <a:gd name="T47" fmla="*/ 279 h 674"/>
                <a:gd name="T48" fmla="*/ 0 w 675"/>
                <a:gd name="T49" fmla="*/ 395 h 674"/>
                <a:gd name="T50" fmla="*/ 72 w 675"/>
                <a:gd name="T51" fmla="*/ 401 h 674"/>
                <a:gd name="T52" fmla="*/ 104 w 675"/>
                <a:gd name="T53" fmla="*/ 479 h 674"/>
                <a:gd name="T54" fmla="*/ 58 w 675"/>
                <a:gd name="T55" fmla="*/ 534 h 674"/>
                <a:gd name="T56" fmla="*/ 140 w 675"/>
                <a:gd name="T57" fmla="*/ 616 h 674"/>
                <a:gd name="T58" fmla="*/ 195 w 675"/>
                <a:gd name="T59" fmla="*/ 570 h 674"/>
                <a:gd name="T60" fmla="*/ 273 w 675"/>
                <a:gd name="T61" fmla="*/ 602 h 674"/>
                <a:gd name="T62" fmla="*/ 279 w 675"/>
                <a:gd name="T63" fmla="*/ 674 h 674"/>
                <a:gd name="T64" fmla="*/ 395 w 675"/>
                <a:gd name="T65" fmla="*/ 674 h 674"/>
                <a:gd name="T66" fmla="*/ 402 w 675"/>
                <a:gd name="T67" fmla="*/ 602 h 674"/>
                <a:gd name="T68" fmla="*/ 479 w 675"/>
                <a:gd name="T69" fmla="*/ 570 h 674"/>
                <a:gd name="T70" fmla="*/ 535 w 675"/>
                <a:gd name="T71" fmla="*/ 616 h 674"/>
                <a:gd name="T72" fmla="*/ 617 w 675"/>
                <a:gd name="T73" fmla="*/ 534 h 674"/>
                <a:gd name="T74" fmla="*/ 571 w 675"/>
                <a:gd name="T75" fmla="*/ 479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5" h="674">
                  <a:moveTo>
                    <a:pt x="337" y="485"/>
                  </a:moveTo>
                  <a:cubicBezTo>
                    <a:pt x="255" y="485"/>
                    <a:pt x="189" y="419"/>
                    <a:pt x="189" y="337"/>
                  </a:cubicBezTo>
                  <a:cubicBezTo>
                    <a:pt x="189" y="255"/>
                    <a:pt x="255" y="189"/>
                    <a:pt x="337" y="189"/>
                  </a:cubicBezTo>
                  <a:cubicBezTo>
                    <a:pt x="419" y="189"/>
                    <a:pt x="486" y="255"/>
                    <a:pt x="486" y="337"/>
                  </a:cubicBezTo>
                  <a:cubicBezTo>
                    <a:pt x="486" y="419"/>
                    <a:pt x="419" y="485"/>
                    <a:pt x="337" y="485"/>
                  </a:cubicBezTo>
                  <a:close/>
                  <a:moveTo>
                    <a:pt x="571" y="479"/>
                  </a:moveTo>
                  <a:cubicBezTo>
                    <a:pt x="602" y="401"/>
                    <a:pt x="602" y="401"/>
                    <a:pt x="602" y="401"/>
                  </a:cubicBezTo>
                  <a:cubicBezTo>
                    <a:pt x="675" y="395"/>
                    <a:pt x="675" y="395"/>
                    <a:pt x="675" y="395"/>
                  </a:cubicBezTo>
                  <a:cubicBezTo>
                    <a:pt x="675" y="279"/>
                    <a:pt x="675" y="279"/>
                    <a:pt x="675" y="279"/>
                  </a:cubicBezTo>
                  <a:cubicBezTo>
                    <a:pt x="602" y="272"/>
                    <a:pt x="602" y="272"/>
                    <a:pt x="602" y="272"/>
                  </a:cubicBezTo>
                  <a:cubicBezTo>
                    <a:pt x="571" y="195"/>
                    <a:pt x="571" y="195"/>
                    <a:pt x="571" y="195"/>
                  </a:cubicBezTo>
                  <a:cubicBezTo>
                    <a:pt x="617" y="139"/>
                    <a:pt x="617" y="139"/>
                    <a:pt x="617" y="139"/>
                  </a:cubicBezTo>
                  <a:cubicBezTo>
                    <a:pt x="535" y="57"/>
                    <a:pt x="535" y="57"/>
                    <a:pt x="535" y="57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02" y="72"/>
                    <a:pt x="402" y="72"/>
                    <a:pt x="402" y="72"/>
                  </a:cubicBezTo>
                  <a:cubicBezTo>
                    <a:pt x="395" y="0"/>
                    <a:pt x="395" y="0"/>
                    <a:pt x="395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3" y="72"/>
                    <a:pt x="273" y="72"/>
                    <a:pt x="273" y="72"/>
                  </a:cubicBezTo>
                  <a:cubicBezTo>
                    <a:pt x="195" y="103"/>
                    <a:pt x="195" y="103"/>
                    <a:pt x="195" y="103"/>
                  </a:cubicBezTo>
                  <a:cubicBezTo>
                    <a:pt x="140" y="57"/>
                    <a:pt x="140" y="57"/>
                    <a:pt x="140" y="57"/>
                  </a:cubicBezTo>
                  <a:cubicBezTo>
                    <a:pt x="58" y="139"/>
                    <a:pt x="58" y="139"/>
                    <a:pt x="58" y="139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72" y="272"/>
                    <a:pt x="72" y="272"/>
                    <a:pt x="72" y="272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0" y="395"/>
                    <a:pt x="0" y="395"/>
                    <a:pt x="0" y="395"/>
                  </a:cubicBezTo>
                  <a:cubicBezTo>
                    <a:pt x="72" y="401"/>
                    <a:pt x="72" y="401"/>
                    <a:pt x="72" y="401"/>
                  </a:cubicBezTo>
                  <a:cubicBezTo>
                    <a:pt x="104" y="479"/>
                    <a:pt x="104" y="479"/>
                    <a:pt x="104" y="479"/>
                  </a:cubicBezTo>
                  <a:cubicBezTo>
                    <a:pt x="58" y="534"/>
                    <a:pt x="58" y="534"/>
                    <a:pt x="58" y="534"/>
                  </a:cubicBezTo>
                  <a:cubicBezTo>
                    <a:pt x="140" y="616"/>
                    <a:pt x="140" y="616"/>
                    <a:pt x="140" y="616"/>
                  </a:cubicBezTo>
                  <a:cubicBezTo>
                    <a:pt x="195" y="570"/>
                    <a:pt x="195" y="570"/>
                    <a:pt x="195" y="570"/>
                  </a:cubicBezTo>
                  <a:cubicBezTo>
                    <a:pt x="273" y="602"/>
                    <a:pt x="273" y="602"/>
                    <a:pt x="273" y="602"/>
                  </a:cubicBezTo>
                  <a:cubicBezTo>
                    <a:pt x="279" y="674"/>
                    <a:pt x="279" y="674"/>
                    <a:pt x="279" y="674"/>
                  </a:cubicBezTo>
                  <a:cubicBezTo>
                    <a:pt x="395" y="674"/>
                    <a:pt x="395" y="674"/>
                    <a:pt x="395" y="674"/>
                  </a:cubicBezTo>
                  <a:cubicBezTo>
                    <a:pt x="402" y="602"/>
                    <a:pt x="402" y="602"/>
                    <a:pt x="402" y="602"/>
                  </a:cubicBezTo>
                  <a:cubicBezTo>
                    <a:pt x="479" y="570"/>
                    <a:pt x="479" y="570"/>
                    <a:pt x="479" y="570"/>
                  </a:cubicBezTo>
                  <a:cubicBezTo>
                    <a:pt x="535" y="616"/>
                    <a:pt x="535" y="616"/>
                    <a:pt x="535" y="616"/>
                  </a:cubicBezTo>
                  <a:cubicBezTo>
                    <a:pt x="617" y="534"/>
                    <a:pt x="617" y="534"/>
                    <a:pt x="617" y="534"/>
                  </a:cubicBezTo>
                  <a:lnTo>
                    <a:pt x="571" y="4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B1F44488-635E-4034-837D-CA29174CC655}"/>
              </a:ext>
            </a:extLst>
          </p:cNvPr>
          <p:cNvGrpSpPr/>
          <p:nvPr userDrawn="1"/>
        </p:nvGrpSpPr>
        <p:grpSpPr>
          <a:xfrm>
            <a:off x="10888450" y="1863876"/>
            <a:ext cx="192036" cy="289932"/>
            <a:chOff x="-3947158" y="1719597"/>
            <a:chExt cx="3385092" cy="5109416"/>
          </a:xfrm>
          <a:solidFill>
            <a:schemeClr val="bg1">
              <a:alpha val="80000"/>
            </a:schemeClr>
          </a:solidFill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081FE0F7-05B5-4AE7-8D94-159787CB6F13}"/>
                </a:ext>
              </a:extLst>
            </p:cNvPr>
            <p:cNvSpPr/>
            <p:nvPr/>
          </p:nvSpPr>
          <p:spPr>
            <a:xfrm>
              <a:off x="-3624517" y="2322583"/>
              <a:ext cx="3062451" cy="218046"/>
            </a:xfrm>
            <a:prstGeom prst="rect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80B26F7E-CA88-47DE-B6DD-F48050EF435D}"/>
                </a:ext>
              </a:extLst>
            </p:cNvPr>
            <p:cNvSpPr/>
            <p:nvPr/>
          </p:nvSpPr>
          <p:spPr>
            <a:xfrm>
              <a:off x="-3947158" y="3738067"/>
              <a:ext cx="1988090" cy="3089947"/>
            </a:xfrm>
            <a:custGeom>
              <a:avLst/>
              <a:gdLst>
                <a:gd name="connsiteX0" fmla="*/ 1536585 w 1988090"/>
                <a:gd name="connsiteY0" fmla="*/ 279 h 3089947"/>
                <a:gd name="connsiteX1" fmla="*/ 1493799 w 1988090"/>
                <a:gd name="connsiteY1" fmla="*/ 6084 h 3089947"/>
                <a:gd name="connsiteX2" fmla="*/ 994045 w 1988090"/>
                <a:gd name="connsiteY2" fmla="*/ 201257 h 3089947"/>
                <a:gd name="connsiteX3" fmla="*/ 494330 w 1988090"/>
                <a:gd name="connsiteY3" fmla="*/ 6122 h 3089947"/>
                <a:gd name="connsiteX4" fmla="*/ 451390 w 1988090"/>
                <a:gd name="connsiteY4" fmla="*/ 317 h 3089947"/>
                <a:gd name="connsiteX5" fmla="*/ 362549 w 1988090"/>
                <a:gd name="connsiteY5" fmla="*/ 12004 h 3089947"/>
                <a:gd name="connsiteX6" fmla="*/ 126819 w 1988090"/>
                <a:gd name="connsiteY6" fmla="*/ 305590 h 3089947"/>
                <a:gd name="connsiteX7" fmla="*/ 36 w 1988090"/>
                <a:gd name="connsiteY7" fmla="*/ 1551706 h 3089947"/>
                <a:gd name="connsiteX8" fmla="*/ 56470 w 1988090"/>
                <a:gd name="connsiteY8" fmla="*/ 1695481 h 3089947"/>
                <a:gd name="connsiteX9" fmla="*/ 198053 w 1988090"/>
                <a:gd name="connsiteY9" fmla="*/ 1757220 h 3089947"/>
                <a:gd name="connsiteX10" fmla="*/ 199975 w 1988090"/>
                <a:gd name="connsiteY10" fmla="*/ 1757258 h 3089947"/>
                <a:gd name="connsiteX11" fmla="*/ 201898 w 1988090"/>
                <a:gd name="connsiteY11" fmla="*/ 1757258 h 3089947"/>
                <a:gd name="connsiteX12" fmla="*/ 290969 w 1988090"/>
                <a:gd name="connsiteY12" fmla="*/ 1736154 h 3089947"/>
                <a:gd name="connsiteX13" fmla="*/ 359743 w 1988090"/>
                <a:gd name="connsiteY13" fmla="*/ 1679873 h 3089947"/>
                <a:gd name="connsiteX14" fmla="*/ 359743 w 1988090"/>
                <a:gd name="connsiteY14" fmla="*/ 2240751 h 3089947"/>
                <a:gd name="connsiteX15" fmla="*/ 359743 w 1988090"/>
                <a:gd name="connsiteY15" fmla="*/ 2801628 h 3089947"/>
                <a:gd name="connsiteX16" fmla="*/ 444201 w 1988090"/>
                <a:gd name="connsiteY16" fmla="*/ 3005489 h 3089947"/>
                <a:gd name="connsiteX17" fmla="*/ 648062 w 1988090"/>
                <a:gd name="connsiteY17" fmla="*/ 3089947 h 3089947"/>
                <a:gd name="connsiteX18" fmla="*/ 851923 w 1988090"/>
                <a:gd name="connsiteY18" fmla="*/ 3005489 h 3089947"/>
                <a:gd name="connsiteX19" fmla="*/ 936382 w 1988090"/>
                <a:gd name="connsiteY19" fmla="*/ 2801628 h 3089947"/>
                <a:gd name="connsiteX20" fmla="*/ 936382 w 1988090"/>
                <a:gd name="connsiteY20" fmla="*/ 2340317 h 3089947"/>
                <a:gd name="connsiteX21" fmla="*/ 936382 w 1988090"/>
                <a:gd name="connsiteY21" fmla="*/ 1879006 h 3089947"/>
                <a:gd name="connsiteX22" fmla="*/ 994045 w 1988090"/>
                <a:gd name="connsiteY22" fmla="*/ 1879006 h 3089947"/>
                <a:gd name="connsiteX23" fmla="*/ 1051709 w 1988090"/>
                <a:gd name="connsiteY23" fmla="*/ 1879006 h 3089947"/>
                <a:gd name="connsiteX24" fmla="*/ 1051709 w 1988090"/>
                <a:gd name="connsiteY24" fmla="*/ 2340317 h 3089947"/>
                <a:gd name="connsiteX25" fmla="*/ 1051709 w 1988090"/>
                <a:gd name="connsiteY25" fmla="*/ 2801628 h 3089947"/>
                <a:gd name="connsiteX26" fmla="*/ 1136167 w 1988090"/>
                <a:gd name="connsiteY26" fmla="*/ 3005489 h 3089947"/>
                <a:gd name="connsiteX27" fmla="*/ 1340029 w 1988090"/>
                <a:gd name="connsiteY27" fmla="*/ 3089947 h 3089947"/>
                <a:gd name="connsiteX28" fmla="*/ 1543889 w 1988090"/>
                <a:gd name="connsiteY28" fmla="*/ 3005489 h 3089947"/>
                <a:gd name="connsiteX29" fmla="*/ 1628348 w 1988090"/>
                <a:gd name="connsiteY29" fmla="*/ 2801628 h 3089947"/>
                <a:gd name="connsiteX30" fmla="*/ 1628348 w 1988090"/>
                <a:gd name="connsiteY30" fmla="*/ 2263432 h 3089947"/>
                <a:gd name="connsiteX31" fmla="*/ 1628348 w 1988090"/>
                <a:gd name="connsiteY31" fmla="*/ 1725313 h 3089947"/>
                <a:gd name="connsiteX32" fmla="*/ 1628348 w 1988090"/>
                <a:gd name="connsiteY32" fmla="*/ 1725236 h 3089947"/>
                <a:gd name="connsiteX33" fmla="*/ 1628348 w 1988090"/>
                <a:gd name="connsiteY33" fmla="*/ 1725159 h 3089947"/>
                <a:gd name="connsiteX34" fmla="*/ 1628348 w 1988090"/>
                <a:gd name="connsiteY34" fmla="*/ 1702478 h 3089947"/>
                <a:gd name="connsiteX35" fmla="*/ 1628348 w 1988090"/>
                <a:gd name="connsiteY35" fmla="*/ 1679797 h 3089947"/>
                <a:gd name="connsiteX36" fmla="*/ 1697122 w 1988090"/>
                <a:gd name="connsiteY36" fmla="*/ 1736115 h 3089947"/>
                <a:gd name="connsiteX37" fmla="*/ 1786193 w 1988090"/>
                <a:gd name="connsiteY37" fmla="*/ 1757220 h 3089947"/>
                <a:gd name="connsiteX38" fmla="*/ 1788115 w 1988090"/>
                <a:gd name="connsiteY38" fmla="*/ 1757220 h 3089947"/>
                <a:gd name="connsiteX39" fmla="*/ 1790037 w 1988090"/>
                <a:gd name="connsiteY39" fmla="*/ 1757182 h 3089947"/>
                <a:gd name="connsiteX40" fmla="*/ 1931621 w 1988090"/>
                <a:gd name="connsiteY40" fmla="*/ 1695443 h 3089947"/>
                <a:gd name="connsiteX41" fmla="*/ 1988055 w 1988090"/>
                <a:gd name="connsiteY41" fmla="*/ 1551668 h 3089947"/>
                <a:gd name="connsiteX42" fmla="*/ 1861233 w 1988090"/>
                <a:gd name="connsiteY42" fmla="*/ 305552 h 3089947"/>
                <a:gd name="connsiteX43" fmla="*/ 1625465 w 1988090"/>
                <a:gd name="connsiteY43" fmla="*/ 11966 h 3089947"/>
                <a:gd name="connsiteX44" fmla="*/ 1536585 w 1988090"/>
                <a:gd name="connsiteY44" fmla="*/ 279 h 308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988090" h="3089947">
                  <a:moveTo>
                    <a:pt x="1536585" y="279"/>
                  </a:moveTo>
                  <a:cubicBezTo>
                    <a:pt x="1521939" y="971"/>
                    <a:pt x="1507676" y="3008"/>
                    <a:pt x="1493799" y="6084"/>
                  </a:cubicBezTo>
                  <a:cubicBezTo>
                    <a:pt x="1361787" y="126870"/>
                    <a:pt x="1186643" y="201257"/>
                    <a:pt x="994045" y="201257"/>
                  </a:cubicBezTo>
                  <a:cubicBezTo>
                    <a:pt x="801448" y="201257"/>
                    <a:pt x="626342" y="126870"/>
                    <a:pt x="494330" y="6122"/>
                  </a:cubicBezTo>
                  <a:cubicBezTo>
                    <a:pt x="480414" y="3047"/>
                    <a:pt x="466075" y="1009"/>
                    <a:pt x="451390" y="317"/>
                  </a:cubicBezTo>
                  <a:cubicBezTo>
                    <a:pt x="422827" y="-1028"/>
                    <a:pt x="392996" y="2432"/>
                    <a:pt x="362549" y="12004"/>
                  </a:cubicBezTo>
                  <a:cubicBezTo>
                    <a:pt x="277591" y="38683"/>
                    <a:pt x="193133" y="92772"/>
                    <a:pt x="126819" y="305590"/>
                  </a:cubicBezTo>
                  <a:cubicBezTo>
                    <a:pt x="60506" y="518408"/>
                    <a:pt x="12337" y="889994"/>
                    <a:pt x="36" y="1551706"/>
                  </a:cubicBezTo>
                  <a:cubicBezTo>
                    <a:pt x="-1002" y="1607409"/>
                    <a:pt x="20641" y="1658308"/>
                    <a:pt x="56470" y="1695481"/>
                  </a:cubicBezTo>
                  <a:cubicBezTo>
                    <a:pt x="92298" y="1732655"/>
                    <a:pt x="142312" y="1756221"/>
                    <a:pt x="198053" y="1757220"/>
                  </a:cubicBezTo>
                  <a:cubicBezTo>
                    <a:pt x="198707" y="1757220"/>
                    <a:pt x="199322" y="1757220"/>
                    <a:pt x="199975" y="1757258"/>
                  </a:cubicBezTo>
                  <a:cubicBezTo>
                    <a:pt x="200629" y="1757297"/>
                    <a:pt x="201244" y="1757258"/>
                    <a:pt x="201898" y="1757258"/>
                  </a:cubicBezTo>
                  <a:cubicBezTo>
                    <a:pt x="233920" y="1757258"/>
                    <a:pt x="264136" y="1749647"/>
                    <a:pt x="290969" y="1736154"/>
                  </a:cubicBezTo>
                  <a:cubicBezTo>
                    <a:pt x="317802" y="1722660"/>
                    <a:pt x="341214" y="1703323"/>
                    <a:pt x="359743" y="1679873"/>
                  </a:cubicBezTo>
                  <a:lnTo>
                    <a:pt x="359743" y="2240751"/>
                  </a:lnTo>
                  <a:lnTo>
                    <a:pt x="359743" y="2801628"/>
                  </a:lnTo>
                  <a:cubicBezTo>
                    <a:pt x="359743" y="2881243"/>
                    <a:pt x="391996" y="2953323"/>
                    <a:pt x="444201" y="3005489"/>
                  </a:cubicBezTo>
                  <a:cubicBezTo>
                    <a:pt x="496406" y="3057656"/>
                    <a:pt x="568447" y="3089947"/>
                    <a:pt x="648062" y="3089947"/>
                  </a:cubicBezTo>
                  <a:cubicBezTo>
                    <a:pt x="727677" y="3089947"/>
                    <a:pt x="799757" y="3057694"/>
                    <a:pt x="851923" y="3005489"/>
                  </a:cubicBezTo>
                  <a:cubicBezTo>
                    <a:pt x="904090" y="2953284"/>
                    <a:pt x="936382" y="2881243"/>
                    <a:pt x="936382" y="2801628"/>
                  </a:cubicBezTo>
                  <a:lnTo>
                    <a:pt x="936382" y="2340317"/>
                  </a:lnTo>
                  <a:lnTo>
                    <a:pt x="936382" y="1879006"/>
                  </a:lnTo>
                  <a:lnTo>
                    <a:pt x="994045" y="1879006"/>
                  </a:lnTo>
                  <a:lnTo>
                    <a:pt x="1051709" y="1879006"/>
                  </a:lnTo>
                  <a:lnTo>
                    <a:pt x="1051709" y="2340317"/>
                  </a:lnTo>
                  <a:lnTo>
                    <a:pt x="1051709" y="2801628"/>
                  </a:lnTo>
                  <a:cubicBezTo>
                    <a:pt x="1051709" y="2881243"/>
                    <a:pt x="1083962" y="2953323"/>
                    <a:pt x="1136167" y="3005489"/>
                  </a:cubicBezTo>
                  <a:cubicBezTo>
                    <a:pt x="1188372" y="3057656"/>
                    <a:pt x="1260414" y="3089947"/>
                    <a:pt x="1340029" y="3089947"/>
                  </a:cubicBezTo>
                  <a:cubicBezTo>
                    <a:pt x="1419643" y="3089947"/>
                    <a:pt x="1491723" y="3057694"/>
                    <a:pt x="1543889" y="3005489"/>
                  </a:cubicBezTo>
                  <a:cubicBezTo>
                    <a:pt x="1596056" y="2953284"/>
                    <a:pt x="1628348" y="2881243"/>
                    <a:pt x="1628348" y="2801628"/>
                  </a:cubicBezTo>
                  <a:lnTo>
                    <a:pt x="1628348" y="2263432"/>
                  </a:lnTo>
                  <a:lnTo>
                    <a:pt x="1628348" y="1725313"/>
                  </a:lnTo>
                  <a:cubicBezTo>
                    <a:pt x="1628348" y="1725274"/>
                    <a:pt x="1628348" y="1725274"/>
                    <a:pt x="1628348" y="1725236"/>
                  </a:cubicBezTo>
                  <a:cubicBezTo>
                    <a:pt x="1628348" y="1725197"/>
                    <a:pt x="1628348" y="1725197"/>
                    <a:pt x="1628348" y="1725159"/>
                  </a:cubicBezTo>
                  <a:lnTo>
                    <a:pt x="1628348" y="1702478"/>
                  </a:lnTo>
                  <a:lnTo>
                    <a:pt x="1628348" y="1679797"/>
                  </a:lnTo>
                  <a:cubicBezTo>
                    <a:pt x="1646839" y="1703247"/>
                    <a:pt x="1670289" y="1722622"/>
                    <a:pt x="1697122" y="1736115"/>
                  </a:cubicBezTo>
                  <a:cubicBezTo>
                    <a:pt x="1723955" y="1749609"/>
                    <a:pt x="1754170" y="1757220"/>
                    <a:pt x="1786193" y="1757220"/>
                  </a:cubicBezTo>
                  <a:cubicBezTo>
                    <a:pt x="1786847" y="1757220"/>
                    <a:pt x="1787461" y="1757220"/>
                    <a:pt x="1788115" y="1757220"/>
                  </a:cubicBezTo>
                  <a:cubicBezTo>
                    <a:pt x="1788769" y="1757220"/>
                    <a:pt x="1789384" y="1757220"/>
                    <a:pt x="1790037" y="1757182"/>
                  </a:cubicBezTo>
                  <a:cubicBezTo>
                    <a:pt x="1845779" y="1756144"/>
                    <a:pt x="1895793" y="1732617"/>
                    <a:pt x="1931621" y="1695443"/>
                  </a:cubicBezTo>
                  <a:cubicBezTo>
                    <a:pt x="1967450" y="1658269"/>
                    <a:pt x="1989093" y="1607371"/>
                    <a:pt x="1988055" y="1551668"/>
                  </a:cubicBezTo>
                  <a:cubicBezTo>
                    <a:pt x="1975715" y="889955"/>
                    <a:pt x="1927585" y="518370"/>
                    <a:pt x="1861233" y="305552"/>
                  </a:cubicBezTo>
                  <a:cubicBezTo>
                    <a:pt x="1794881" y="92733"/>
                    <a:pt x="1710423" y="38683"/>
                    <a:pt x="1625465" y="11966"/>
                  </a:cubicBezTo>
                  <a:cubicBezTo>
                    <a:pt x="1594980" y="2393"/>
                    <a:pt x="1565148" y="-1066"/>
                    <a:pt x="1536585" y="27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3C70C15B-85B8-440C-8269-C20AB55AAE13}"/>
                </a:ext>
              </a:extLst>
            </p:cNvPr>
            <p:cNvSpPr/>
            <p:nvPr/>
          </p:nvSpPr>
          <p:spPr>
            <a:xfrm>
              <a:off x="-3541246" y="2609288"/>
              <a:ext cx="1176265" cy="1176265"/>
            </a:xfrm>
            <a:custGeom>
              <a:avLst/>
              <a:gdLst>
                <a:gd name="connsiteX0" fmla="*/ 1176266 w 1176265"/>
                <a:gd name="connsiteY0" fmla="*/ 588133 h 1176265"/>
                <a:gd name="connsiteX1" fmla="*/ 588133 w 1176265"/>
                <a:gd name="connsiteY1" fmla="*/ 1176266 h 1176265"/>
                <a:gd name="connsiteX2" fmla="*/ 0 w 1176265"/>
                <a:gd name="connsiteY2" fmla="*/ 588133 h 1176265"/>
                <a:gd name="connsiteX3" fmla="*/ 588133 w 1176265"/>
                <a:gd name="connsiteY3" fmla="*/ 0 h 1176265"/>
                <a:gd name="connsiteX4" fmla="*/ 1176266 w 1176265"/>
                <a:gd name="connsiteY4" fmla="*/ 588133 h 117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6265" h="1176265">
                  <a:moveTo>
                    <a:pt x="1176266" y="588133"/>
                  </a:moveTo>
                  <a:cubicBezTo>
                    <a:pt x="1176266" y="912950"/>
                    <a:pt x="912950" y="1176266"/>
                    <a:pt x="588133" y="1176266"/>
                  </a:cubicBezTo>
                  <a:cubicBezTo>
                    <a:pt x="263316" y="1176266"/>
                    <a:pt x="0" y="912950"/>
                    <a:pt x="0" y="588133"/>
                  </a:cubicBezTo>
                  <a:cubicBezTo>
                    <a:pt x="0" y="263316"/>
                    <a:pt x="263316" y="0"/>
                    <a:pt x="588133" y="0"/>
                  </a:cubicBezTo>
                  <a:cubicBezTo>
                    <a:pt x="912950" y="0"/>
                    <a:pt x="1176266" y="263316"/>
                    <a:pt x="1176266" y="5881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0F3ED2CF-2D08-471C-B77E-97A020AE4C13}"/>
                </a:ext>
              </a:extLst>
            </p:cNvPr>
            <p:cNvSpPr/>
            <p:nvPr/>
          </p:nvSpPr>
          <p:spPr>
            <a:xfrm>
              <a:off x="-1697617" y="2605328"/>
              <a:ext cx="956528" cy="4223685"/>
            </a:xfrm>
            <a:custGeom>
              <a:avLst/>
              <a:gdLst>
                <a:gd name="connsiteX0" fmla="*/ 956528 w 956528"/>
                <a:gd name="connsiteY0" fmla="*/ 4223686 h 4223685"/>
                <a:gd name="connsiteX1" fmla="*/ 956528 w 956528"/>
                <a:gd name="connsiteY1" fmla="*/ 0 h 4223685"/>
                <a:gd name="connsiteX2" fmla="*/ 900248 w 956528"/>
                <a:gd name="connsiteY2" fmla="*/ 0 h 4223685"/>
                <a:gd name="connsiteX3" fmla="*/ 900248 w 956528"/>
                <a:gd name="connsiteY3" fmla="*/ 4167445 h 4223685"/>
                <a:gd name="connsiteX4" fmla="*/ 56280 w 956528"/>
                <a:gd name="connsiteY4" fmla="*/ 4167445 h 4223685"/>
                <a:gd name="connsiteX5" fmla="*/ 56280 w 956528"/>
                <a:gd name="connsiteY5" fmla="*/ 3998643 h 4223685"/>
                <a:gd name="connsiteX6" fmla="*/ 337603 w 956528"/>
                <a:gd name="connsiteY6" fmla="*/ 3998643 h 4223685"/>
                <a:gd name="connsiteX7" fmla="*/ 337603 w 956528"/>
                <a:gd name="connsiteY7" fmla="*/ 3942363 h 4223685"/>
                <a:gd name="connsiteX8" fmla="*/ 56280 w 956528"/>
                <a:gd name="connsiteY8" fmla="*/ 3942363 h 4223685"/>
                <a:gd name="connsiteX9" fmla="*/ 56280 w 956528"/>
                <a:gd name="connsiteY9" fmla="*/ 3773562 h 4223685"/>
                <a:gd name="connsiteX10" fmla="*/ 337603 w 956528"/>
                <a:gd name="connsiteY10" fmla="*/ 3773562 h 4223685"/>
                <a:gd name="connsiteX11" fmla="*/ 337603 w 956528"/>
                <a:gd name="connsiteY11" fmla="*/ 3717321 h 4223685"/>
                <a:gd name="connsiteX12" fmla="*/ 56280 w 956528"/>
                <a:gd name="connsiteY12" fmla="*/ 3717321 h 4223685"/>
                <a:gd name="connsiteX13" fmla="*/ 56280 w 956528"/>
                <a:gd name="connsiteY13" fmla="*/ 3548519 h 4223685"/>
                <a:gd name="connsiteX14" fmla="*/ 337603 w 956528"/>
                <a:gd name="connsiteY14" fmla="*/ 3548519 h 4223685"/>
                <a:gd name="connsiteX15" fmla="*/ 337603 w 956528"/>
                <a:gd name="connsiteY15" fmla="*/ 3492239 h 4223685"/>
                <a:gd name="connsiteX16" fmla="*/ 56280 w 956528"/>
                <a:gd name="connsiteY16" fmla="*/ 3492239 h 4223685"/>
                <a:gd name="connsiteX17" fmla="*/ 56280 w 956528"/>
                <a:gd name="connsiteY17" fmla="*/ 3323438 h 4223685"/>
                <a:gd name="connsiteX18" fmla="*/ 675205 w 956528"/>
                <a:gd name="connsiteY18" fmla="*/ 3323438 h 4223685"/>
                <a:gd name="connsiteX19" fmla="*/ 675205 w 956528"/>
                <a:gd name="connsiteY19" fmla="*/ 3267158 h 4223685"/>
                <a:gd name="connsiteX20" fmla="*/ 56280 w 956528"/>
                <a:gd name="connsiteY20" fmla="*/ 3267158 h 4223685"/>
                <a:gd name="connsiteX21" fmla="*/ 56280 w 956528"/>
                <a:gd name="connsiteY21" fmla="*/ 3098395 h 4223685"/>
                <a:gd name="connsiteX22" fmla="*/ 337603 w 956528"/>
                <a:gd name="connsiteY22" fmla="*/ 3098395 h 4223685"/>
                <a:gd name="connsiteX23" fmla="*/ 337603 w 956528"/>
                <a:gd name="connsiteY23" fmla="*/ 3042115 h 4223685"/>
                <a:gd name="connsiteX24" fmla="*/ 56280 w 956528"/>
                <a:gd name="connsiteY24" fmla="*/ 3042115 h 4223685"/>
                <a:gd name="connsiteX25" fmla="*/ 56280 w 956528"/>
                <a:gd name="connsiteY25" fmla="*/ 2873314 h 4223685"/>
                <a:gd name="connsiteX26" fmla="*/ 337603 w 956528"/>
                <a:gd name="connsiteY26" fmla="*/ 2873314 h 4223685"/>
                <a:gd name="connsiteX27" fmla="*/ 337603 w 956528"/>
                <a:gd name="connsiteY27" fmla="*/ 2817034 h 4223685"/>
                <a:gd name="connsiteX28" fmla="*/ 56280 w 956528"/>
                <a:gd name="connsiteY28" fmla="*/ 2817034 h 4223685"/>
                <a:gd name="connsiteX29" fmla="*/ 56280 w 956528"/>
                <a:gd name="connsiteY29" fmla="*/ 2648233 h 4223685"/>
                <a:gd name="connsiteX30" fmla="*/ 337603 w 956528"/>
                <a:gd name="connsiteY30" fmla="*/ 2648233 h 4223685"/>
                <a:gd name="connsiteX31" fmla="*/ 337603 w 956528"/>
                <a:gd name="connsiteY31" fmla="*/ 2591991 h 4223685"/>
                <a:gd name="connsiteX32" fmla="*/ 56280 w 956528"/>
                <a:gd name="connsiteY32" fmla="*/ 2591991 h 4223685"/>
                <a:gd name="connsiteX33" fmla="*/ 56280 w 956528"/>
                <a:gd name="connsiteY33" fmla="*/ 2423190 h 4223685"/>
                <a:gd name="connsiteX34" fmla="*/ 675205 w 956528"/>
                <a:gd name="connsiteY34" fmla="*/ 2423190 h 4223685"/>
                <a:gd name="connsiteX35" fmla="*/ 675205 w 956528"/>
                <a:gd name="connsiteY35" fmla="*/ 2366909 h 4223685"/>
                <a:gd name="connsiteX36" fmla="*/ 56280 w 956528"/>
                <a:gd name="connsiteY36" fmla="*/ 2366909 h 4223685"/>
                <a:gd name="connsiteX37" fmla="*/ 56280 w 956528"/>
                <a:gd name="connsiteY37" fmla="*/ 2198108 h 4223685"/>
                <a:gd name="connsiteX38" fmla="*/ 337603 w 956528"/>
                <a:gd name="connsiteY38" fmla="*/ 2198108 h 4223685"/>
                <a:gd name="connsiteX39" fmla="*/ 337603 w 956528"/>
                <a:gd name="connsiteY39" fmla="*/ 2141867 h 4223685"/>
                <a:gd name="connsiteX40" fmla="*/ 56280 w 956528"/>
                <a:gd name="connsiteY40" fmla="*/ 2141867 h 4223685"/>
                <a:gd name="connsiteX41" fmla="*/ 56280 w 956528"/>
                <a:gd name="connsiteY41" fmla="*/ 1973065 h 4223685"/>
                <a:gd name="connsiteX42" fmla="*/ 337603 w 956528"/>
                <a:gd name="connsiteY42" fmla="*/ 1973065 h 4223685"/>
                <a:gd name="connsiteX43" fmla="*/ 337603 w 956528"/>
                <a:gd name="connsiteY43" fmla="*/ 1916785 h 4223685"/>
                <a:gd name="connsiteX44" fmla="*/ 56280 w 956528"/>
                <a:gd name="connsiteY44" fmla="*/ 1916785 h 4223685"/>
                <a:gd name="connsiteX45" fmla="*/ 56280 w 956528"/>
                <a:gd name="connsiteY45" fmla="*/ 1747984 h 4223685"/>
                <a:gd name="connsiteX46" fmla="*/ 337603 w 956528"/>
                <a:gd name="connsiteY46" fmla="*/ 1747984 h 4223685"/>
                <a:gd name="connsiteX47" fmla="*/ 337603 w 956528"/>
                <a:gd name="connsiteY47" fmla="*/ 1691704 h 4223685"/>
                <a:gd name="connsiteX48" fmla="*/ 56280 w 956528"/>
                <a:gd name="connsiteY48" fmla="*/ 1691704 h 4223685"/>
                <a:gd name="connsiteX49" fmla="*/ 56280 w 956528"/>
                <a:gd name="connsiteY49" fmla="*/ 1522941 h 4223685"/>
                <a:gd name="connsiteX50" fmla="*/ 675205 w 956528"/>
                <a:gd name="connsiteY50" fmla="*/ 1522941 h 4223685"/>
                <a:gd name="connsiteX51" fmla="*/ 675205 w 956528"/>
                <a:gd name="connsiteY51" fmla="*/ 1466661 h 4223685"/>
                <a:gd name="connsiteX52" fmla="*/ 56280 w 956528"/>
                <a:gd name="connsiteY52" fmla="*/ 1466661 h 4223685"/>
                <a:gd name="connsiteX53" fmla="*/ 56280 w 956528"/>
                <a:gd name="connsiteY53" fmla="*/ 1297860 h 4223685"/>
                <a:gd name="connsiteX54" fmla="*/ 337603 w 956528"/>
                <a:gd name="connsiteY54" fmla="*/ 1297860 h 4223685"/>
                <a:gd name="connsiteX55" fmla="*/ 337603 w 956528"/>
                <a:gd name="connsiteY55" fmla="*/ 1241580 h 4223685"/>
                <a:gd name="connsiteX56" fmla="*/ 56280 w 956528"/>
                <a:gd name="connsiteY56" fmla="*/ 1241580 h 4223685"/>
                <a:gd name="connsiteX57" fmla="*/ 56280 w 956528"/>
                <a:gd name="connsiteY57" fmla="*/ 1072779 h 4223685"/>
                <a:gd name="connsiteX58" fmla="*/ 337603 w 956528"/>
                <a:gd name="connsiteY58" fmla="*/ 1072779 h 4223685"/>
                <a:gd name="connsiteX59" fmla="*/ 337603 w 956528"/>
                <a:gd name="connsiteY59" fmla="*/ 1016537 h 4223685"/>
                <a:gd name="connsiteX60" fmla="*/ 56280 w 956528"/>
                <a:gd name="connsiteY60" fmla="*/ 1016537 h 4223685"/>
                <a:gd name="connsiteX61" fmla="*/ 56280 w 956528"/>
                <a:gd name="connsiteY61" fmla="*/ 847736 h 4223685"/>
                <a:gd name="connsiteX62" fmla="*/ 337603 w 956528"/>
                <a:gd name="connsiteY62" fmla="*/ 847736 h 4223685"/>
                <a:gd name="connsiteX63" fmla="*/ 337603 w 956528"/>
                <a:gd name="connsiteY63" fmla="*/ 791456 h 4223685"/>
                <a:gd name="connsiteX64" fmla="*/ 56280 w 956528"/>
                <a:gd name="connsiteY64" fmla="*/ 791456 h 4223685"/>
                <a:gd name="connsiteX65" fmla="*/ 56280 w 956528"/>
                <a:gd name="connsiteY65" fmla="*/ 622654 h 4223685"/>
                <a:gd name="connsiteX66" fmla="*/ 675205 w 956528"/>
                <a:gd name="connsiteY66" fmla="*/ 622654 h 4223685"/>
                <a:gd name="connsiteX67" fmla="*/ 675205 w 956528"/>
                <a:gd name="connsiteY67" fmla="*/ 566413 h 4223685"/>
                <a:gd name="connsiteX68" fmla="*/ 56280 w 956528"/>
                <a:gd name="connsiteY68" fmla="*/ 566413 h 4223685"/>
                <a:gd name="connsiteX69" fmla="*/ 56280 w 956528"/>
                <a:gd name="connsiteY69" fmla="*/ 397612 h 4223685"/>
                <a:gd name="connsiteX70" fmla="*/ 337603 w 956528"/>
                <a:gd name="connsiteY70" fmla="*/ 397612 h 4223685"/>
                <a:gd name="connsiteX71" fmla="*/ 337603 w 956528"/>
                <a:gd name="connsiteY71" fmla="*/ 341332 h 4223685"/>
                <a:gd name="connsiteX72" fmla="*/ 56280 w 956528"/>
                <a:gd name="connsiteY72" fmla="*/ 341332 h 4223685"/>
                <a:gd name="connsiteX73" fmla="*/ 56280 w 956528"/>
                <a:gd name="connsiteY73" fmla="*/ 172530 h 4223685"/>
                <a:gd name="connsiteX74" fmla="*/ 337603 w 956528"/>
                <a:gd name="connsiteY74" fmla="*/ 172530 h 4223685"/>
                <a:gd name="connsiteX75" fmla="*/ 337603 w 956528"/>
                <a:gd name="connsiteY75" fmla="*/ 116250 h 4223685"/>
                <a:gd name="connsiteX76" fmla="*/ 56280 w 956528"/>
                <a:gd name="connsiteY76" fmla="*/ 116250 h 4223685"/>
                <a:gd name="connsiteX77" fmla="*/ 56280 w 956528"/>
                <a:gd name="connsiteY77" fmla="*/ 0 h 4223685"/>
                <a:gd name="connsiteX78" fmla="*/ 0 w 956528"/>
                <a:gd name="connsiteY78" fmla="*/ 0 h 4223685"/>
                <a:gd name="connsiteX79" fmla="*/ 0 w 956528"/>
                <a:gd name="connsiteY79" fmla="*/ 4223686 h 4223685"/>
                <a:gd name="connsiteX80" fmla="*/ 56280 w 956528"/>
                <a:gd name="connsiteY80" fmla="*/ 4223686 h 4223685"/>
                <a:gd name="connsiteX81" fmla="*/ 900248 w 956528"/>
                <a:gd name="connsiteY81" fmla="*/ 4223686 h 422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956528" h="4223685">
                  <a:moveTo>
                    <a:pt x="956528" y="4223686"/>
                  </a:moveTo>
                  <a:lnTo>
                    <a:pt x="956528" y="0"/>
                  </a:lnTo>
                  <a:lnTo>
                    <a:pt x="900248" y="0"/>
                  </a:lnTo>
                  <a:lnTo>
                    <a:pt x="900248" y="4167445"/>
                  </a:lnTo>
                  <a:lnTo>
                    <a:pt x="56280" y="4167445"/>
                  </a:lnTo>
                  <a:lnTo>
                    <a:pt x="56280" y="3998643"/>
                  </a:lnTo>
                  <a:lnTo>
                    <a:pt x="337603" y="3998643"/>
                  </a:lnTo>
                  <a:lnTo>
                    <a:pt x="337603" y="3942363"/>
                  </a:lnTo>
                  <a:lnTo>
                    <a:pt x="56280" y="3942363"/>
                  </a:lnTo>
                  <a:lnTo>
                    <a:pt x="56280" y="3773562"/>
                  </a:lnTo>
                  <a:lnTo>
                    <a:pt x="337603" y="3773562"/>
                  </a:lnTo>
                  <a:lnTo>
                    <a:pt x="337603" y="3717321"/>
                  </a:lnTo>
                  <a:lnTo>
                    <a:pt x="56280" y="3717321"/>
                  </a:lnTo>
                  <a:lnTo>
                    <a:pt x="56280" y="3548519"/>
                  </a:lnTo>
                  <a:lnTo>
                    <a:pt x="337603" y="3548519"/>
                  </a:lnTo>
                  <a:lnTo>
                    <a:pt x="337603" y="3492239"/>
                  </a:lnTo>
                  <a:lnTo>
                    <a:pt x="56280" y="3492239"/>
                  </a:lnTo>
                  <a:lnTo>
                    <a:pt x="56280" y="3323438"/>
                  </a:lnTo>
                  <a:lnTo>
                    <a:pt x="675205" y="3323438"/>
                  </a:lnTo>
                  <a:lnTo>
                    <a:pt x="675205" y="3267158"/>
                  </a:lnTo>
                  <a:lnTo>
                    <a:pt x="56280" y="3267158"/>
                  </a:lnTo>
                  <a:lnTo>
                    <a:pt x="56280" y="3098395"/>
                  </a:lnTo>
                  <a:lnTo>
                    <a:pt x="337603" y="3098395"/>
                  </a:lnTo>
                  <a:lnTo>
                    <a:pt x="337603" y="3042115"/>
                  </a:lnTo>
                  <a:lnTo>
                    <a:pt x="56280" y="3042115"/>
                  </a:lnTo>
                  <a:lnTo>
                    <a:pt x="56280" y="2873314"/>
                  </a:lnTo>
                  <a:lnTo>
                    <a:pt x="337603" y="2873314"/>
                  </a:lnTo>
                  <a:lnTo>
                    <a:pt x="337603" y="2817034"/>
                  </a:lnTo>
                  <a:lnTo>
                    <a:pt x="56280" y="2817034"/>
                  </a:lnTo>
                  <a:lnTo>
                    <a:pt x="56280" y="2648233"/>
                  </a:lnTo>
                  <a:lnTo>
                    <a:pt x="337603" y="2648233"/>
                  </a:lnTo>
                  <a:lnTo>
                    <a:pt x="337603" y="2591991"/>
                  </a:lnTo>
                  <a:lnTo>
                    <a:pt x="56280" y="2591991"/>
                  </a:lnTo>
                  <a:lnTo>
                    <a:pt x="56280" y="2423190"/>
                  </a:lnTo>
                  <a:lnTo>
                    <a:pt x="675205" y="2423190"/>
                  </a:lnTo>
                  <a:lnTo>
                    <a:pt x="675205" y="2366909"/>
                  </a:lnTo>
                  <a:lnTo>
                    <a:pt x="56280" y="2366909"/>
                  </a:lnTo>
                  <a:lnTo>
                    <a:pt x="56280" y="2198108"/>
                  </a:lnTo>
                  <a:lnTo>
                    <a:pt x="337603" y="2198108"/>
                  </a:lnTo>
                  <a:lnTo>
                    <a:pt x="337603" y="2141867"/>
                  </a:lnTo>
                  <a:lnTo>
                    <a:pt x="56280" y="2141867"/>
                  </a:lnTo>
                  <a:lnTo>
                    <a:pt x="56280" y="1973065"/>
                  </a:lnTo>
                  <a:lnTo>
                    <a:pt x="337603" y="1973065"/>
                  </a:lnTo>
                  <a:lnTo>
                    <a:pt x="337603" y="1916785"/>
                  </a:lnTo>
                  <a:lnTo>
                    <a:pt x="56280" y="1916785"/>
                  </a:lnTo>
                  <a:lnTo>
                    <a:pt x="56280" y="1747984"/>
                  </a:lnTo>
                  <a:lnTo>
                    <a:pt x="337603" y="1747984"/>
                  </a:lnTo>
                  <a:lnTo>
                    <a:pt x="337603" y="1691704"/>
                  </a:lnTo>
                  <a:lnTo>
                    <a:pt x="56280" y="1691704"/>
                  </a:lnTo>
                  <a:lnTo>
                    <a:pt x="56280" y="1522941"/>
                  </a:lnTo>
                  <a:lnTo>
                    <a:pt x="675205" y="1522941"/>
                  </a:lnTo>
                  <a:lnTo>
                    <a:pt x="675205" y="1466661"/>
                  </a:lnTo>
                  <a:lnTo>
                    <a:pt x="56280" y="1466661"/>
                  </a:lnTo>
                  <a:lnTo>
                    <a:pt x="56280" y="1297860"/>
                  </a:lnTo>
                  <a:lnTo>
                    <a:pt x="337603" y="1297860"/>
                  </a:lnTo>
                  <a:lnTo>
                    <a:pt x="337603" y="1241580"/>
                  </a:lnTo>
                  <a:lnTo>
                    <a:pt x="56280" y="1241580"/>
                  </a:lnTo>
                  <a:lnTo>
                    <a:pt x="56280" y="1072779"/>
                  </a:lnTo>
                  <a:lnTo>
                    <a:pt x="337603" y="1072779"/>
                  </a:lnTo>
                  <a:lnTo>
                    <a:pt x="337603" y="1016537"/>
                  </a:lnTo>
                  <a:lnTo>
                    <a:pt x="56280" y="1016537"/>
                  </a:lnTo>
                  <a:lnTo>
                    <a:pt x="56280" y="847736"/>
                  </a:lnTo>
                  <a:lnTo>
                    <a:pt x="337603" y="847736"/>
                  </a:lnTo>
                  <a:lnTo>
                    <a:pt x="337603" y="791456"/>
                  </a:lnTo>
                  <a:lnTo>
                    <a:pt x="56280" y="791456"/>
                  </a:lnTo>
                  <a:lnTo>
                    <a:pt x="56280" y="622654"/>
                  </a:lnTo>
                  <a:lnTo>
                    <a:pt x="675205" y="622654"/>
                  </a:lnTo>
                  <a:lnTo>
                    <a:pt x="675205" y="566413"/>
                  </a:lnTo>
                  <a:lnTo>
                    <a:pt x="56280" y="566413"/>
                  </a:lnTo>
                  <a:lnTo>
                    <a:pt x="56280" y="397612"/>
                  </a:lnTo>
                  <a:lnTo>
                    <a:pt x="337603" y="397612"/>
                  </a:lnTo>
                  <a:lnTo>
                    <a:pt x="337603" y="341332"/>
                  </a:lnTo>
                  <a:lnTo>
                    <a:pt x="56280" y="341332"/>
                  </a:lnTo>
                  <a:lnTo>
                    <a:pt x="56280" y="172530"/>
                  </a:lnTo>
                  <a:lnTo>
                    <a:pt x="337603" y="172530"/>
                  </a:lnTo>
                  <a:lnTo>
                    <a:pt x="337603" y="116250"/>
                  </a:lnTo>
                  <a:lnTo>
                    <a:pt x="56280" y="116250"/>
                  </a:lnTo>
                  <a:lnTo>
                    <a:pt x="56280" y="0"/>
                  </a:lnTo>
                  <a:lnTo>
                    <a:pt x="0" y="0"/>
                  </a:lnTo>
                  <a:lnTo>
                    <a:pt x="0" y="4223686"/>
                  </a:lnTo>
                  <a:lnTo>
                    <a:pt x="56280" y="4223686"/>
                  </a:lnTo>
                  <a:lnTo>
                    <a:pt x="900248" y="42236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4BB59692-5282-4B5B-A482-3266B5E140F5}"/>
                </a:ext>
              </a:extLst>
            </p:cNvPr>
            <p:cNvSpPr/>
            <p:nvPr/>
          </p:nvSpPr>
          <p:spPr>
            <a:xfrm>
              <a:off x="-1697617" y="1719597"/>
              <a:ext cx="337603" cy="538326"/>
            </a:xfrm>
            <a:custGeom>
              <a:avLst/>
              <a:gdLst>
                <a:gd name="connsiteX0" fmla="*/ 0 w 337603"/>
                <a:gd name="connsiteY0" fmla="*/ 0 h 538326"/>
                <a:gd name="connsiteX1" fmla="*/ 56280 w 337603"/>
                <a:gd name="connsiteY1" fmla="*/ 0 h 538326"/>
                <a:gd name="connsiteX2" fmla="*/ 56280 w 337603"/>
                <a:gd name="connsiteY2" fmla="*/ 101734 h 538326"/>
                <a:gd name="connsiteX3" fmla="*/ 337603 w 337603"/>
                <a:gd name="connsiteY3" fmla="*/ 101734 h 538326"/>
                <a:gd name="connsiteX4" fmla="*/ 337603 w 337603"/>
                <a:gd name="connsiteY4" fmla="*/ 158014 h 538326"/>
                <a:gd name="connsiteX5" fmla="*/ 56280 w 337603"/>
                <a:gd name="connsiteY5" fmla="*/ 158014 h 538326"/>
                <a:gd name="connsiteX6" fmla="*/ 56280 w 337603"/>
                <a:gd name="connsiteY6" fmla="*/ 326815 h 538326"/>
                <a:gd name="connsiteX7" fmla="*/ 337603 w 337603"/>
                <a:gd name="connsiteY7" fmla="*/ 326815 h 538326"/>
                <a:gd name="connsiteX8" fmla="*/ 337603 w 337603"/>
                <a:gd name="connsiteY8" fmla="*/ 383056 h 538326"/>
                <a:gd name="connsiteX9" fmla="*/ 56280 w 337603"/>
                <a:gd name="connsiteY9" fmla="*/ 383056 h 538326"/>
                <a:gd name="connsiteX10" fmla="*/ 56280 w 337603"/>
                <a:gd name="connsiteY10" fmla="*/ 538326 h 538326"/>
                <a:gd name="connsiteX11" fmla="*/ 0 w 337603"/>
                <a:gd name="connsiteY11" fmla="*/ 538326 h 538326"/>
                <a:gd name="connsiteX12" fmla="*/ 0 w 337603"/>
                <a:gd name="connsiteY12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7603" h="538326">
                  <a:moveTo>
                    <a:pt x="0" y="0"/>
                  </a:moveTo>
                  <a:lnTo>
                    <a:pt x="56280" y="0"/>
                  </a:lnTo>
                  <a:lnTo>
                    <a:pt x="56280" y="101734"/>
                  </a:lnTo>
                  <a:lnTo>
                    <a:pt x="337603" y="101734"/>
                  </a:lnTo>
                  <a:lnTo>
                    <a:pt x="337603" y="158014"/>
                  </a:lnTo>
                  <a:lnTo>
                    <a:pt x="56280" y="158014"/>
                  </a:lnTo>
                  <a:lnTo>
                    <a:pt x="56280" y="326815"/>
                  </a:lnTo>
                  <a:lnTo>
                    <a:pt x="337603" y="326815"/>
                  </a:lnTo>
                  <a:lnTo>
                    <a:pt x="337603" y="383056"/>
                  </a:lnTo>
                  <a:lnTo>
                    <a:pt x="56280" y="383056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09552684-4B4C-4634-8DF7-26C3436AA1B4}"/>
                </a:ext>
              </a:extLst>
            </p:cNvPr>
            <p:cNvSpPr/>
            <p:nvPr/>
          </p:nvSpPr>
          <p:spPr>
            <a:xfrm>
              <a:off x="-797368" y="1719597"/>
              <a:ext cx="56280" cy="538326"/>
            </a:xfrm>
            <a:custGeom>
              <a:avLst/>
              <a:gdLst>
                <a:gd name="connsiteX0" fmla="*/ 0 w 56280"/>
                <a:gd name="connsiteY0" fmla="*/ 0 h 538326"/>
                <a:gd name="connsiteX1" fmla="*/ 56280 w 56280"/>
                <a:gd name="connsiteY1" fmla="*/ 0 h 538326"/>
                <a:gd name="connsiteX2" fmla="*/ 56280 w 56280"/>
                <a:gd name="connsiteY2" fmla="*/ 538326 h 538326"/>
                <a:gd name="connsiteX3" fmla="*/ 0 w 56280"/>
                <a:gd name="connsiteY3" fmla="*/ 538326 h 538326"/>
                <a:gd name="connsiteX4" fmla="*/ 0 w 56280"/>
                <a:gd name="connsiteY4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80" h="538326">
                  <a:moveTo>
                    <a:pt x="0" y="0"/>
                  </a:moveTo>
                  <a:lnTo>
                    <a:pt x="56280" y="0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</p:grpSp>
      <p:sp>
        <p:nvSpPr>
          <p:cNvPr id="60" name="Round Same-side Corner of Rectangle 79">
            <a:extLst>
              <a:ext uri="{FF2B5EF4-FFF2-40B4-BE49-F238E27FC236}">
                <a16:creationId xmlns:a16="http://schemas.microsoft.com/office/drawing/2014/main" id="{69686CC1-ED40-471F-8316-2643920F7103}"/>
              </a:ext>
            </a:extLst>
          </p:cNvPr>
          <p:cNvSpPr/>
          <p:nvPr userDrawn="1"/>
        </p:nvSpPr>
        <p:spPr>
          <a:xfrm rot="5400000">
            <a:off x="10613117" y="550943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1" name="TextBox 60">
            <a:hlinkClick r:id="" action="ppaction://noaction"/>
            <a:extLst>
              <a:ext uri="{FF2B5EF4-FFF2-40B4-BE49-F238E27FC236}">
                <a16:creationId xmlns:a16="http://schemas.microsoft.com/office/drawing/2014/main" id="{B44CA098-B8B7-4755-B37F-F1794D389EB9}"/>
              </a:ext>
            </a:extLst>
          </p:cNvPr>
          <p:cNvSpPr txBox="1"/>
          <p:nvPr userDrawn="1"/>
        </p:nvSpPr>
        <p:spPr>
          <a:xfrm>
            <a:off x="10870644" y="555078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62" name="Round Same-side Corner of Rectangle 79">
            <a:extLst>
              <a:ext uri="{FF2B5EF4-FFF2-40B4-BE49-F238E27FC236}">
                <a16:creationId xmlns:a16="http://schemas.microsoft.com/office/drawing/2014/main" id="{17C06952-9709-477D-8B5C-C442FDB6D78D}"/>
              </a:ext>
            </a:extLst>
          </p:cNvPr>
          <p:cNvSpPr/>
          <p:nvPr userDrawn="1"/>
        </p:nvSpPr>
        <p:spPr>
          <a:xfrm rot="5400000">
            <a:off x="10613117" y="5784862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3" name="TextBox 62">
            <a:hlinkClick r:id="" action="ppaction://noaction"/>
            <a:extLst>
              <a:ext uri="{FF2B5EF4-FFF2-40B4-BE49-F238E27FC236}">
                <a16:creationId xmlns:a16="http://schemas.microsoft.com/office/drawing/2014/main" id="{628D40A3-A77B-4345-8BAB-2A3718E17D07}"/>
              </a:ext>
            </a:extLst>
          </p:cNvPr>
          <p:cNvSpPr txBox="1"/>
          <p:nvPr userDrawn="1"/>
        </p:nvSpPr>
        <p:spPr>
          <a:xfrm>
            <a:off x="10870644" y="5826211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74" name="Freeform 25">
            <a:extLst>
              <a:ext uri="{FF2B5EF4-FFF2-40B4-BE49-F238E27FC236}">
                <a16:creationId xmlns:a16="http://schemas.microsoft.com/office/drawing/2014/main" id="{2B996E2A-E45C-4CF2-9A46-BDDE0E212E26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5549100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75" name="Round Same-side Corner of Rectangle 79">
            <a:extLst>
              <a:ext uri="{FF2B5EF4-FFF2-40B4-BE49-F238E27FC236}">
                <a16:creationId xmlns:a16="http://schemas.microsoft.com/office/drawing/2014/main" id="{467A6A1E-663A-493C-AA8C-CD93DE13AC15}"/>
              </a:ext>
            </a:extLst>
          </p:cNvPr>
          <p:cNvSpPr/>
          <p:nvPr userDrawn="1"/>
        </p:nvSpPr>
        <p:spPr>
          <a:xfrm rot="5400000">
            <a:off x="10615976" y="606635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76" name="TextBox 75">
            <a:hlinkClick r:id="" action="ppaction://noaction"/>
            <a:extLst>
              <a:ext uri="{FF2B5EF4-FFF2-40B4-BE49-F238E27FC236}">
                <a16:creationId xmlns:a16="http://schemas.microsoft.com/office/drawing/2014/main" id="{50357ED8-8408-4F52-AB48-3821231C2FD2}"/>
              </a:ext>
            </a:extLst>
          </p:cNvPr>
          <p:cNvSpPr txBox="1"/>
          <p:nvPr userDrawn="1"/>
        </p:nvSpPr>
        <p:spPr>
          <a:xfrm>
            <a:off x="10873503" y="6107704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77" name="Freeform 21">
            <a:extLst>
              <a:ext uri="{FF2B5EF4-FFF2-40B4-BE49-F238E27FC236}">
                <a16:creationId xmlns:a16="http://schemas.microsoft.com/office/drawing/2014/main" id="{F0DB99F8-CB26-4949-B295-471812251BD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6115929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81" name="Graphic 28" descr="List">
            <a:extLst>
              <a:ext uri="{FF2B5EF4-FFF2-40B4-BE49-F238E27FC236}">
                <a16:creationId xmlns:a16="http://schemas.microsoft.com/office/drawing/2014/main" id="{D34590AF-15FF-41D7-B769-A8D8EAF103B4}"/>
              </a:ext>
            </a:extLst>
          </p:cNvPr>
          <p:cNvGrpSpPr/>
          <p:nvPr userDrawn="1"/>
        </p:nvGrpSpPr>
        <p:grpSpPr>
          <a:xfrm>
            <a:off x="10657446" y="5818069"/>
            <a:ext cx="103548" cy="146640"/>
            <a:chOff x="981871" y="1231905"/>
            <a:chExt cx="246063" cy="317501"/>
          </a:xfrm>
        </p:grpSpPr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57029AB4-885D-49CA-9936-2BE00097FAC6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A701FE96-B5AB-45F2-886A-83EA6E120FFC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3965BB2-729F-4485-95CA-CC204B4D7DFB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E94B0104-87CC-40AE-A76D-AA2E5D8DDB59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F3B940C2-F186-4B0E-AEC8-D6EDB7D77A84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B191811C-1562-4A1B-BA69-A50903777DB5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4FC741-32CF-44D1-853A-8A993D34134F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BF6A2104-F43B-4734-8C4A-AEAD28593AE5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FEE45B8A-B390-45BD-9337-E5EC046FB73B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80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26F709F4-5149-4F7D-B744-83C2B73C43F1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2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14811F12-0BC8-4CA7-AAB3-94D462A8EC66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2FDB03BA-F7D8-403F-BDF3-01EB444EAF1C}"/>
              </a:ext>
            </a:extLst>
          </p:cNvPr>
          <p:cNvSpPr/>
          <p:nvPr userDrawn="1"/>
        </p:nvSpPr>
        <p:spPr>
          <a:xfrm rot="5400000">
            <a:off x="11280167" y="4840571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7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2A97C694-0E53-4E98-99A6-B804B11E572B}"/>
              </a:ext>
            </a:extLst>
          </p:cNvPr>
          <p:cNvSpPr/>
          <p:nvPr userDrawn="1"/>
        </p:nvSpPr>
        <p:spPr>
          <a:xfrm rot="5400000">
            <a:off x="11280167" y="5116475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9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CB93528E-333E-4F2E-8D72-427C89BE984A}"/>
              </a:ext>
            </a:extLst>
          </p:cNvPr>
          <p:cNvSpPr/>
          <p:nvPr userDrawn="1"/>
        </p:nvSpPr>
        <p:spPr>
          <a:xfrm rot="5400000">
            <a:off x="11280167" y="5392379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0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D1B6D3FE-7E86-46D6-AB6A-73D271445C92}"/>
              </a:ext>
            </a:extLst>
          </p:cNvPr>
          <p:cNvSpPr/>
          <p:nvPr userDrawn="1"/>
        </p:nvSpPr>
        <p:spPr>
          <a:xfrm rot="5400000">
            <a:off x="11280458" y="1280117"/>
            <a:ext cx="349171" cy="1467562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1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80C484BB-3ECE-4EC3-B279-22076A7FEEFA}"/>
              </a:ext>
            </a:extLst>
          </p:cNvPr>
          <p:cNvSpPr/>
          <p:nvPr userDrawn="1"/>
        </p:nvSpPr>
        <p:spPr>
          <a:xfrm rot="5400000">
            <a:off x="11473096" y="192820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2" name="Round Same-side Corner of Rectangle 79">
            <a:hlinkClick r:id="rId5" action="ppaction://hlinksldjump"/>
            <a:extLst>
              <a:ext uri="{FF2B5EF4-FFF2-40B4-BE49-F238E27FC236}">
                <a16:creationId xmlns:a16="http://schemas.microsoft.com/office/drawing/2014/main" id="{FE4C4392-BA76-4B8E-A657-0AABF4D6F362}"/>
              </a:ext>
            </a:extLst>
          </p:cNvPr>
          <p:cNvSpPr/>
          <p:nvPr userDrawn="1"/>
        </p:nvSpPr>
        <p:spPr>
          <a:xfrm rot="5400000">
            <a:off x="11473096" y="2380734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D26F50BF-E47E-4C8F-8EE9-C61585EB6167}"/>
              </a:ext>
            </a:extLst>
          </p:cNvPr>
          <p:cNvSpPr/>
          <p:nvPr userDrawn="1"/>
        </p:nvSpPr>
        <p:spPr>
          <a:xfrm rot="5400000">
            <a:off x="11473096" y="2833262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CB09C4CD-F052-4ECE-996C-0DA8C9B79BF8}"/>
              </a:ext>
            </a:extLst>
          </p:cNvPr>
          <p:cNvSpPr/>
          <p:nvPr userDrawn="1"/>
        </p:nvSpPr>
        <p:spPr>
          <a:xfrm rot="5400000">
            <a:off x="11473096" y="3285790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2B048184-7DC5-475D-B669-9A63E0D358DF}"/>
              </a:ext>
            </a:extLst>
          </p:cNvPr>
          <p:cNvSpPr/>
          <p:nvPr userDrawn="1"/>
        </p:nvSpPr>
        <p:spPr>
          <a:xfrm rot="5400000">
            <a:off x="11473096" y="3738318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6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49A9221A-4CCB-404F-9770-3807FF6905B6}"/>
              </a:ext>
            </a:extLst>
          </p:cNvPr>
          <p:cNvSpPr/>
          <p:nvPr userDrawn="1"/>
        </p:nvSpPr>
        <p:spPr>
          <a:xfrm rot="5400000">
            <a:off x="11473096" y="419084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7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75313764-A289-4A2E-B71F-78A6EA238AB3}"/>
              </a:ext>
            </a:extLst>
          </p:cNvPr>
          <p:cNvSpPr/>
          <p:nvPr userDrawn="1"/>
        </p:nvSpPr>
        <p:spPr>
          <a:xfrm rot="5400000">
            <a:off x="11473096" y="464337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3284928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Pilla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7E2A195-B06D-4584-B1F4-D376ADAD1C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964243" y="0"/>
            <a:ext cx="10105007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52DACC8-F68A-4E7E-B68C-7F1399D9114E}"/>
              </a:ext>
            </a:extLst>
          </p:cNvPr>
          <p:cNvSpPr/>
          <p:nvPr userDrawn="1"/>
        </p:nvSpPr>
        <p:spPr>
          <a:xfrm>
            <a:off x="2072100" y="6705600"/>
            <a:ext cx="8044625" cy="15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800">
                <a:solidFill>
                  <a:schemeClr val="tx1"/>
                </a:solidFill>
                <a:ea typeface="MS PGothic" pitchFamily="34" charset="-128"/>
              </a:rPr>
              <a:t>Pfizer Confidential – Internal Use Only, Not for Further Distribution</a:t>
            </a:r>
            <a:endParaRPr lang="en-US" sz="800">
              <a:solidFill>
                <a:schemeClr val="tx1"/>
              </a:solidFill>
              <a:ea typeface="MS PGothic" pitchFamily="34" charset="-128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C514C5-2143-4E16-837F-CF028230C903}"/>
              </a:ext>
            </a:extLst>
          </p:cNvPr>
          <p:cNvSpPr/>
          <p:nvPr userDrawn="1"/>
        </p:nvSpPr>
        <p:spPr>
          <a:xfrm>
            <a:off x="0" y="0"/>
            <a:ext cx="2011157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E1FD921-B9B9-4E01-8593-A27B37592D89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27281B-F7F1-4E3B-B238-0D64683B763A}"/>
              </a:ext>
            </a:extLst>
          </p:cNvPr>
          <p:cNvSpPr/>
          <p:nvPr userDrawn="1"/>
        </p:nvSpPr>
        <p:spPr>
          <a:xfrm>
            <a:off x="1897132" y="0"/>
            <a:ext cx="138452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3941344-CBA3-46F5-9801-595985401D8A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D2612D66-723A-4927-9CE6-16C13A003646}"/>
              </a:ext>
            </a:extLst>
          </p:cNvPr>
          <p:cNvSpPr/>
          <p:nvPr/>
        </p:nvSpPr>
        <p:spPr>
          <a:xfrm>
            <a:off x="0" y="141677"/>
            <a:ext cx="324007" cy="6853150"/>
          </a:xfrm>
          <a:custGeom>
            <a:avLst/>
            <a:gdLst>
              <a:gd name="connsiteX0" fmla="*/ 0 w 324091"/>
              <a:gd name="connsiteY0" fmla="*/ 6807430 h 6853150"/>
              <a:gd name="connsiteX1" fmla="*/ 81776 w 324091"/>
              <a:gd name="connsiteY1" fmla="*/ 6807430 h 6853150"/>
              <a:gd name="connsiteX2" fmla="*/ 104636 w 324091"/>
              <a:gd name="connsiteY2" fmla="*/ 6830290 h 6853150"/>
              <a:gd name="connsiteX3" fmla="*/ 104635 w 324091"/>
              <a:gd name="connsiteY3" fmla="*/ 6830290 h 6853150"/>
              <a:gd name="connsiteX4" fmla="*/ 81775 w 324091"/>
              <a:gd name="connsiteY4" fmla="*/ 6853150 h 6853150"/>
              <a:gd name="connsiteX5" fmla="*/ 0 w 324091"/>
              <a:gd name="connsiteY5" fmla="*/ 6853150 h 6853150"/>
              <a:gd name="connsiteX6" fmla="*/ 0 w 324091"/>
              <a:gd name="connsiteY6" fmla="*/ 6653902 h 6853150"/>
              <a:gd name="connsiteX7" fmla="*/ 173216 w 324091"/>
              <a:gd name="connsiteY7" fmla="*/ 6653902 h 6853150"/>
              <a:gd name="connsiteX8" fmla="*/ 196076 w 324091"/>
              <a:gd name="connsiteY8" fmla="*/ 6676762 h 6853150"/>
              <a:gd name="connsiteX9" fmla="*/ 196075 w 324091"/>
              <a:gd name="connsiteY9" fmla="*/ 6676762 h 6853150"/>
              <a:gd name="connsiteX10" fmla="*/ 173215 w 324091"/>
              <a:gd name="connsiteY10" fmla="*/ 6699622 h 6853150"/>
              <a:gd name="connsiteX11" fmla="*/ 0 w 324091"/>
              <a:gd name="connsiteY11" fmla="*/ 6699622 h 6853150"/>
              <a:gd name="connsiteX12" fmla="*/ 0 w 324091"/>
              <a:gd name="connsiteY12" fmla="*/ 6500374 h 6853150"/>
              <a:gd name="connsiteX13" fmla="*/ 81776 w 324091"/>
              <a:gd name="connsiteY13" fmla="*/ 6500374 h 6853150"/>
              <a:gd name="connsiteX14" fmla="*/ 104636 w 324091"/>
              <a:gd name="connsiteY14" fmla="*/ 6523234 h 6853150"/>
              <a:gd name="connsiteX15" fmla="*/ 104635 w 324091"/>
              <a:gd name="connsiteY15" fmla="*/ 6523234 h 6853150"/>
              <a:gd name="connsiteX16" fmla="*/ 81775 w 324091"/>
              <a:gd name="connsiteY16" fmla="*/ 6546094 h 6853150"/>
              <a:gd name="connsiteX17" fmla="*/ 0 w 324091"/>
              <a:gd name="connsiteY17" fmla="*/ 6546094 h 6853150"/>
              <a:gd name="connsiteX18" fmla="*/ 0 w 324091"/>
              <a:gd name="connsiteY18" fmla="*/ 6302591 h 6853150"/>
              <a:gd name="connsiteX19" fmla="*/ 279104 w 324091"/>
              <a:gd name="connsiteY19" fmla="*/ 6302591 h 6853150"/>
              <a:gd name="connsiteX20" fmla="*/ 324091 w 324091"/>
              <a:gd name="connsiteY20" fmla="*/ 6347578 h 6853150"/>
              <a:gd name="connsiteX21" fmla="*/ 279104 w 324091"/>
              <a:gd name="connsiteY21" fmla="*/ 6392565 h 6853150"/>
              <a:gd name="connsiteX22" fmla="*/ 0 w 324091"/>
              <a:gd name="connsiteY22" fmla="*/ 6392565 h 6853150"/>
              <a:gd name="connsiteX23" fmla="*/ 0 w 324091"/>
              <a:gd name="connsiteY23" fmla="*/ 6124755 h 6853150"/>
              <a:gd name="connsiteX24" fmla="*/ 81776 w 324091"/>
              <a:gd name="connsiteY24" fmla="*/ 6124755 h 6853150"/>
              <a:gd name="connsiteX25" fmla="*/ 104636 w 324091"/>
              <a:gd name="connsiteY25" fmla="*/ 6147615 h 6853150"/>
              <a:gd name="connsiteX26" fmla="*/ 104635 w 324091"/>
              <a:gd name="connsiteY26" fmla="*/ 6147615 h 6853150"/>
              <a:gd name="connsiteX27" fmla="*/ 81775 w 324091"/>
              <a:gd name="connsiteY27" fmla="*/ 6170475 h 6853150"/>
              <a:gd name="connsiteX28" fmla="*/ 0 w 324091"/>
              <a:gd name="connsiteY28" fmla="*/ 6170475 h 6853150"/>
              <a:gd name="connsiteX29" fmla="*/ 0 w 324091"/>
              <a:gd name="connsiteY29" fmla="*/ 5971227 h 6853150"/>
              <a:gd name="connsiteX30" fmla="*/ 173216 w 324091"/>
              <a:gd name="connsiteY30" fmla="*/ 5971227 h 6853150"/>
              <a:gd name="connsiteX31" fmla="*/ 196076 w 324091"/>
              <a:gd name="connsiteY31" fmla="*/ 5994087 h 6853150"/>
              <a:gd name="connsiteX32" fmla="*/ 196075 w 324091"/>
              <a:gd name="connsiteY32" fmla="*/ 5994087 h 6853150"/>
              <a:gd name="connsiteX33" fmla="*/ 173215 w 324091"/>
              <a:gd name="connsiteY33" fmla="*/ 6016947 h 6853150"/>
              <a:gd name="connsiteX34" fmla="*/ 0 w 324091"/>
              <a:gd name="connsiteY34" fmla="*/ 6016947 h 6853150"/>
              <a:gd name="connsiteX35" fmla="*/ 0 w 324091"/>
              <a:gd name="connsiteY35" fmla="*/ 5817699 h 6853150"/>
              <a:gd name="connsiteX36" fmla="*/ 81776 w 324091"/>
              <a:gd name="connsiteY36" fmla="*/ 5817699 h 6853150"/>
              <a:gd name="connsiteX37" fmla="*/ 104636 w 324091"/>
              <a:gd name="connsiteY37" fmla="*/ 5840559 h 6853150"/>
              <a:gd name="connsiteX38" fmla="*/ 104635 w 324091"/>
              <a:gd name="connsiteY38" fmla="*/ 5840559 h 6853150"/>
              <a:gd name="connsiteX39" fmla="*/ 81775 w 324091"/>
              <a:gd name="connsiteY39" fmla="*/ 5863419 h 6853150"/>
              <a:gd name="connsiteX40" fmla="*/ 0 w 324091"/>
              <a:gd name="connsiteY40" fmla="*/ 5863419 h 6853150"/>
              <a:gd name="connsiteX41" fmla="*/ 0 w 324091"/>
              <a:gd name="connsiteY41" fmla="*/ 5619916 h 6853150"/>
              <a:gd name="connsiteX42" fmla="*/ 279104 w 324091"/>
              <a:gd name="connsiteY42" fmla="*/ 5619916 h 6853150"/>
              <a:gd name="connsiteX43" fmla="*/ 324091 w 324091"/>
              <a:gd name="connsiteY43" fmla="*/ 5664903 h 6853150"/>
              <a:gd name="connsiteX44" fmla="*/ 279104 w 324091"/>
              <a:gd name="connsiteY44" fmla="*/ 5709890 h 6853150"/>
              <a:gd name="connsiteX45" fmla="*/ 0 w 324091"/>
              <a:gd name="connsiteY45" fmla="*/ 5709890 h 6853150"/>
              <a:gd name="connsiteX46" fmla="*/ 0 w 324091"/>
              <a:gd name="connsiteY46" fmla="*/ 5442077 h 6853150"/>
              <a:gd name="connsiteX47" fmla="*/ 81776 w 324091"/>
              <a:gd name="connsiteY47" fmla="*/ 5442077 h 6853150"/>
              <a:gd name="connsiteX48" fmla="*/ 104636 w 324091"/>
              <a:gd name="connsiteY48" fmla="*/ 5464937 h 6853150"/>
              <a:gd name="connsiteX49" fmla="*/ 104635 w 324091"/>
              <a:gd name="connsiteY49" fmla="*/ 5464937 h 6853150"/>
              <a:gd name="connsiteX50" fmla="*/ 81775 w 324091"/>
              <a:gd name="connsiteY50" fmla="*/ 5487797 h 6853150"/>
              <a:gd name="connsiteX51" fmla="*/ 0 w 324091"/>
              <a:gd name="connsiteY51" fmla="*/ 5487797 h 6853150"/>
              <a:gd name="connsiteX52" fmla="*/ 0 w 324091"/>
              <a:gd name="connsiteY52" fmla="*/ 5288549 h 6853150"/>
              <a:gd name="connsiteX53" fmla="*/ 173216 w 324091"/>
              <a:gd name="connsiteY53" fmla="*/ 5288549 h 6853150"/>
              <a:gd name="connsiteX54" fmla="*/ 196076 w 324091"/>
              <a:gd name="connsiteY54" fmla="*/ 5311409 h 6853150"/>
              <a:gd name="connsiteX55" fmla="*/ 196075 w 324091"/>
              <a:gd name="connsiteY55" fmla="*/ 5311409 h 6853150"/>
              <a:gd name="connsiteX56" fmla="*/ 173215 w 324091"/>
              <a:gd name="connsiteY56" fmla="*/ 5334269 h 6853150"/>
              <a:gd name="connsiteX57" fmla="*/ 0 w 324091"/>
              <a:gd name="connsiteY57" fmla="*/ 5334269 h 6853150"/>
              <a:gd name="connsiteX58" fmla="*/ 0 w 324091"/>
              <a:gd name="connsiteY58" fmla="*/ 5135021 h 6853150"/>
              <a:gd name="connsiteX59" fmla="*/ 81776 w 324091"/>
              <a:gd name="connsiteY59" fmla="*/ 5135021 h 6853150"/>
              <a:gd name="connsiteX60" fmla="*/ 104636 w 324091"/>
              <a:gd name="connsiteY60" fmla="*/ 5157881 h 6853150"/>
              <a:gd name="connsiteX61" fmla="*/ 104635 w 324091"/>
              <a:gd name="connsiteY61" fmla="*/ 5157881 h 6853150"/>
              <a:gd name="connsiteX62" fmla="*/ 81775 w 324091"/>
              <a:gd name="connsiteY62" fmla="*/ 5180741 h 6853150"/>
              <a:gd name="connsiteX63" fmla="*/ 0 w 324091"/>
              <a:gd name="connsiteY63" fmla="*/ 5180741 h 6853150"/>
              <a:gd name="connsiteX64" fmla="*/ 0 w 324091"/>
              <a:gd name="connsiteY64" fmla="*/ 4937238 h 6853150"/>
              <a:gd name="connsiteX65" fmla="*/ 279104 w 324091"/>
              <a:gd name="connsiteY65" fmla="*/ 4937238 h 6853150"/>
              <a:gd name="connsiteX66" fmla="*/ 324091 w 324091"/>
              <a:gd name="connsiteY66" fmla="*/ 4982225 h 6853150"/>
              <a:gd name="connsiteX67" fmla="*/ 279104 w 324091"/>
              <a:gd name="connsiteY67" fmla="*/ 5027212 h 6853150"/>
              <a:gd name="connsiteX68" fmla="*/ 0 w 324091"/>
              <a:gd name="connsiteY68" fmla="*/ 5027212 h 6853150"/>
              <a:gd name="connsiteX69" fmla="*/ 0 w 324091"/>
              <a:gd name="connsiteY69" fmla="*/ 4759399 h 6853150"/>
              <a:gd name="connsiteX70" fmla="*/ 81776 w 324091"/>
              <a:gd name="connsiteY70" fmla="*/ 4759399 h 6853150"/>
              <a:gd name="connsiteX71" fmla="*/ 104636 w 324091"/>
              <a:gd name="connsiteY71" fmla="*/ 4782259 h 6853150"/>
              <a:gd name="connsiteX72" fmla="*/ 104635 w 324091"/>
              <a:gd name="connsiteY72" fmla="*/ 4782259 h 6853150"/>
              <a:gd name="connsiteX73" fmla="*/ 81775 w 324091"/>
              <a:gd name="connsiteY73" fmla="*/ 4805119 h 6853150"/>
              <a:gd name="connsiteX74" fmla="*/ 0 w 324091"/>
              <a:gd name="connsiteY74" fmla="*/ 4805119 h 6853150"/>
              <a:gd name="connsiteX75" fmla="*/ 0 w 324091"/>
              <a:gd name="connsiteY75" fmla="*/ 4605871 h 6853150"/>
              <a:gd name="connsiteX76" fmla="*/ 173216 w 324091"/>
              <a:gd name="connsiteY76" fmla="*/ 4605871 h 6853150"/>
              <a:gd name="connsiteX77" fmla="*/ 196076 w 324091"/>
              <a:gd name="connsiteY77" fmla="*/ 4628731 h 6853150"/>
              <a:gd name="connsiteX78" fmla="*/ 196075 w 324091"/>
              <a:gd name="connsiteY78" fmla="*/ 4628731 h 6853150"/>
              <a:gd name="connsiteX79" fmla="*/ 173215 w 324091"/>
              <a:gd name="connsiteY79" fmla="*/ 4651591 h 6853150"/>
              <a:gd name="connsiteX80" fmla="*/ 0 w 324091"/>
              <a:gd name="connsiteY80" fmla="*/ 4651591 h 6853150"/>
              <a:gd name="connsiteX81" fmla="*/ 0 w 324091"/>
              <a:gd name="connsiteY81" fmla="*/ 4452343 h 6853150"/>
              <a:gd name="connsiteX82" fmla="*/ 81776 w 324091"/>
              <a:gd name="connsiteY82" fmla="*/ 4452343 h 6853150"/>
              <a:gd name="connsiteX83" fmla="*/ 104636 w 324091"/>
              <a:gd name="connsiteY83" fmla="*/ 4475203 h 6853150"/>
              <a:gd name="connsiteX84" fmla="*/ 104635 w 324091"/>
              <a:gd name="connsiteY84" fmla="*/ 4475203 h 6853150"/>
              <a:gd name="connsiteX85" fmla="*/ 81775 w 324091"/>
              <a:gd name="connsiteY85" fmla="*/ 4498063 h 6853150"/>
              <a:gd name="connsiteX86" fmla="*/ 0 w 324091"/>
              <a:gd name="connsiteY86" fmla="*/ 4498063 h 6853150"/>
              <a:gd name="connsiteX87" fmla="*/ 0 w 324091"/>
              <a:gd name="connsiteY87" fmla="*/ 4254560 h 6853150"/>
              <a:gd name="connsiteX88" fmla="*/ 279104 w 324091"/>
              <a:gd name="connsiteY88" fmla="*/ 4254560 h 6853150"/>
              <a:gd name="connsiteX89" fmla="*/ 324091 w 324091"/>
              <a:gd name="connsiteY89" fmla="*/ 4299547 h 6853150"/>
              <a:gd name="connsiteX90" fmla="*/ 279104 w 324091"/>
              <a:gd name="connsiteY90" fmla="*/ 4344534 h 6853150"/>
              <a:gd name="connsiteX91" fmla="*/ 0 w 324091"/>
              <a:gd name="connsiteY91" fmla="*/ 4344534 h 6853150"/>
              <a:gd name="connsiteX92" fmla="*/ 0 w 324091"/>
              <a:gd name="connsiteY92" fmla="*/ 4076721 h 6853150"/>
              <a:gd name="connsiteX93" fmla="*/ 81776 w 324091"/>
              <a:gd name="connsiteY93" fmla="*/ 4076721 h 6853150"/>
              <a:gd name="connsiteX94" fmla="*/ 104636 w 324091"/>
              <a:gd name="connsiteY94" fmla="*/ 4099581 h 6853150"/>
              <a:gd name="connsiteX95" fmla="*/ 104635 w 324091"/>
              <a:gd name="connsiteY95" fmla="*/ 4099581 h 6853150"/>
              <a:gd name="connsiteX96" fmla="*/ 81775 w 324091"/>
              <a:gd name="connsiteY96" fmla="*/ 4122441 h 6853150"/>
              <a:gd name="connsiteX97" fmla="*/ 0 w 324091"/>
              <a:gd name="connsiteY97" fmla="*/ 4122441 h 6853150"/>
              <a:gd name="connsiteX98" fmla="*/ 0 w 324091"/>
              <a:gd name="connsiteY98" fmla="*/ 3923193 h 6853150"/>
              <a:gd name="connsiteX99" fmla="*/ 173216 w 324091"/>
              <a:gd name="connsiteY99" fmla="*/ 3923193 h 6853150"/>
              <a:gd name="connsiteX100" fmla="*/ 196076 w 324091"/>
              <a:gd name="connsiteY100" fmla="*/ 3946053 h 6853150"/>
              <a:gd name="connsiteX101" fmla="*/ 196075 w 324091"/>
              <a:gd name="connsiteY101" fmla="*/ 3946053 h 6853150"/>
              <a:gd name="connsiteX102" fmla="*/ 173215 w 324091"/>
              <a:gd name="connsiteY102" fmla="*/ 3968913 h 6853150"/>
              <a:gd name="connsiteX103" fmla="*/ 0 w 324091"/>
              <a:gd name="connsiteY103" fmla="*/ 3968913 h 6853150"/>
              <a:gd name="connsiteX104" fmla="*/ 0 w 324091"/>
              <a:gd name="connsiteY104" fmla="*/ 3769665 h 6853150"/>
              <a:gd name="connsiteX105" fmla="*/ 81776 w 324091"/>
              <a:gd name="connsiteY105" fmla="*/ 3769665 h 6853150"/>
              <a:gd name="connsiteX106" fmla="*/ 104636 w 324091"/>
              <a:gd name="connsiteY106" fmla="*/ 3792525 h 6853150"/>
              <a:gd name="connsiteX107" fmla="*/ 104635 w 324091"/>
              <a:gd name="connsiteY107" fmla="*/ 3792525 h 6853150"/>
              <a:gd name="connsiteX108" fmla="*/ 81775 w 324091"/>
              <a:gd name="connsiteY108" fmla="*/ 3815385 h 6853150"/>
              <a:gd name="connsiteX109" fmla="*/ 0 w 324091"/>
              <a:gd name="connsiteY109" fmla="*/ 3815385 h 6853150"/>
              <a:gd name="connsiteX110" fmla="*/ 0 w 324091"/>
              <a:gd name="connsiteY110" fmla="*/ 3571882 h 6853150"/>
              <a:gd name="connsiteX111" fmla="*/ 279104 w 324091"/>
              <a:gd name="connsiteY111" fmla="*/ 3571882 h 6853150"/>
              <a:gd name="connsiteX112" fmla="*/ 324091 w 324091"/>
              <a:gd name="connsiteY112" fmla="*/ 3616869 h 6853150"/>
              <a:gd name="connsiteX113" fmla="*/ 279104 w 324091"/>
              <a:gd name="connsiteY113" fmla="*/ 3661856 h 6853150"/>
              <a:gd name="connsiteX114" fmla="*/ 0 w 324091"/>
              <a:gd name="connsiteY114" fmla="*/ 3661856 h 6853150"/>
              <a:gd name="connsiteX115" fmla="*/ 0 w 324091"/>
              <a:gd name="connsiteY115" fmla="*/ 3394043 h 6853150"/>
              <a:gd name="connsiteX116" fmla="*/ 81776 w 324091"/>
              <a:gd name="connsiteY116" fmla="*/ 3394043 h 6853150"/>
              <a:gd name="connsiteX117" fmla="*/ 104636 w 324091"/>
              <a:gd name="connsiteY117" fmla="*/ 3416905 h 6853150"/>
              <a:gd name="connsiteX118" fmla="*/ 104635 w 324091"/>
              <a:gd name="connsiteY118" fmla="*/ 3416905 h 6853150"/>
              <a:gd name="connsiteX119" fmla="*/ 81775 w 324091"/>
              <a:gd name="connsiteY119" fmla="*/ 3439763 h 6853150"/>
              <a:gd name="connsiteX120" fmla="*/ 0 w 324091"/>
              <a:gd name="connsiteY120" fmla="*/ 3439763 h 6853150"/>
              <a:gd name="connsiteX121" fmla="*/ 0 w 324091"/>
              <a:gd name="connsiteY121" fmla="*/ 3240516 h 6853150"/>
              <a:gd name="connsiteX122" fmla="*/ 173216 w 324091"/>
              <a:gd name="connsiteY122" fmla="*/ 3240516 h 6853150"/>
              <a:gd name="connsiteX123" fmla="*/ 196076 w 324091"/>
              <a:gd name="connsiteY123" fmla="*/ 3263376 h 6853150"/>
              <a:gd name="connsiteX124" fmla="*/ 196075 w 324091"/>
              <a:gd name="connsiteY124" fmla="*/ 3263376 h 6853150"/>
              <a:gd name="connsiteX125" fmla="*/ 173215 w 324091"/>
              <a:gd name="connsiteY125" fmla="*/ 3286236 h 6853150"/>
              <a:gd name="connsiteX126" fmla="*/ 0 w 324091"/>
              <a:gd name="connsiteY126" fmla="*/ 3286236 h 6853150"/>
              <a:gd name="connsiteX127" fmla="*/ 0 w 324091"/>
              <a:gd name="connsiteY127" fmla="*/ 3086989 h 6853150"/>
              <a:gd name="connsiteX128" fmla="*/ 81776 w 324091"/>
              <a:gd name="connsiteY128" fmla="*/ 3086989 h 6853150"/>
              <a:gd name="connsiteX129" fmla="*/ 104636 w 324091"/>
              <a:gd name="connsiteY129" fmla="*/ 3109849 h 6853150"/>
              <a:gd name="connsiteX130" fmla="*/ 104635 w 324091"/>
              <a:gd name="connsiteY130" fmla="*/ 3109849 h 6853150"/>
              <a:gd name="connsiteX131" fmla="*/ 81775 w 324091"/>
              <a:gd name="connsiteY131" fmla="*/ 3132709 h 6853150"/>
              <a:gd name="connsiteX132" fmla="*/ 0 w 324091"/>
              <a:gd name="connsiteY132" fmla="*/ 3132709 h 6853150"/>
              <a:gd name="connsiteX133" fmla="*/ 0 w 324091"/>
              <a:gd name="connsiteY133" fmla="*/ 2889206 h 6853150"/>
              <a:gd name="connsiteX134" fmla="*/ 279104 w 324091"/>
              <a:gd name="connsiteY134" fmla="*/ 2889206 h 6853150"/>
              <a:gd name="connsiteX135" fmla="*/ 324091 w 324091"/>
              <a:gd name="connsiteY135" fmla="*/ 2934194 h 6853150"/>
              <a:gd name="connsiteX136" fmla="*/ 279104 w 324091"/>
              <a:gd name="connsiteY136" fmla="*/ 2979180 h 6853150"/>
              <a:gd name="connsiteX137" fmla="*/ 0 w 324091"/>
              <a:gd name="connsiteY137" fmla="*/ 2979180 h 6853150"/>
              <a:gd name="connsiteX138" fmla="*/ 0 w 324091"/>
              <a:gd name="connsiteY138" fmla="*/ 2711367 h 6853150"/>
              <a:gd name="connsiteX139" fmla="*/ 81776 w 324091"/>
              <a:gd name="connsiteY139" fmla="*/ 2711367 h 6853150"/>
              <a:gd name="connsiteX140" fmla="*/ 104636 w 324091"/>
              <a:gd name="connsiteY140" fmla="*/ 2734227 h 6853150"/>
              <a:gd name="connsiteX141" fmla="*/ 104635 w 324091"/>
              <a:gd name="connsiteY141" fmla="*/ 2734227 h 6853150"/>
              <a:gd name="connsiteX142" fmla="*/ 81775 w 324091"/>
              <a:gd name="connsiteY142" fmla="*/ 2757087 h 6853150"/>
              <a:gd name="connsiteX143" fmla="*/ 0 w 324091"/>
              <a:gd name="connsiteY143" fmla="*/ 2757087 h 6853150"/>
              <a:gd name="connsiteX144" fmla="*/ 0 w 324091"/>
              <a:gd name="connsiteY144" fmla="*/ 2557839 h 6853150"/>
              <a:gd name="connsiteX145" fmla="*/ 173216 w 324091"/>
              <a:gd name="connsiteY145" fmla="*/ 2557839 h 6853150"/>
              <a:gd name="connsiteX146" fmla="*/ 196076 w 324091"/>
              <a:gd name="connsiteY146" fmla="*/ 2580699 h 6853150"/>
              <a:gd name="connsiteX147" fmla="*/ 196075 w 324091"/>
              <a:gd name="connsiteY147" fmla="*/ 2580699 h 6853150"/>
              <a:gd name="connsiteX148" fmla="*/ 173215 w 324091"/>
              <a:gd name="connsiteY148" fmla="*/ 2603559 h 6853150"/>
              <a:gd name="connsiteX149" fmla="*/ 0 w 324091"/>
              <a:gd name="connsiteY149" fmla="*/ 2603559 h 6853150"/>
              <a:gd name="connsiteX150" fmla="*/ 0 w 324091"/>
              <a:gd name="connsiteY150" fmla="*/ 2404312 h 6853150"/>
              <a:gd name="connsiteX151" fmla="*/ 81776 w 324091"/>
              <a:gd name="connsiteY151" fmla="*/ 2404312 h 6853150"/>
              <a:gd name="connsiteX152" fmla="*/ 104636 w 324091"/>
              <a:gd name="connsiteY152" fmla="*/ 2427171 h 6853150"/>
              <a:gd name="connsiteX153" fmla="*/ 104635 w 324091"/>
              <a:gd name="connsiteY153" fmla="*/ 2427171 h 6853150"/>
              <a:gd name="connsiteX154" fmla="*/ 81775 w 324091"/>
              <a:gd name="connsiteY154" fmla="*/ 2450032 h 6853150"/>
              <a:gd name="connsiteX155" fmla="*/ 0 w 324091"/>
              <a:gd name="connsiteY155" fmla="*/ 2450032 h 6853150"/>
              <a:gd name="connsiteX156" fmla="*/ 0 w 324091"/>
              <a:gd name="connsiteY156" fmla="*/ 2206528 h 6853150"/>
              <a:gd name="connsiteX157" fmla="*/ 279104 w 324091"/>
              <a:gd name="connsiteY157" fmla="*/ 2206528 h 6853150"/>
              <a:gd name="connsiteX158" fmla="*/ 324091 w 324091"/>
              <a:gd name="connsiteY158" fmla="*/ 2251515 h 6853150"/>
              <a:gd name="connsiteX159" fmla="*/ 279104 w 324091"/>
              <a:gd name="connsiteY159" fmla="*/ 2296503 h 6853150"/>
              <a:gd name="connsiteX160" fmla="*/ 0 w 324091"/>
              <a:gd name="connsiteY160" fmla="*/ 2296503 h 6853150"/>
              <a:gd name="connsiteX161" fmla="*/ 0 w 324091"/>
              <a:gd name="connsiteY161" fmla="*/ 2028689 h 6853150"/>
              <a:gd name="connsiteX162" fmla="*/ 81776 w 324091"/>
              <a:gd name="connsiteY162" fmla="*/ 2028689 h 6853150"/>
              <a:gd name="connsiteX163" fmla="*/ 104636 w 324091"/>
              <a:gd name="connsiteY163" fmla="*/ 2051550 h 6853150"/>
              <a:gd name="connsiteX164" fmla="*/ 104635 w 324091"/>
              <a:gd name="connsiteY164" fmla="*/ 2051550 h 6853150"/>
              <a:gd name="connsiteX165" fmla="*/ 81775 w 324091"/>
              <a:gd name="connsiteY165" fmla="*/ 2074409 h 6853150"/>
              <a:gd name="connsiteX166" fmla="*/ 0 w 324091"/>
              <a:gd name="connsiteY166" fmla="*/ 2074409 h 6853150"/>
              <a:gd name="connsiteX167" fmla="*/ 0 w 324091"/>
              <a:gd name="connsiteY167" fmla="*/ 1875162 h 6853150"/>
              <a:gd name="connsiteX168" fmla="*/ 173216 w 324091"/>
              <a:gd name="connsiteY168" fmla="*/ 1875162 h 6853150"/>
              <a:gd name="connsiteX169" fmla="*/ 196076 w 324091"/>
              <a:gd name="connsiteY169" fmla="*/ 1898022 h 6853150"/>
              <a:gd name="connsiteX170" fmla="*/ 196075 w 324091"/>
              <a:gd name="connsiteY170" fmla="*/ 1898022 h 6853150"/>
              <a:gd name="connsiteX171" fmla="*/ 173215 w 324091"/>
              <a:gd name="connsiteY171" fmla="*/ 1920882 h 6853150"/>
              <a:gd name="connsiteX172" fmla="*/ 0 w 324091"/>
              <a:gd name="connsiteY172" fmla="*/ 1920882 h 6853150"/>
              <a:gd name="connsiteX173" fmla="*/ 0 w 324091"/>
              <a:gd name="connsiteY173" fmla="*/ 1721635 h 6853150"/>
              <a:gd name="connsiteX174" fmla="*/ 81776 w 324091"/>
              <a:gd name="connsiteY174" fmla="*/ 1721635 h 6853150"/>
              <a:gd name="connsiteX175" fmla="*/ 104636 w 324091"/>
              <a:gd name="connsiteY175" fmla="*/ 1744495 h 6853150"/>
              <a:gd name="connsiteX176" fmla="*/ 104635 w 324091"/>
              <a:gd name="connsiteY176" fmla="*/ 1744495 h 6853150"/>
              <a:gd name="connsiteX177" fmla="*/ 81775 w 324091"/>
              <a:gd name="connsiteY177" fmla="*/ 1767355 h 6853150"/>
              <a:gd name="connsiteX178" fmla="*/ 0 w 324091"/>
              <a:gd name="connsiteY178" fmla="*/ 1767355 h 6853150"/>
              <a:gd name="connsiteX179" fmla="*/ 0 w 324091"/>
              <a:gd name="connsiteY179" fmla="*/ 1523851 h 6853150"/>
              <a:gd name="connsiteX180" fmla="*/ 279104 w 324091"/>
              <a:gd name="connsiteY180" fmla="*/ 1523851 h 6853150"/>
              <a:gd name="connsiteX181" fmla="*/ 324091 w 324091"/>
              <a:gd name="connsiteY181" fmla="*/ 1568838 h 6853150"/>
              <a:gd name="connsiteX182" fmla="*/ 279104 w 324091"/>
              <a:gd name="connsiteY182" fmla="*/ 1613826 h 6853150"/>
              <a:gd name="connsiteX183" fmla="*/ 0 w 324091"/>
              <a:gd name="connsiteY183" fmla="*/ 1613826 h 6853150"/>
              <a:gd name="connsiteX184" fmla="*/ 0 w 324091"/>
              <a:gd name="connsiteY184" fmla="*/ 1346012 h 6853150"/>
              <a:gd name="connsiteX185" fmla="*/ 81776 w 324091"/>
              <a:gd name="connsiteY185" fmla="*/ 1346012 h 6853150"/>
              <a:gd name="connsiteX186" fmla="*/ 104636 w 324091"/>
              <a:gd name="connsiteY186" fmla="*/ 1368872 h 6853150"/>
              <a:gd name="connsiteX187" fmla="*/ 104635 w 324091"/>
              <a:gd name="connsiteY187" fmla="*/ 1368872 h 6853150"/>
              <a:gd name="connsiteX188" fmla="*/ 81775 w 324091"/>
              <a:gd name="connsiteY188" fmla="*/ 1391732 h 6853150"/>
              <a:gd name="connsiteX189" fmla="*/ 0 w 324091"/>
              <a:gd name="connsiteY189" fmla="*/ 1391732 h 6853150"/>
              <a:gd name="connsiteX190" fmla="*/ 0 w 324091"/>
              <a:gd name="connsiteY190" fmla="*/ 1192484 h 6853150"/>
              <a:gd name="connsiteX191" fmla="*/ 173216 w 324091"/>
              <a:gd name="connsiteY191" fmla="*/ 1192484 h 6853150"/>
              <a:gd name="connsiteX192" fmla="*/ 196076 w 324091"/>
              <a:gd name="connsiteY192" fmla="*/ 1215344 h 6853150"/>
              <a:gd name="connsiteX193" fmla="*/ 196075 w 324091"/>
              <a:gd name="connsiteY193" fmla="*/ 1215344 h 6853150"/>
              <a:gd name="connsiteX194" fmla="*/ 173215 w 324091"/>
              <a:gd name="connsiteY194" fmla="*/ 1238205 h 6853150"/>
              <a:gd name="connsiteX195" fmla="*/ 0 w 324091"/>
              <a:gd name="connsiteY195" fmla="*/ 1238205 h 6853150"/>
              <a:gd name="connsiteX196" fmla="*/ 0 w 324091"/>
              <a:gd name="connsiteY196" fmla="*/ 1038956 h 6853150"/>
              <a:gd name="connsiteX197" fmla="*/ 81776 w 324091"/>
              <a:gd name="connsiteY197" fmla="*/ 1038956 h 6853150"/>
              <a:gd name="connsiteX198" fmla="*/ 104636 w 324091"/>
              <a:gd name="connsiteY198" fmla="*/ 1061817 h 6853150"/>
              <a:gd name="connsiteX199" fmla="*/ 104635 w 324091"/>
              <a:gd name="connsiteY199" fmla="*/ 1061817 h 6853150"/>
              <a:gd name="connsiteX200" fmla="*/ 81775 w 324091"/>
              <a:gd name="connsiteY200" fmla="*/ 1084677 h 6853150"/>
              <a:gd name="connsiteX201" fmla="*/ 0 w 324091"/>
              <a:gd name="connsiteY201" fmla="*/ 1084677 h 6853150"/>
              <a:gd name="connsiteX202" fmla="*/ 0 w 324091"/>
              <a:gd name="connsiteY202" fmla="*/ 841173 h 6853150"/>
              <a:gd name="connsiteX203" fmla="*/ 279104 w 324091"/>
              <a:gd name="connsiteY203" fmla="*/ 841173 h 6853150"/>
              <a:gd name="connsiteX204" fmla="*/ 324091 w 324091"/>
              <a:gd name="connsiteY204" fmla="*/ 886160 h 6853150"/>
              <a:gd name="connsiteX205" fmla="*/ 279104 w 324091"/>
              <a:gd name="connsiteY205" fmla="*/ 931147 h 6853150"/>
              <a:gd name="connsiteX206" fmla="*/ 0 w 324091"/>
              <a:gd name="connsiteY206" fmla="*/ 931147 h 6853150"/>
              <a:gd name="connsiteX207" fmla="*/ 0 w 324091"/>
              <a:gd name="connsiteY207" fmla="*/ 663334 h 6853150"/>
              <a:gd name="connsiteX208" fmla="*/ 81776 w 324091"/>
              <a:gd name="connsiteY208" fmla="*/ 663334 h 6853150"/>
              <a:gd name="connsiteX209" fmla="*/ 104636 w 324091"/>
              <a:gd name="connsiteY209" fmla="*/ 686194 h 6853150"/>
              <a:gd name="connsiteX210" fmla="*/ 104635 w 324091"/>
              <a:gd name="connsiteY210" fmla="*/ 686194 h 6853150"/>
              <a:gd name="connsiteX211" fmla="*/ 81775 w 324091"/>
              <a:gd name="connsiteY211" fmla="*/ 709054 h 6853150"/>
              <a:gd name="connsiteX212" fmla="*/ 0 w 324091"/>
              <a:gd name="connsiteY212" fmla="*/ 709054 h 6853150"/>
              <a:gd name="connsiteX213" fmla="*/ 0 w 324091"/>
              <a:gd name="connsiteY213" fmla="*/ 509806 h 6853150"/>
              <a:gd name="connsiteX214" fmla="*/ 173216 w 324091"/>
              <a:gd name="connsiteY214" fmla="*/ 509806 h 6853150"/>
              <a:gd name="connsiteX215" fmla="*/ 196076 w 324091"/>
              <a:gd name="connsiteY215" fmla="*/ 532666 h 6853150"/>
              <a:gd name="connsiteX216" fmla="*/ 196075 w 324091"/>
              <a:gd name="connsiteY216" fmla="*/ 532666 h 6853150"/>
              <a:gd name="connsiteX217" fmla="*/ 173215 w 324091"/>
              <a:gd name="connsiteY217" fmla="*/ 555526 h 6853150"/>
              <a:gd name="connsiteX218" fmla="*/ 0 w 324091"/>
              <a:gd name="connsiteY218" fmla="*/ 555526 h 6853150"/>
              <a:gd name="connsiteX219" fmla="*/ 0 w 324091"/>
              <a:gd name="connsiteY219" fmla="*/ 356279 h 6853150"/>
              <a:gd name="connsiteX220" fmla="*/ 81776 w 324091"/>
              <a:gd name="connsiteY220" fmla="*/ 356279 h 6853150"/>
              <a:gd name="connsiteX221" fmla="*/ 104636 w 324091"/>
              <a:gd name="connsiteY221" fmla="*/ 379139 h 6853150"/>
              <a:gd name="connsiteX222" fmla="*/ 104635 w 324091"/>
              <a:gd name="connsiteY222" fmla="*/ 379139 h 6853150"/>
              <a:gd name="connsiteX223" fmla="*/ 81775 w 324091"/>
              <a:gd name="connsiteY223" fmla="*/ 401999 h 6853150"/>
              <a:gd name="connsiteX224" fmla="*/ 0 w 324091"/>
              <a:gd name="connsiteY224" fmla="*/ 401999 h 6853150"/>
              <a:gd name="connsiteX225" fmla="*/ 0 w 324091"/>
              <a:gd name="connsiteY225" fmla="*/ 158496 h 6853150"/>
              <a:gd name="connsiteX226" fmla="*/ 279104 w 324091"/>
              <a:gd name="connsiteY226" fmla="*/ 158496 h 6853150"/>
              <a:gd name="connsiteX227" fmla="*/ 324091 w 324091"/>
              <a:gd name="connsiteY227" fmla="*/ 203483 h 6853150"/>
              <a:gd name="connsiteX228" fmla="*/ 279104 w 324091"/>
              <a:gd name="connsiteY228" fmla="*/ 248470 h 6853150"/>
              <a:gd name="connsiteX229" fmla="*/ 0 w 324091"/>
              <a:gd name="connsiteY229" fmla="*/ 248470 h 6853150"/>
              <a:gd name="connsiteX230" fmla="*/ 0 w 324091"/>
              <a:gd name="connsiteY230" fmla="*/ 0 h 6853150"/>
              <a:gd name="connsiteX231" fmla="*/ 81776 w 324091"/>
              <a:gd name="connsiteY231" fmla="*/ 0 h 6853150"/>
              <a:gd name="connsiteX232" fmla="*/ 104636 w 324091"/>
              <a:gd name="connsiteY232" fmla="*/ 22860 h 6853150"/>
              <a:gd name="connsiteX233" fmla="*/ 104635 w 324091"/>
              <a:gd name="connsiteY233" fmla="*/ 22860 h 6853150"/>
              <a:gd name="connsiteX234" fmla="*/ 81775 w 324091"/>
              <a:gd name="connsiteY234" fmla="*/ 45720 h 6853150"/>
              <a:gd name="connsiteX235" fmla="*/ 0 w 324091"/>
              <a:gd name="connsiteY235" fmla="*/ 45720 h 6853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</a:cxnLst>
            <a:rect l="l" t="t" r="r" b="b"/>
            <a:pathLst>
              <a:path w="324091" h="6853150">
                <a:moveTo>
                  <a:pt x="0" y="6807430"/>
                </a:moveTo>
                <a:lnTo>
                  <a:pt x="81776" y="6807430"/>
                </a:lnTo>
                <a:cubicBezTo>
                  <a:pt x="94401" y="6807430"/>
                  <a:pt x="104636" y="6817665"/>
                  <a:pt x="104636" y="6830290"/>
                </a:cubicBezTo>
                <a:lnTo>
                  <a:pt x="104635" y="6830290"/>
                </a:lnTo>
                <a:cubicBezTo>
                  <a:pt x="104635" y="6842915"/>
                  <a:pt x="94400" y="6853150"/>
                  <a:pt x="81775" y="6853150"/>
                </a:cubicBezTo>
                <a:lnTo>
                  <a:pt x="0" y="6853150"/>
                </a:lnTo>
                <a:close/>
                <a:moveTo>
                  <a:pt x="0" y="6653902"/>
                </a:moveTo>
                <a:lnTo>
                  <a:pt x="173216" y="6653902"/>
                </a:lnTo>
                <a:cubicBezTo>
                  <a:pt x="185841" y="6653902"/>
                  <a:pt x="196076" y="6664137"/>
                  <a:pt x="196076" y="6676762"/>
                </a:cubicBezTo>
                <a:lnTo>
                  <a:pt x="196075" y="6676762"/>
                </a:lnTo>
                <a:cubicBezTo>
                  <a:pt x="196075" y="6689387"/>
                  <a:pt x="185840" y="6699622"/>
                  <a:pt x="173215" y="6699622"/>
                </a:cubicBezTo>
                <a:lnTo>
                  <a:pt x="0" y="6699622"/>
                </a:lnTo>
                <a:close/>
                <a:moveTo>
                  <a:pt x="0" y="6500374"/>
                </a:moveTo>
                <a:lnTo>
                  <a:pt x="81776" y="6500374"/>
                </a:lnTo>
                <a:cubicBezTo>
                  <a:pt x="94401" y="6500374"/>
                  <a:pt x="104636" y="6510609"/>
                  <a:pt x="104636" y="6523234"/>
                </a:cubicBezTo>
                <a:lnTo>
                  <a:pt x="104635" y="6523234"/>
                </a:lnTo>
                <a:cubicBezTo>
                  <a:pt x="104635" y="6535859"/>
                  <a:pt x="94400" y="6546094"/>
                  <a:pt x="81775" y="6546094"/>
                </a:cubicBezTo>
                <a:lnTo>
                  <a:pt x="0" y="6546094"/>
                </a:lnTo>
                <a:close/>
                <a:moveTo>
                  <a:pt x="0" y="6302591"/>
                </a:moveTo>
                <a:lnTo>
                  <a:pt x="279104" y="6302591"/>
                </a:lnTo>
                <a:cubicBezTo>
                  <a:pt x="303950" y="6302591"/>
                  <a:pt x="324091" y="6322732"/>
                  <a:pt x="324091" y="6347578"/>
                </a:cubicBezTo>
                <a:cubicBezTo>
                  <a:pt x="324091" y="6372424"/>
                  <a:pt x="303950" y="6392565"/>
                  <a:pt x="279104" y="6392565"/>
                </a:cubicBezTo>
                <a:lnTo>
                  <a:pt x="0" y="6392565"/>
                </a:lnTo>
                <a:close/>
                <a:moveTo>
                  <a:pt x="0" y="6124755"/>
                </a:moveTo>
                <a:lnTo>
                  <a:pt x="81776" y="6124755"/>
                </a:lnTo>
                <a:cubicBezTo>
                  <a:pt x="94401" y="6124755"/>
                  <a:pt x="104636" y="6134990"/>
                  <a:pt x="104636" y="6147615"/>
                </a:cubicBezTo>
                <a:lnTo>
                  <a:pt x="104635" y="6147615"/>
                </a:lnTo>
                <a:cubicBezTo>
                  <a:pt x="104635" y="6160240"/>
                  <a:pt x="94400" y="6170475"/>
                  <a:pt x="81775" y="6170475"/>
                </a:cubicBezTo>
                <a:lnTo>
                  <a:pt x="0" y="6170475"/>
                </a:lnTo>
                <a:close/>
                <a:moveTo>
                  <a:pt x="0" y="5971227"/>
                </a:moveTo>
                <a:lnTo>
                  <a:pt x="173216" y="5971227"/>
                </a:lnTo>
                <a:cubicBezTo>
                  <a:pt x="185841" y="5971227"/>
                  <a:pt x="196076" y="5981462"/>
                  <a:pt x="196076" y="5994087"/>
                </a:cubicBezTo>
                <a:lnTo>
                  <a:pt x="196075" y="5994087"/>
                </a:lnTo>
                <a:cubicBezTo>
                  <a:pt x="196075" y="6006712"/>
                  <a:pt x="185840" y="6016947"/>
                  <a:pt x="173215" y="6016947"/>
                </a:cubicBezTo>
                <a:lnTo>
                  <a:pt x="0" y="6016947"/>
                </a:lnTo>
                <a:close/>
                <a:moveTo>
                  <a:pt x="0" y="5817699"/>
                </a:moveTo>
                <a:lnTo>
                  <a:pt x="81776" y="5817699"/>
                </a:lnTo>
                <a:cubicBezTo>
                  <a:pt x="94401" y="5817699"/>
                  <a:pt x="104636" y="5827934"/>
                  <a:pt x="104636" y="5840559"/>
                </a:cubicBezTo>
                <a:lnTo>
                  <a:pt x="104635" y="5840559"/>
                </a:lnTo>
                <a:cubicBezTo>
                  <a:pt x="104635" y="5853184"/>
                  <a:pt x="94400" y="5863419"/>
                  <a:pt x="81775" y="5863419"/>
                </a:cubicBezTo>
                <a:lnTo>
                  <a:pt x="0" y="5863419"/>
                </a:lnTo>
                <a:close/>
                <a:moveTo>
                  <a:pt x="0" y="5619916"/>
                </a:moveTo>
                <a:lnTo>
                  <a:pt x="279104" y="5619916"/>
                </a:lnTo>
                <a:cubicBezTo>
                  <a:pt x="303950" y="5619916"/>
                  <a:pt x="324091" y="5640057"/>
                  <a:pt x="324091" y="5664903"/>
                </a:cubicBezTo>
                <a:cubicBezTo>
                  <a:pt x="324091" y="5689749"/>
                  <a:pt x="303950" y="5709890"/>
                  <a:pt x="279104" y="5709890"/>
                </a:cubicBezTo>
                <a:lnTo>
                  <a:pt x="0" y="5709890"/>
                </a:lnTo>
                <a:close/>
                <a:moveTo>
                  <a:pt x="0" y="5442077"/>
                </a:moveTo>
                <a:lnTo>
                  <a:pt x="81776" y="5442077"/>
                </a:lnTo>
                <a:cubicBezTo>
                  <a:pt x="94401" y="5442077"/>
                  <a:pt x="104636" y="5452312"/>
                  <a:pt x="104636" y="5464937"/>
                </a:cubicBezTo>
                <a:lnTo>
                  <a:pt x="104635" y="5464937"/>
                </a:lnTo>
                <a:cubicBezTo>
                  <a:pt x="104635" y="5477562"/>
                  <a:pt x="94400" y="5487797"/>
                  <a:pt x="81775" y="5487797"/>
                </a:cubicBezTo>
                <a:lnTo>
                  <a:pt x="0" y="5487797"/>
                </a:lnTo>
                <a:close/>
                <a:moveTo>
                  <a:pt x="0" y="5288549"/>
                </a:moveTo>
                <a:lnTo>
                  <a:pt x="173216" y="5288549"/>
                </a:lnTo>
                <a:cubicBezTo>
                  <a:pt x="185841" y="5288549"/>
                  <a:pt x="196076" y="5298784"/>
                  <a:pt x="196076" y="5311409"/>
                </a:cubicBezTo>
                <a:lnTo>
                  <a:pt x="196075" y="5311409"/>
                </a:lnTo>
                <a:cubicBezTo>
                  <a:pt x="196075" y="5324034"/>
                  <a:pt x="185840" y="5334269"/>
                  <a:pt x="173215" y="5334269"/>
                </a:cubicBezTo>
                <a:lnTo>
                  <a:pt x="0" y="5334269"/>
                </a:lnTo>
                <a:close/>
                <a:moveTo>
                  <a:pt x="0" y="5135021"/>
                </a:moveTo>
                <a:lnTo>
                  <a:pt x="81776" y="5135021"/>
                </a:lnTo>
                <a:cubicBezTo>
                  <a:pt x="94401" y="5135021"/>
                  <a:pt x="104636" y="5145256"/>
                  <a:pt x="104636" y="5157881"/>
                </a:cubicBezTo>
                <a:lnTo>
                  <a:pt x="104635" y="5157881"/>
                </a:lnTo>
                <a:cubicBezTo>
                  <a:pt x="104635" y="5170506"/>
                  <a:pt x="94400" y="5180741"/>
                  <a:pt x="81775" y="5180741"/>
                </a:cubicBezTo>
                <a:lnTo>
                  <a:pt x="0" y="5180741"/>
                </a:lnTo>
                <a:close/>
                <a:moveTo>
                  <a:pt x="0" y="4937238"/>
                </a:moveTo>
                <a:lnTo>
                  <a:pt x="279104" y="4937238"/>
                </a:lnTo>
                <a:cubicBezTo>
                  <a:pt x="303950" y="4937238"/>
                  <a:pt x="324091" y="4957379"/>
                  <a:pt x="324091" y="4982225"/>
                </a:cubicBezTo>
                <a:cubicBezTo>
                  <a:pt x="324091" y="5007071"/>
                  <a:pt x="303950" y="5027212"/>
                  <a:pt x="279104" y="5027212"/>
                </a:cubicBezTo>
                <a:lnTo>
                  <a:pt x="0" y="5027212"/>
                </a:lnTo>
                <a:close/>
                <a:moveTo>
                  <a:pt x="0" y="4759399"/>
                </a:moveTo>
                <a:lnTo>
                  <a:pt x="81776" y="4759399"/>
                </a:lnTo>
                <a:cubicBezTo>
                  <a:pt x="94401" y="4759399"/>
                  <a:pt x="104636" y="4769634"/>
                  <a:pt x="104636" y="4782259"/>
                </a:cubicBezTo>
                <a:lnTo>
                  <a:pt x="104635" y="4782259"/>
                </a:lnTo>
                <a:cubicBezTo>
                  <a:pt x="104635" y="4794884"/>
                  <a:pt x="94400" y="4805119"/>
                  <a:pt x="81775" y="4805119"/>
                </a:cubicBezTo>
                <a:lnTo>
                  <a:pt x="0" y="4805119"/>
                </a:lnTo>
                <a:close/>
                <a:moveTo>
                  <a:pt x="0" y="4605871"/>
                </a:moveTo>
                <a:lnTo>
                  <a:pt x="173216" y="4605871"/>
                </a:lnTo>
                <a:cubicBezTo>
                  <a:pt x="185841" y="4605871"/>
                  <a:pt x="196076" y="4616106"/>
                  <a:pt x="196076" y="4628731"/>
                </a:cubicBezTo>
                <a:lnTo>
                  <a:pt x="196075" y="4628731"/>
                </a:lnTo>
                <a:cubicBezTo>
                  <a:pt x="196075" y="4641356"/>
                  <a:pt x="185840" y="4651591"/>
                  <a:pt x="173215" y="4651591"/>
                </a:cubicBezTo>
                <a:lnTo>
                  <a:pt x="0" y="4651591"/>
                </a:lnTo>
                <a:close/>
                <a:moveTo>
                  <a:pt x="0" y="4452343"/>
                </a:moveTo>
                <a:lnTo>
                  <a:pt x="81776" y="4452343"/>
                </a:lnTo>
                <a:cubicBezTo>
                  <a:pt x="94401" y="4452343"/>
                  <a:pt x="104636" y="4462578"/>
                  <a:pt x="104636" y="4475203"/>
                </a:cubicBezTo>
                <a:lnTo>
                  <a:pt x="104635" y="4475203"/>
                </a:lnTo>
                <a:cubicBezTo>
                  <a:pt x="104635" y="4487828"/>
                  <a:pt x="94400" y="4498063"/>
                  <a:pt x="81775" y="4498063"/>
                </a:cubicBezTo>
                <a:lnTo>
                  <a:pt x="0" y="4498063"/>
                </a:lnTo>
                <a:close/>
                <a:moveTo>
                  <a:pt x="0" y="4254560"/>
                </a:moveTo>
                <a:lnTo>
                  <a:pt x="279104" y="4254560"/>
                </a:lnTo>
                <a:cubicBezTo>
                  <a:pt x="303950" y="4254560"/>
                  <a:pt x="324091" y="4274701"/>
                  <a:pt x="324091" y="4299547"/>
                </a:cubicBezTo>
                <a:cubicBezTo>
                  <a:pt x="324091" y="4324393"/>
                  <a:pt x="303950" y="4344534"/>
                  <a:pt x="279104" y="4344534"/>
                </a:cubicBezTo>
                <a:lnTo>
                  <a:pt x="0" y="4344534"/>
                </a:lnTo>
                <a:close/>
                <a:moveTo>
                  <a:pt x="0" y="4076721"/>
                </a:moveTo>
                <a:lnTo>
                  <a:pt x="81776" y="4076721"/>
                </a:lnTo>
                <a:cubicBezTo>
                  <a:pt x="94401" y="4076721"/>
                  <a:pt x="104636" y="4086956"/>
                  <a:pt x="104636" y="4099581"/>
                </a:cubicBezTo>
                <a:lnTo>
                  <a:pt x="104635" y="4099581"/>
                </a:lnTo>
                <a:cubicBezTo>
                  <a:pt x="104635" y="4112206"/>
                  <a:pt x="94400" y="4122441"/>
                  <a:pt x="81775" y="4122441"/>
                </a:cubicBezTo>
                <a:lnTo>
                  <a:pt x="0" y="4122441"/>
                </a:lnTo>
                <a:close/>
                <a:moveTo>
                  <a:pt x="0" y="3923193"/>
                </a:moveTo>
                <a:lnTo>
                  <a:pt x="173216" y="3923193"/>
                </a:lnTo>
                <a:cubicBezTo>
                  <a:pt x="185841" y="3923193"/>
                  <a:pt x="196076" y="3933428"/>
                  <a:pt x="196076" y="3946053"/>
                </a:cubicBezTo>
                <a:lnTo>
                  <a:pt x="196075" y="3946053"/>
                </a:lnTo>
                <a:cubicBezTo>
                  <a:pt x="196075" y="3958678"/>
                  <a:pt x="185840" y="3968913"/>
                  <a:pt x="173215" y="3968913"/>
                </a:cubicBezTo>
                <a:lnTo>
                  <a:pt x="0" y="3968913"/>
                </a:lnTo>
                <a:close/>
                <a:moveTo>
                  <a:pt x="0" y="3769665"/>
                </a:moveTo>
                <a:lnTo>
                  <a:pt x="81776" y="3769665"/>
                </a:lnTo>
                <a:cubicBezTo>
                  <a:pt x="94401" y="3769665"/>
                  <a:pt x="104636" y="3779900"/>
                  <a:pt x="104636" y="3792525"/>
                </a:cubicBezTo>
                <a:lnTo>
                  <a:pt x="104635" y="3792525"/>
                </a:lnTo>
                <a:cubicBezTo>
                  <a:pt x="104635" y="3805150"/>
                  <a:pt x="94400" y="3815385"/>
                  <a:pt x="81775" y="3815385"/>
                </a:cubicBezTo>
                <a:lnTo>
                  <a:pt x="0" y="3815385"/>
                </a:lnTo>
                <a:close/>
                <a:moveTo>
                  <a:pt x="0" y="3571882"/>
                </a:moveTo>
                <a:lnTo>
                  <a:pt x="279104" y="3571882"/>
                </a:lnTo>
                <a:cubicBezTo>
                  <a:pt x="303950" y="3571882"/>
                  <a:pt x="324091" y="3592023"/>
                  <a:pt x="324091" y="3616869"/>
                </a:cubicBezTo>
                <a:cubicBezTo>
                  <a:pt x="324091" y="3641715"/>
                  <a:pt x="303950" y="3661856"/>
                  <a:pt x="279104" y="3661856"/>
                </a:cubicBezTo>
                <a:lnTo>
                  <a:pt x="0" y="3661856"/>
                </a:lnTo>
                <a:close/>
                <a:moveTo>
                  <a:pt x="0" y="3394043"/>
                </a:moveTo>
                <a:lnTo>
                  <a:pt x="81776" y="3394043"/>
                </a:lnTo>
                <a:cubicBezTo>
                  <a:pt x="94401" y="3394043"/>
                  <a:pt x="104636" y="3404279"/>
                  <a:pt x="104636" y="3416905"/>
                </a:cubicBezTo>
                <a:lnTo>
                  <a:pt x="104635" y="3416905"/>
                </a:lnTo>
                <a:cubicBezTo>
                  <a:pt x="104635" y="3429528"/>
                  <a:pt x="94400" y="3439763"/>
                  <a:pt x="81775" y="3439763"/>
                </a:cubicBezTo>
                <a:lnTo>
                  <a:pt x="0" y="3439763"/>
                </a:lnTo>
                <a:close/>
                <a:moveTo>
                  <a:pt x="0" y="3240516"/>
                </a:moveTo>
                <a:lnTo>
                  <a:pt x="173216" y="3240516"/>
                </a:lnTo>
                <a:cubicBezTo>
                  <a:pt x="185841" y="3240516"/>
                  <a:pt x="196076" y="3250752"/>
                  <a:pt x="196076" y="3263376"/>
                </a:cubicBezTo>
                <a:lnTo>
                  <a:pt x="196075" y="3263376"/>
                </a:lnTo>
                <a:cubicBezTo>
                  <a:pt x="196075" y="3276001"/>
                  <a:pt x="185840" y="3286236"/>
                  <a:pt x="173215" y="3286236"/>
                </a:cubicBezTo>
                <a:lnTo>
                  <a:pt x="0" y="3286236"/>
                </a:lnTo>
                <a:close/>
                <a:moveTo>
                  <a:pt x="0" y="3086989"/>
                </a:moveTo>
                <a:lnTo>
                  <a:pt x="81776" y="3086989"/>
                </a:lnTo>
                <a:cubicBezTo>
                  <a:pt x="94401" y="3086989"/>
                  <a:pt x="104636" y="3097224"/>
                  <a:pt x="104636" y="3109849"/>
                </a:cubicBezTo>
                <a:lnTo>
                  <a:pt x="104635" y="3109849"/>
                </a:lnTo>
                <a:cubicBezTo>
                  <a:pt x="104635" y="3122474"/>
                  <a:pt x="94400" y="3132709"/>
                  <a:pt x="81775" y="3132709"/>
                </a:cubicBezTo>
                <a:lnTo>
                  <a:pt x="0" y="3132709"/>
                </a:lnTo>
                <a:close/>
                <a:moveTo>
                  <a:pt x="0" y="2889206"/>
                </a:moveTo>
                <a:lnTo>
                  <a:pt x="279104" y="2889206"/>
                </a:lnTo>
                <a:cubicBezTo>
                  <a:pt x="303950" y="2889206"/>
                  <a:pt x="324091" y="2909347"/>
                  <a:pt x="324091" y="2934194"/>
                </a:cubicBezTo>
                <a:cubicBezTo>
                  <a:pt x="324091" y="2959039"/>
                  <a:pt x="303950" y="2979180"/>
                  <a:pt x="279104" y="2979180"/>
                </a:cubicBezTo>
                <a:lnTo>
                  <a:pt x="0" y="2979180"/>
                </a:lnTo>
                <a:close/>
                <a:moveTo>
                  <a:pt x="0" y="2711367"/>
                </a:moveTo>
                <a:lnTo>
                  <a:pt x="81776" y="2711367"/>
                </a:lnTo>
                <a:cubicBezTo>
                  <a:pt x="94401" y="2711367"/>
                  <a:pt x="104636" y="2721602"/>
                  <a:pt x="104636" y="2734227"/>
                </a:cubicBezTo>
                <a:lnTo>
                  <a:pt x="104635" y="2734227"/>
                </a:lnTo>
                <a:cubicBezTo>
                  <a:pt x="104635" y="2746852"/>
                  <a:pt x="94400" y="2757087"/>
                  <a:pt x="81775" y="2757087"/>
                </a:cubicBezTo>
                <a:lnTo>
                  <a:pt x="0" y="2757087"/>
                </a:lnTo>
                <a:close/>
                <a:moveTo>
                  <a:pt x="0" y="2557839"/>
                </a:moveTo>
                <a:lnTo>
                  <a:pt x="173216" y="2557839"/>
                </a:lnTo>
                <a:cubicBezTo>
                  <a:pt x="185841" y="2557839"/>
                  <a:pt x="196076" y="2568074"/>
                  <a:pt x="196076" y="2580699"/>
                </a:cubicBezTo>
                <a:lnTo>
                  <a:pt x="196075" y="2580699"/>
                </a:lnTo>
                <a:cubicBezTo>
                  <a:pt x="196075" y="2593324"/>
                  <a:pt x="185840" y="2603559"/>
                  <a:pt x="173215" y="2603559"/>
                </a:cubicBezTo>
                <a:lnTo>
                  <a:pt x="0" y="2603559"/>
                </a:lnTo>
                <a:close/>
                <a:moveTo>
                  <a:pt x="0" y="2404312"/>
                </a:moveTo>
                <a:lnTo>
                  <a:pt x="81776" y="2404312"/>
                </a:lnTo>
                <a:cubicBezTo>
                  <a:pt x="94401" y="2404312"/>
                  <a:pt x="104636" y="2414546"/>
                  <a:pt x="104636" y="2427171"/>
                </a:cubicBezTo>
                <a:lnTo>
                  <a:pt x="104635" y="2427171"/>
                </a:lnTo>
                <a:cubicBezTo>
                  <a:pt x="104635" y="2439796"/>
                  <a:pt x="94400" y="2450032"/>
                  <a:pt x="81775" y="2450032"/>
                </a:cubicBezTo>
                <a:lnTo>
                  <a:pt x="0" y="2450032"/>
                </a:lnTo>
                <a:close/>
                <a:moveTo>
                  <a:pt x="0" y="2206528"/>
                </a:moveTo>
                <a:lnTo>
                  <a:pt x="279104" y="2206528"/>
                </a:lnTo>
                <a:cubicBezTo>
                  <a:pt x="303950" y="2206528"/>
                  <a:pt x="324091" y="2226669"/>
                  <a:pt x="324091" y="2251515"/>
                </a:cubicBezTo>
                <a:cubicBezTo>
                  <a:pt x="324091" y="2276362"/>
                  <a:pt x="303950" y="2296503"/>
                  <a:pt x="279104" y="2296503"/>
                </a:cubicBezTo>
                <a:lnTo>
                  <a:pt x="0" y="2296503"/>
                </a:lnTo>
                <a:close/>
                <a:moveTo>
                  <a:pt x="0" y="2028689"/>
                </a:moveTo>
                <a:lnTo>
                  <a:pt x="81776" y="2028689"/>
                </a:lnTo>
                <a:cubicBezTo>
                  <a:pt x="94401" y="2028689"/>
                  <a:pt x="104636" y="2038925"/>
                  <a:pt x="104636" y="2051550"/>
                </a:cubicBezTo>
                <a:lnTo>
                  <a:pt x="104635" y="2051550"/>
                </a:lnTo>
                <a:cubicBezTo>
                  <a:pt x="104635" y="2064175"/>
                  <a:pt x="94400" y="2074409"/>
                  <a:pt x="81775" y="2074409"/>
                </a:cubicBezTo>
                <a:lnTo>
                  <a:pt x="0" y="2074409"/>
                </a:lnTo>
                <a:close/>
                <a:moveTo>
                  <a:pt x="0" y="1875162"/>
                </a:moveTo>
                <a:lnTo>
                  <a:pt x="173216" y="1875162"/>
                </a:lnTo>
                <a:cubicBezTo>
                  <a:pt x="185841" y="1875162"/>
                  <a:pt x="196076" y="1885397"/>
                  <a:pt x="196076" y="1898022"/>
                </a:cubicBezTo>
                <a:lnTo>
                  <a:pt x="196075" y="1898022"/>
                </a:lnTo>
                <a:cubicBezTo>
                  <a:pt x="196075" y="1910647"/>
                  <a:pt x="185840" y="1920882"/>
                  <a:pt x="173215" y="1920882"/>
                </a:cubicBezTo>
                <a:lnTo>
                  <a:pt x="0" y="1920882"/>
                </a:lnTo>
                <a:close/>
                <a:moveTo>
                  <a:pt x="0" y="1721635"/>
                </a:moveTo>
                <a:lnTo>
                  <a:pt x="81776" y="1721635"/>
                </a:lnTo>
                <a:cubicBezTo>
                  <a:pt x="94401" y="1721635"/>
                  <a:pt x="104636" y="1731870"/>
                  <a:pt x="104636" y="1744495"/>
                </a:cubicBezTo>
                <a:lnTo>
                  <a:pt x="104635" y="1744495"/>
                </a:lnTo>
                <a:cubicBezTo>
                  <a:pt x="104635" y="1757120"/>
                  <a:pt x="94400" y="1767355"/>
                  <a:pt x="81775" y="1767355"/>
                </a:cubicBezTo>
                <a:lnTo>
                  <a:pt x="0" y="1767355"/>
                </a:lnTo>
                <a:close/>
                <a:moveTo>
                  <a:pt x="0" y="1523851"/>
                </a:moveTo>
                <a:lnTo>
                  <a:pt x="279104" y="1523851"/>
                </a:lnTo>
                <a:cubicBezTo>
                  <a:pt x="303950" y="1523851"/>
                  <a:pt x="324091" y="1543992"/>
                  <a:pt x="324091" y="1568838"/>
                </a:cubicBezTo>
                <a:cubicBezTo>
                  <a:pt x="324091" y="1593684"/>
                  <a:pt x="303950" y="1613826"/>
                  <a:pt x="279104" y="1613826"/>
                </a:cubicBezTo>
                <a:lnTo>
                  <a:pt x="0" y="1613826"/>
                </a:lnTo>
                <a:close/>
                <a:moveTo>
                  <a:pt x="0" y="1346012"/>
                </a:moveTo>
                <a:lnTo>
                  <a:pt x="81776" y="1346012"/>
                </a:lnTo>
                <a:cubicBezTo>
                  <a:pt x="94401" y="1346012"/>
                  <a:pt x="104636" y="1356247"/>
                  <a:pt x="104636" y="1368872"/>
                </a:cubicBezTo>
                <a:lnTo>
                  <a:pt x="104635" y="1368872"/>
                </a:lnTo>
                <a:cubicBezTo>
                  <a:pt x="104635" y="1381497"/>
                  <a:pt x="94400" y="1391732"/>
                  <a:pt x="81775" y="1391732"/>
                </a:cubicBezTo>
                <a:lnTo>
                  <a:pt x="0" y="1391732"/>
                </a:lnTo>
                <a:close/>
                <a:moveTo>
                  <a:pt x="0" y="1192484"/>
                </a:moveTo>
                <a:lnTo>
                  <a:pt x="173216" y="1192484"/>
                </a:lnTo>
                <a:cubicBezTo>
                  <a:pt x="185841" y="1192484"/>
                  <a:pt x="196076" y="1202719"/>
                  <a:pt x="196076" y="1215344"/>
                </a:cubicBezTo>
                <a:lnTo>
                  <a:pt x="196075" y="1215344"/>
                </a:lnTo>
                <a:cubicBezTo>
                  <a:pt x="196075" y="1227969"/>
                  <a:pt x="185840" y="1238205"/>
                  <a:pt x="173215" y="1238205"/>
                </a:cubicBezTo>
                <a:lnTo>
                  <a:pt x="0" y="1238205"/>
                </a:lnTo>
                <a:close/>
                <a:moveTo>
                  <a:pt x="0" y="1038956"/>
                </a:moveTo>
                <a:lnTo>
                  <a:pt x="81776" y="1038956"/>
                </a:lnTo>
                <a:cubicBezTo>
                  <a:pt x="94401" y="1038956"/>
                  <a:pt x="104636" y="1049192"/>
                  <a:pt x="104636" y="1061817"/>
                </a:cubicBezTo>
                <a:lnTo>
                  <a:pt x="104635" y="1061817"/>
                </a:lnTo>
                <a:cubicBezTo>
                  <a:pt x="104635" y="1074442"/>
                  <a:pt x="94400" y="1084677"/>
                  <a:pt x="81775" y="1084677"/>
                </a:cubicBezTo>
                <a:lnTo>
                  <a:pt x="0" y="1084677"/>
                </a:lnTo>
                <a:close/>
                <a:moveTo>
                  <a:pt x="0" y="841173"/>
                </a:moveTo>
                <a:lnTo>
                  <a:pt x="279104" y="841173"/>
                </a:lnTo>
                <a:cubicBezTo>
                  <a:pt x="303950" y="841173"/>
                  <a:pt x="324091" y="861314"/>
                  <a:pt x="324091" y="886160"/>
                </a:cubicBezTo>
                <a:cubicBezTo>
                  <a:pt x="324091" y="911007"/>
                  <a:pt x="303950" y="931147"/>
                  <a:pt x="279104" y="931147"/>
                </a:cubicBezTo>
                <a:lnTo>
                  <a:pt x="0" y="931147"/>
                </a:lnTo>
                <a:close/>
                <a:moveTo>
                  <a:pt x="0" y="663334"/>
                </a:moveTo>
                <a:lnTo>
                  <a:pt x="81776" y="663334"/>
                </a:lnTo>
                <a:cubicBezTo>
                  <a:pt x="94401" y="663334"/>
                  <a:pt x="104636" y="673569"/>
                  <a:pt x="104636" y="686194"/>
                </a:cubicBezTo>
                <a:lnTo>
                  <a:pt x="104635" y="686194"/>
                </a:lnTo>
                <a:cubicBezTo>
                  <a:pt x="104635" y="698819"/>
                  <a:pt x="94400" y="709054"/>
                  <a:pt x="81775" y="709054"/>
                </a:cubicBezTo>
                <a:lnTo>
                  <a:pt x="0" y="709054"/>
                </a:lnTo>
                <a:close/>
                <a:moveTo>
                  <a:pt x="0" y="509806"/>
                </a:moveTo>
                <a:lnTo>
                  <a:pt x="173216" y="509806"/>
                </a:lnTo>
                <a:cubicBezTo>
                  <a:pt x="185841" y="509806"/>
                  <a:pt x="196076" y="520041"/>
                  <a:pt x="196076" y="532666"/>
                </a:cubicBezTo>
                <a:lnTo>
                  <a:pt x="196075" y="532666"/>
                </a:lnTo>
                <a:cubicBezTo>
                  <a:pt x="196075" y="545291"/>
                  <a:pt x="185840" y="555526"/>
                  <a:pt x="173215" y="555526"/>
                </a:cubicBezTo>
                <a:lnTo>
                  <a:pt x="0" y="555526"/>
                </a:lnTo>
                <a:close/>
                <a:moveTo>
                  <a:pt x="0" y="356279"/>
                </a:moveTo>
                <a:lnTo>
                  <a:pt x="81776" y="356279"/>
                </a:lnTo>
                <a:cubicBezTo>
                  <a:pt x="94401" y="356279"/>
                  <a:pt x="104636" y="366514"/>
                  <a:pt x="104636" y="379139"/>
                </a:cubicBezTo>
                <a:lnTo>
                  <a:pt x="104635" y="379139"/>
                </a:lnTo>
                <a:cubicBezTo>
                  <a:pt x="104635" y="391764"/>
                  <a:pt x="94400" y="401999"/>
                  <a:pt x="81775" y="401999"/>
                </a:cubicBezTo>
                <a:lnTo>
                  <a:pt x="0" y="401999"/>
                </a:lnTo>
                <a:close/>
                <a:moveTo>
                  <a:pt x="0" y="158496"/>
                </a:moveTo>
                <a:lnTo>
                  <a:pt x="279104" y="158496"/>
                </a:lnTo>
                <a:cubicBezTo>
                  <a:pt x="303950" y="158496"/>
                  <a:pt x="324091" y="178637"/>
                  <a:pt x="324091" y="203483"/>
                </a:cubicBezTo>
                <a:cubicBezTo>
                  <a:pt x="324091" y="228329"/>
                  <a:pt x="303950" y="248470"/>
                  <a:pt x="279104" y="248470"/>
                </a:cubicBezTo>
                <a:lnTo>
                  <a:pt x="0" y="248470"/>
                </a:lnTo>
                <a:close/>
                <a:moveTo>
                  <a:pt x="0" y="0"/>
                </a:moveTo>
                <a:lnTo>
                  <a:pt x="81776" y="0"/>
                </a:lnTo>
                <a:cubicBezTo>
                  <a:pt x="94401" y="0"/>
                  <a:pt x="104636" y="10235"/>
                  <a:pt x="104636" y="22860"/>
                </a:cubicBezTo>
                <a:lnTo>
                  <a:pt x="104635" y="22860"/>
                </a:lnTo>
                <a:cubicBezTo>
                  <a:pt x="104635" y="35485"/>
                  <a:pt x="94400" y="45720"/>
                  <a:pt x="81775" y="45720"/>
                </a:cubicBezTo>
                <a:lnTo>
                  <a:pt x="0" y="45720"/>
                </a:lnTo>
                <a:close/>
              </a:path>
            </a:pathLst>
          </a:custGeom>
          <a:solidFill>
            <a:schemeClr val="bg1">
              <a:alpha val="3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331113" y="2211598"/>
            <a:ext cx="9108607" cy="165576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3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8AC32FD-55BC-4D74-BEB5-ABF00A2370ED}"/>
              </a:ext>
            </a:extLst>
          </p:cNvPr>
          <p:cNvGrpSpPr/>
          <p:nvPr userDrawn="1"/>
        </p:nvGrpSpPr>
        <p:grpSpPr>
          <a:xfrm>
            <a:off x="11803080" y="979776"/>
            <a:ext cx="221196" cy="228600"/>
            <a:chOff x="11806154" y="979776"/>
            <a:chExt cx="221254" cy="228600"/>
          </a:xfrm>
        </p:grpSpPr>
        <p:sp>
          <p:nvSpPr>
            <p:cNvPr id="15" name="Round Same-side Corner of Rectangle 79">
              <a:extLst>
                <a:ext uri="{FF2B5EF4-FFF2-40B4-BE49-F238E27FC236}">
                  <a16:creationId xmlns:a16="http://schemas.microsoft.com/office/drawing/2014/main" id="{1DC511C8-A3D4-4172-AC29-6318751CF23F}"/>
                </a:ext>
              </a:extLst>
            </p:cNvPr>
            <p:cNvSpPr/>
            <p:nvPr/>
          </p:nvSpPr>
          <p:spPr>
            <a:xfrm rot="5400000">
              <a:off x="11802481" y="983449"/>
              <a:ext cx="228600" cy="221254"/>
            </a:xfrm>
            <a:prstGeom prst="round2SameRect">
              <a:avLst>
                <a:gd name="adj1" fmla="val 0"/>
                <a:gd name="adj2" fmla="val 50000"/>
              </a:avLst>
            </a:prstGeom>
            <a:solidFill>
              <a:schemeClr val="tx2"/>
            </a:solidFill>
            <a:ln w="9525">
              <a:noFill/>
            </a:ln>
            <a:effectLst>
              <a:innerShdw blurRad="63500" dist="25400" dir="5400000">
                <a:prstClr val="black">
                  <a:alpha val="32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D9FE1158-FAF9-4774-963A-DE78675DB41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843840" y="1010005"/>
              <a:ext cx="155448" cy="155448"/>
            </a:xfrm>
            <a:prstGeom prst="rect">
              <a:avLst/>
            </a:prstGeom>
          </p:spPr>
        </p:pic>
      </p:grp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B9F46EFD-E69A-4638-B878-02AE0DAA3A27}"/>
              </a:ext>
            </a:extLst>
          </p:cNvPr>
          <p:cNvSpPr/>
          <p:nvPr userDrawn="1"/>
        </p:nvSpPr>
        <p:spPr>
          <a:xfrm>
            <a:off x="558654" y="706397"/>
            <a:ext cx="4012155" cy="977900"/>
          </a:xfrm>
          <a:prstGeom prst="roundRect">
            <a:avLst>
              <a:gd name="adj" fmla="val 50000"/>
            </a:avLst>
          </a:prstGeom>
          <a:solidFill>
            <a:schemeClr val="bg1">
              <a:alpha val="39000"/>
            </a:schemeClr>
          </a:solidFill>
          <a:ln w="190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293027" y="552617"/>
            <a:ext cx="9385073" cy="1304513"/>
          </a:xfrm>
        </p:spPr>
        <p:txBody>
          <a:bodyPr anchor="ctr">
            <a:noAutofit/>
          </a:bodyPr>
          <a:lstStyle>
            <a:lvl1pPr algn="l">
              <a:defRPr sz="3999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0214C57-FE11-4C28-AAAA-64E6AE49527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96786" y="815006"/>
            <a:ext cx="595418" cy="755416"/>
            <a:chOff x="849313" y="-539751"/>
            <a:chExt cx="8375650" cy="10623551"/>
          </a:xfrm>
          <a:solidFill>
            <a:schemeClr val="bg1">
              <a:alpha val="80000"/>
            </a:schemeClr>
          </a:solidFill>
        </p:grpSpPr>
        <p:sp>
          <p:nvSpPr>
            <p:cNvPr id="18" name="Freeform 41">
              <a:extLst>
                <a:ext uri="{FF2B5EF4-FFF2-40B4-BE49-F238E27FC236}">
                  <a16:creationId xmlns:a16="http://schemas.microsoft.com/office/drawing/2014/main" id="{99A002B2-28E2-4B83-B338-7D40FDF7718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3" y="2670175"/>
              <a:ext cx="8375650" cy="7413625"/>
            </a:xfrm>
            <a:custGeom>
              <a:avLst/>
              <a:gdLst>
                <a:gd name="T0" fmla="*/ 116 w 741"/>
                <a:gd name="T1" fmla="*/ 656 h 656"/>
                <a:gd name="T2" fmla="*/ 165 w 741"/>
                <a:gd name="T3" fmla="*/ 561 h 656"/>
                <a:gd name="T4" fmla="*/ 92 w 741"/>
                <a:gd name="T5" fmla="*/ 506 h 656"/>
                <a:gd name="T6" fmla="*/ 0 w 741"/>
                <a:gd name="T7" fmla="*/ 284 h 656"/>
                <a:gd name="T8" fmla="*/ 181 w 741"/>
                <a:gd name="T9" fmla="*/ 0 h 656"/>
                <a:gd name="T10" fmla="*/ 210 w 741"/>
                <a:gd name="T11" fmla="*/ 118 h 656"/>
                <a:gd name="T12" fmla="*/ 118 w 741"/>
                <a:gd name="T13" fmla="*/ 275 h 656"/>
                <a:gd name="T14" fmla="*/ 347 w 741"/>
                <a:gd name="T15" fmla="*/ 437 h 656"/>
                <a:gd name="T16" fmla="*/ 663 w 741"/>
                <a:gd name="T17" fmla="*/ 353 h 656"/>
                <a:gd name="T18" fmla="*/ 699 w 741"/>
                <a:gd name="T19" fmla="*/ 374 h 656"/>
                <a:gd name="T20" fmla="*/ 678 w 741"/>
                <a:gd name="T21" fmla="*/ 410 h 656"/>
                <a:gd name="T22" fmla="*/ 373 w 741"/>
                <a:gd name="T23" fmla="*/ 491 h 656"/>
                <a:gd name="T24" fmla="*/ 386 w 741"/>
                <a:gd name="T25" fmla="*/ 539 h 656"/>
                <a:gd name="T26" fmla="*/ 623 w 741"/>
                <a:gd name="T27" fmla="*/ 539 h 656"/>
                <a:gd name="T28" fmla="*/ 741 w 741"/>
                <a:gd name="T29" fmla="*/ 656 h 656"/>
                <a:gd name="T30" fmla="*/ 116 w 741"/>
                <a:gd name="T31" fmla="*/ 656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1" h="656">
                  <a:moveTo>
                    <a:pt x="116" y="656"/>
                  </a:moveTo>
                  <a:cubicBezTo>
                    <a:pt x="116" y="617"/>
                    <a:pt x="136" y="582"/>
                    <a:pt x="165" y="561"/>
                  </a:cubicBezTo>
                  <a:cubicBezTo>
                    <a:pt x="138" y="546"/>
                    <a:pt x="113" y="528"/>
                    <a:pt x="92" y="506"/>
                  </a:cubicBezTo>
                  <a:cubicBezTo>
                    <a:pt x="35" y="449"/>
                    <a:pt x="0" y="371"/>
                    <a:pt x="0" y="284"/>
                  </a:cubicBezTo>
                  <a:cubicBezTo>
                    <a:pt x="0" y="162"/>
                    <a:pt x="71" y="52"/>
                    <a:pt x="181" y="0"/>
                  </a:cubicBezTo>
                  <a:cubicBezTo>
                    <a:pt x="171" y="41"/>
                    <a:pt x="182" y="86"/>
                    <a:pt x="210" y="118"/>
                  </a:cubicBezTo>
                  <a:cubicBezTo>
                    <a:pt x="156" y="151"/>
                    <a:pt x="120" y="210"/>
                    <a:pt x="118" y="275"/>
                  </a:cubicBezTo>
                  <a:cubicBezTo>
                    <a:pt x="114" y="385"/>
                    <a:pt x="226" y="466"/>
                    <a:pt x="347" y="437"/>
                  </a:cubicBezTo>
                  <a:cubicBezTo>
                    <a:pt x="663" y="353"/>
                    <a:pt x="663" y="353"/>
                    <a:pt x="663" y="353"/>
                  </a:cubicBezTo>
                  <a:cubicBezTo>
                    <a:pt x="678" y="349"/>
                    <a:pt x="694" y="358"/>
                    <a:pt x="699" y="374"/>
                  </a:cubicBezTo>
                  <a:cubicBezTo>
                    <a:pt x="703" y="389"/>
                    <a:pt x="693" y="406"/>
                    <a:pt x="678" y="410"/>
                  </a:cubicBezTo>
                  <a:cubicBezTo>
                    <a:pt x="373" y="491"/>
                    <a:pt x="373" y="491"/>
                    <a:pt x="373" y="491"/>
                  </a:cubicBezTo>
                  <a:cubicBezTo>
                    <a:pt x="386" y="539"/>
                    <a:pt x="386" y="539"/>
                    <a:pt x="386" y="539"/>
                  </a:cubicBezTo>
                  <a:cubicBezTo>
                    <a:pt x="623" y="539"/>
                    <a:pt x="623" y="539"/>
                    <a:pt x="623" y="539"/>
                  </a:cubicBezTo>
                  <a:cubicBezTo>
                    <a:pt x="688" y="539"/>
                    <a:pt x="741" y="591"/>
                    <a:pt x="741" y="656"/>
                  </a:cubicBezTo>
                  <a:lnTo>
                    <a:pt x="116" y="6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19" name="Freeform 42">
              <a:extLst>
                <a:ext uri="{FF2B5EF4-FFF2-40B4-BE49-F238E27FC236}">
                  <a16:creationId xmlns:a16="http://schemas.microsoft.com/office/drawing/2014/main" id="{BF66EC53-2EBE-42E6-9947-E224CFDC5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1" y="5043487"/>
              <a:ext cx="2587625" cy="1231900"/>
            </a:xfrm>
            <a:custGeom>
              <a:avLst/>
              <a:gdLst>
                <a:gd name="T0" fmla="*/ 40 w 229"/>
                <a:gd name="T1" fmla="*/ 104 h 109"/>
                <a:gd name="T2" fmla="*/ 4 w 229"/>
                <a:gd name="T3" fmla="*/ 84 h 109"/>
                <a:gd name="T4" fmla="*/ 25 w 229"/>
                <a:gd name="T5" fmla="*/ 48 h 109"/>
                <a:gd name="T6" fmla="*/ 188 w 229"/>
                <a:gd name="T7" fmla="*/ 4 h 109"/>
                <a:gd name="T8" fmla="*/ 224 w 229"/>
                <a:gd name="T9" fmla="*/ 25 h 109"/>
                <a:gd name="T10" fmla="*/ 204 w 229"/>
                <a:gd name="T11" fmla="*/ 61 h 109"/>
                <a:gd name="T12" fmla="*/ 40 w 229"/>
                <a:gd name="T13" fmla="*/ 10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109">
                  <a:moveTo>
                    <a:pt x="40" y="104"/>
                  </a:moveTo>
                  <a:cubicBezTo>
                    <a:pt x="25" y="109"/>
                    <a:pt x="9" y="99"/>
                    <a:pt x="4" y="84"/>
                  </a:cubicBezTo>
                  <a:cubicBezTo>
                    <a:pt x="0" y="68"/>
                    <a:pt x="10" y="52"/>
                    <a:pt x="25" y="48"/>
                  </a:cubicBezTo>
                  <a:cubicBezTo>
                    <a:pt x="188" y="4"/>
                    <a:pt x="188" y="4"/>
                    <a:pt x="188" y="4"/>
                  </a:cubicBezTo>
                  <a:cubicBezTo>
                    <a:pt x="204" y="0"/>
                    <a:pt x="220" y="9"/>
                    <a:pt x="224" y="25"/>
                  </a:cubicBezTo>
                  <a:cubicBezTo>
                    <a:pt x="229" y="40"/>
                    <a:pt x="219" y="57"/>
                    <a:pt x="204" y="61"/>
                  </a:cubicBezTo>
                  <a:lnTo>
                    <a:pt x="4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0" name="Freeform 43">
              <a:extLst>
                <a:ext uri="{FF2B5EF4-FFF2-40B4-BE49-F238E27FC236}">
                  <a16:creationId xmlns:a16="http://schemas.microsoft.com/office/drawing/2014/main" id="{F4A7E190-7CEA-4964-8B98-BB741ED0A2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4851" y="-539751"/>
              <a:ext cx="4092575" cy="5910263"/>
            </a:xfrm>
            <a:custGeom>
              <a:avLst/>
              <a:gdLst>
                <a:gd name="T0" fmla="*/ 105 w 362"/>
                <a:gd name="T1" fmla="*/ 348 h 523"/>
                <a:gd name="T2" fmla="*/ 69 w 362"/>
                <a:gd name="T3" fmla="*/ 327 h 523"/>
                <a:gd name="T4" fmla="*/ 90 w 362"/>
                <a:gd name="T5" fmla="*/ 291 h 523"/>
                <a:gd name="T6" fmla="*/ 126 w 362"/>
                <a:gd name="T7" fmla="*/ 312 h 523"/>
                <a:gd name="T8" fmla="*/ 105 w 362"/>
                <a:gd name="T9" fmla="*/ 348 h 523"/>
                <a:gd name="T10" fmla="*/ 358 w 362"/>
                <a:gd name="T11" fmla="*/ 441 h 523"/>
                <a:gd name="T12" fmla="*/ 271 w 362"/>
                <a:gd name="T13" fmla="*/ 115 h 523"/>
                <a:gd name="T14" fmla="*/ 233 w 362"/>
                <a:gd name="T15" fmla="*/ 93 h 523"/>
                <a:gd name="T16" fmla="*/ 206 w 362"/>
                <a:gd name="T17" fmla="*/ 101 h 523"/>
                <a:gd name="T18" fmla="*/ 182 w 362"/>
                <a:gd name="T19" fmla="*/ 12 h 523"/>
                <a:gd name="T20" fmla="*/ 164 w 362"/>
                <a:gd name="T21" fmla="*/ 2 h 523"/>
                <a:gd name="T22" fmla="*/ 93 w 362"/>
                <a:gd name="T23" fmla="*/ 21 h 523"/>
                <a:gd name="T24" fmla="*/ 83 w 362"/>
                <a:gd name="T25" fmla="*/ 39 h 523"/>
                <a:gd name="T26" fmla="*/ 107 w 362"/>
                <a:gd name="T27" fmla="*/ 127 h 523"/>
                <a:gd name="T28" fmla="*/ 80 w 362"/>
                <a:gd name="T29" fmla="*/ 135 h 523"/>
                <a:gd name="T30" fmla="*/ 58 w 362"/>
                <a:gd name="T31" fmla="*/ 172 h 523"/>
                <a:gd name="T32" fmla="*/ 75 w 362"/>
                <a:gd name="T33" fmla="*/ 235 h 523"/>
                <a:gd name="T34" fmla="*/ 12 w 362"/>
                <a:gd name="T35" fmla="*/ 342 h 523"/>
                <a:gd name="T36" fmla="*/ 120 w 362"/>
                <a:gd name="T37" fmla="*/ 405 h 523"/>
                <a:gd name="T38" fmla="*/ 120 w 362"/>
                <a:gd name="T39" fmla="*/ 405 h 523"/>
                <a:gd name="T40" fmla="*/ 145 w 362"/>
                <a:gd name="T41" fmla="*/ 498 h 523"/>
                <a:gd name="T42" fmla="*/ 181 w 362"/>
                <a:gd name="T43" fmla="*/ 518 h 523"/>
                <a:gd name="T44" fmla="*/ 337 w 362"/>
                <a:gd name="T45" fmla="*/ 477 h 523"/>
                <a:gd name="T46" fmla="*/ 358 w 362"/>
                <a:gd name="T47" fmla="*/ 441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2" h="523">
                  <a:moveTo>
                    <a:pt x="105" y="348"/>
                  </a:moveTo>
                  <a:cubicBezTo>
                    <a:pt x="89" y="352"/>
                    <a:pt x="73" y="343"/>
                    <a:pt x="69" y="327"/>
                  </a:cubicBezTo>
                  <a:cubicBezTo>
                    <a:pt x="65" y="311"/>
                    <a:pt x="74" y="295"/>
                    <a:pt x="90" y="291"/>
                  </a:cubicBezTo>
                  <a:cubicBezTo>
                    <a:pt x="106" y="287"/>
                    <a:pt x="122" y="296"/>
                    <a:pt x="126" y="312"/>
                  </a:cubicBezTo>
                  <a:cubicBezTo>
                    <a:pt x="130" y="328"/>
                    <a:pt x="121" y="344"/>
                    <a:pt x="105" y="348"/>
                  </a:cubicBezTo>
                  <a:close/>
                  <a:moveTo>
                    <a:pt x="358" y="441"/>
                  </a:moveTo>
                  <a:cubicBezTo>
                    <a:pt x="271" y="115"/>
                    <a:pt x="271" y="115"/>
                    <a:pt x="271" y="115"/>
                  </a:cubicBezTo>
                  <a:cubicBezTo>
                    <a:pt x="266" y="99"/>
                    <a:pt x="250" y="89"/>
                    <a:pt x="233" y="93"/>
                  </a:cubicBezTo>
                  <a:cubicBezTo>
                    <a:pt x="206" y="101"/>
                    <a:pt x="206" y="101"/>
                    <a:pt x="206" y="101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0" y="4"/>
                    <a:pt x="172" y="0"/>
                    <a:pt x="164" y="2"/>
                  </a:cubicBezTo>
                  <a:cubicBezTo>
                    <a:pt x="93" y="21"/>
                    <a:pt x="93" y="21"/>
                    <a:pt x="93" y="21"/>
                  </a:cubicBezTo>
                  <a:cubicBezTo>
                    <a:pt x="86" y="23"/>
                    <a:pt x="81" y="31"/>
                    <a:pt x="83" y="39"/>
                  </a:cubicBezTo>
                  <a:cubicBezTo>
                    <a:pt x="107" y="127"/>
                    <a:pt x="107" y="127"/>
                    <a:pt x="107" y="127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63" y="139"/>
                    <a:pt x="54" y="156"/>
                    <a:pt x="58" y="172"/>
                  </a:cubicBezTo>
                  <a:cubicBezTo>
                    <a:pt x="75" y="235"/>
                    <a:pt x="75" y="235"/>
                    <a:pt x="75" y="235"/>
                  </a:cubicBezTo>
                  <a:cubicBezTo>
                    <a:pt x="28" y="247"/>
                    <a:pt x="0" y="295"/>
                    <a:pt x="12" y="342"/>
                  </a:cubicBezTo>
                  <a:cubicBezTo>
                    <a:pt x="25" y="389"/>
                    <a:pt x="73" y="417"/>
                    <a:pt x="120" y="405"/>
                  </a:cubicBezTo>
                  <a:cubicBezTo>
                    <a:pt x="120" y="405"/>
                    <a:pt x="120" y="405"/>
                    <a:pt x="120" y="405"/>
                  </a:cubicBezTo>
                  <a:cubicBezTo>
                    <a:pt x="145" y="498"/>
                    <a:pt x="145" y="498"/>
                    <a:pt x="145" y="498"/>
                  </a:cubicBezTo>
                  <a:cubicBezTo>
                    <a:pt x="150" y="513"/>
                    <a:pt x="166" y="523"/>
                    <a:pt x="181" y="518"/>
                  </a:cubicBezTo>
                  <a:cubicBezTo>
                    <a:pt x="337" y="477"/>
                    <a:pt x="337" y="477"/>
                    <a:pt x="337" y="477"/>
                  </a:cubicBezTo>
                  <a:cubicBezTo>
                    <a:pt x="353" y="472"/>
                    <a:pt x="362" y="456"/>
                    <a:pt x="358" y="4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pic>
        <p:nvPicPr>
          <p:cNvPr id="21" name="Picture 20" descr="Logo&#10;&#10;Description automatically generated">
            <a:extLst>
              <a:ext uri="{FF2B5EF4-FFF2-40B4-BE49-F238E27FC236}">
                <a16:creationId xmlns:a16="http://schemas.microsoft.com/office/drawing/2014/main" id="{BEBFD207-251D-45FF-B047-4B4ABD06399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32883" y="6120714"/>
            <a:ext cx="1017656" cy="420241"/>
          </a:xfrm>
          <a:prstGeom prst="rect">
            <a:avLst/>
          </a:prstGeom>
        </p:spPr>
      </p:pic>
      <p:sp>
        <p:nvSpPr>
          <p:cNvPr id="22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5E78A3AA-A87A-4366-9F11-EB1B6F235C3C}"/>
              </a:ext>
            </a:extLst>
          </p:cNvPr>
          <p:cNvSpPr/>
          <p:nvPr userDrawn="1"/>
        </p:nvSpPr>
        <p:spPr>
          <a:xfrm rot="5400000">
            <a:off x="11809682" y="871594"/>
            <a:ext cx="320468" cy="437817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7173143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llar 2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4" name="Round Same-side Corner of Rectangle 79">
            <a:extLst>
              <a:ext uri="{FF2B5EF4-FFF2-40B4-BE49-F238E27FC236}">
                <a16:creationId xmlns:a16="http://schemas.microsoft.com/office/drawing/2014/main" id="{429E155D-7E57-4822-8852-F94F1A49D6FC}"/>
              </a:ext>
            </a:extLst>
          </p:cNvPr>
          <p:cNvSpPr/>
          <p:nvPr userDrawn="1"/>
        </p:nvSpPr>
        <p:spPr>
          <a:xfrm rot="16200000">
            <a:off x="11384856" y="4661233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8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0" name="Round Same-side Corner of Rectangle 79">
            <a:extLst>
              <a:ext uri="{FF2B5EF4-FFF2-40B4-BE49-F238E27FC236}">
                <a16:creationId xmlns:a16="http://schemas.microsoft.com/office/drawing/2014/main" id="{DA632258-7E89-4C63-86BD-EA679E94BCAB}"/>
              </a:ext>
            </a:extLst>
          </p:cNvPr>
          <p:cNvSpPr/>
          <p:nvPr userDrawn="1"/>
        </p:nvSpPr>
        <p:spPr>
          <a:xfrm rot="16200000">
            <a:off x="11384854" y="4208631"/>
            <a:ext cx="388777" cy="104122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7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1" name="Round Same-side Corner of Rectangle 79">
            <a:extLst>
              <a:ext uri="{FF2B5EF4-FFF2-40B4-BE49-F238E27FC236}">
                <a16:creationId xmlns:a16="http://schemas.microsoft.com/office/drawing/2014/main" id="{D4B93879-3513-4875-A1C4-5980915623CE}"/>
              </a:ext>
            </a:extLst>
          </p:cNvPr>
          <p:cNvSpPr/>
          <p:nvPr userDrawn="1"/>
        </p:nvSpPr>
        <p:spPr>
          <a:xfrm rot="16200000">
            <a:off x="11384854" y="3756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6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8" name="Round Same-side Corner of Rectangle 79">
            <a:extLst>
              <a:ext uri="{FF2B5EF4-FFF2-40B4-BE49-F238E27FC236}">
                <a16:creationId xmlns:a16="http://schemas.microsoft.com/office/drawing/2014/main" id="{312255C5-65A9-47AB-B67B-8924547FF7C2}"/>
              </a:ext>
            </a:extLst>
          </p:cNvPr>
          <p:cNvSpPr/>
          <p:nvPr userDrawn="1"/>
        </p:nvSpPr>
        <p:spPr>
          <a:xfrm rot="16200000">
            <a:off x="11384854" y="33034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5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9" name="Round Same-side Corner of Rectangle 79">
            <a:extLst>
              <a:ext uri="{FF2B5EF4-FFF2-40B4-BE49-F238E27FC236}">
                <a16:creationId xmlns:a16="http://schemas.microsoft.com/office/drawing/2014/main" id="{F23596D5-FD36-49E3-B746-F3D7A290DF3D}"/>
              </a:ext>
            </a:extLst>
          </p:cNvPr>
          <p:cNvSpPr/>
          <p:nvPr userDrawn="1"/>
        </p:nvSpPr>
        <p:spPr>
          <a:xfrm rot="16200000">
            <a:off x="11384853" y="28508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4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7" name="Round Same-side Corner of Rectangle 79">
            <a:extLst>
              <a:ext uri="{FF2B5EF4-FFF2-40B4-BE49-F238E27FC236}">
                <a16:creationId xmlns:a16="http://schemas.microsoft.com/office/drawing/2014/main" id="{059574F1-9FE9-480C-B4ED-14EFB4169B0E}"/>
              </a:ext>
            </a:extLst>
          </p:cNvPr>
          <p:cNvSpPr/>
          <p:nvPr userDrawn="1"/>
        </p:nvSpPr>
        <p:spPr>
          <a:xfrm rot="16200000">
            <a:off x="11384854" y="23982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3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8" name="Round Same-side Corner of Rectangle 79">
            <a:extLst>
              <a:ext uri="{FF2B5EF4-FFF2-40B4-BE49-F238E27FC236}">
                <a16:creationId xmlns:a16="http://schemas.microsoft.com/office/drawing/2014/main" id="{82236BCB-3538-4E87-B0C9-CACC40793A57}"/>
              </a:ext>
            </a:extLst>
          </p:cNvPr>
          <p:cNvSpPr/>
          <p:nvPr userDrawn="1"/>
        </p:nvSpPr>
        <p:spPr>
          <a:xfrm rot="16200000">
            <a:off x="11219847" y="1780623"/>
            <a:ext cx="388777" cy="137124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2102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600" b="1"/>
              <a:t>Pillar  </a:t>
            </a:r>
            <a:r>
              <a:rPr lang="en-US" sz="1600" b="1"/>
              <a:t>2</a:t>
            </a:r>
          </a:p>
        </p:txBody>
      </p:sp>
      <p:sp>
        <p:nvSpPr>
          <p:cNvPr id="89" name="Round Same-side Corner of Rectangle 79">
            <a:extLst>
              <a:ext uri="{FF2B5EF4-FFF2-40B4-BE49-F238E27FC236}">
                <a16:creationId xmlns:a16="http://schemas.microsoft.com/office/drawing/2014/main" id="{61090AD0-0469-4342-901A-FC4BE401662F}"/>
              </a:ext>
            </a:extLst>
          </p:cNvPr>
          <p:cNvSpPr/>
          <p:nvPr userDrawn="1"/>
        </p:nvSpPr>
        <p:spPr>
          <a:xfrm rot="16200000">
            <a:off x="11384854" y="1493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1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96" name="Round Same-side Corner of Rectangle 79">
            <a:extLst>
              <a:ext uri="{FF2B5EF4-FFF2-40B4-BE49-F238E27FC236}">
                <a16:creationId xmlns:a16="http://schemas.microsoft.com/office/drawing/2014/main" id="{75C801CE-9FCA-486D-96A7-6973FA449CCA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8" name="Round Same-side Corner of Rectangle 79">
            <a:extLst>
              <a:ext uri="{FF2B5EF4-FFF2-40B4-BE49-F238E27FC236}">
                <a16:creationId xmlns:a16="http://schemas.microsoft.com/office/drawing/2014/main" id="{B358AAFE-318C-4629-9F49-D9DBA46F85EC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59F5BB7-4D21-44D2-8F86-287E052C3996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579212C-AD85-4695-B0B7-90599ED32D80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5" name="Round Same-side Corner of Rectangle 79">
            <a:extLst>
              <a:ext uri="{FF2B5EF4-FFF2-40B4-BE49-F238E27FC236}">
                <a16:creationId xmlns:a16="http://schemas.microsoft.com/office/drawing/2014/main" id="{8D1F6C42-3796-49CA-A851-241F200C3402}"/>
              </a:ext>
            </a:extLst>
          </p:cNvPr>
          <p:cNvSpPr/>
          <p:nvPr userDrawn="1"/>
        </p:nvSpPr>
        <p:spPr>
          <a:xfrm rot="16200000">
            <a:off x="11900597" y="2372405"/>
            <a:ext cx="388777" cy="18768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>
              <a:lumMod val="75000"/>
              <a:alpha val="59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19" name="TextBox 18">
            <a:hlinkClick r:id="" action="ppaction://noaction"/>
            <a:extLst>
              <a:ext uri="{FF2B5EF4-FFF2-40B4-BE49-F238E27FC236}">
                <a16:creationId xmlns:a16="http://schemas.microsoft.com/office/drawing/2014/main" id="{0CF45F4B-4FA4-4C1C-B78A-B7DA5BE65159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20" name="TextBox 19">
            <a:hlinkClick r:id="" action="ppaction://noaction"/>
            <a:extLst>
              <a:ext uri="{FF2B5EF4-FFF2-40B4-BE49-F238E27FC236}">
                <a16:creationId xmlns:a16="http://schemas.microsoft.com/office/drawing/2014/main" id="{859B4109-44C8-4B0C-9D54-97003719C43B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492D6A39-4B7E-42CA-84A9-51A8D16986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57E4AE8E-C52F-4786-92C4-A8CD07AE5B0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C43B84A-907D-4A45-AFAE-200B374A0B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49" name="Freeform 9">
            <a:extLst>
              <a:ext uri="{FF2B5EF4-FFF2-40B4-BE49-F238E27FC236}">
                <a16:creationId xmlns:a16="http://schemas.microsoft.com/office/drawing/2014/main" id="{D9267719-A3D5-44D7-B7BB-7858B2BE0A8D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95767" y="4176118"/>
            <a:ext cx="181694" cy="212254"/>
          </a:xfrm>
          <a:custGeom>
            <a:avLst/>
            <a:gdLst>
              <a:gd name="T0" fmla="*/ 708 w 809"/>
              <a:gd name="T1" fmla="*/ 509 h 945"/>
              <a:gd name="T2" fmla="*/ 405 w 809"/>
              <a:gd name="T3" fmla="*/ 838 h 945"/>
              <a:gd name="T4" fmla="*/ 404 w 809"/>
              <a:gd name="T5" fmla="*/ 838 h 945"/>
              <a:gd name="T6" fmla="*/ 404 w 809"/>
              <a:gd name="T7" fmla="*/ 473 h 945"/>
              <a:gd name="T8" fmla="*/ 101 w 809"/>
              <a:gd name="T9" fmla="*/ 473 h 945"/>
              <a:gd name="T10" fmla="*/ 101 w 809"/>
              <a:gd name="T11" fmla="*/ 245 h 945"/>
              <a:gd name="T12" fmla="*/ 404 w 809"/>
              <a:gd name="T13" fmla="*/ 123 h 945"/>
              <a:gd name="T14" fmla="*/ 404 w 809"/>
              <a:gd name="T15" fmla="*/ 473 h 945"/>
              <a:gd name="T16" fmla="*/ 708 w 809"/>
              <a:gd name="T17" fmla="*/ 473 h 945"/>
              <a:gd name="T18" fmla="*/ 708 w 809"/>
              <a:gd name="T19" fmla="*/ 509 h 945"/>
              <a:gd name="T20" fmla="*/ 792 w 809"/>
              <a:gd name="T21" fmla="*/ 150 h 945"/>
              <a:gd name="T22" fmla="*/ 415 w 809"/>
              <a:gd name="T23" fmla="*/ 4 h 945"/>
              <a:gd name="T24" fmla="*/ 394 w 809"/>
              <a:gd name="T25" fmla="*/ 4 h 945"/>
              <a:gd name="T26" fmla="*/ 17 w 809"/>
              <a:gd name="T27" fmla="*/ 150 h 945"/>
              <a:gd name="T28" fmla="*/ 0 w 809"/>
              <a:gd name="T29" fmla="*/ 168 h 945"/>
              <a:gd name="T30" fmla="*/ 0 w 809"/>
              <a:gd name="T31" fmla="*/ 508 h 945"/>
              <a:gd name="T32" fmla="*/ 398 w 809"/>
              <a:gd name="T33" fmla="*/ 944 h 945"/>
              <a:gd name="T34" fmla="*/ 410 w 809"/>
              <a:gd name="T35" fmla="*/ 944 h 945"/>
              <a:gd name="T36" fmla="*/ 809 w 809"/>
              <a:gd name="T37" fmla="*/ 508 h 945"/>
              <a:gd name="T38" fmla="*/ 809 w 809"/>
              <a:gd name="T39" fmla="*/ 168 h 945"/>
              <a:gd name="T40" fmla="*/ 792 w 809"/>
              <a:gd name="T41" fmla="*/ 150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9" h="945">
                <a:moveTo>
                  <a:pt x="708" y="509"/>
                </a:moveTo>
                <a:cubicBezTo>
                  <a:pt x="708" y="713"/>
                  <a:pt x="483" y="811"/>
                  <a:pt x="405" y="838"/>
                </a:cubicBezTo>
                <a:cubicBezTo>
                  <a:pt x="405" y="838"/>
                  <a:pt x="404" y="838"/>
                  <a:pt x="404" y="838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101" y="473"/>
                  <a:pt x="101" y="473"/>
                  <a:pt x="101" y="473"/>
                </a:cubicBezTo>
                <a:cubicBezTo>
                  <a:pt x="101" y="245"/>
                  <a:pt x="101" y="245"/>
                  <a:pt x="101" y="245"/>
                </a:cubicBezTo>
                <a:cubicBezTo>
                  <a:pt x="185" y="231"/>
                  <a:pt x="288" y="197"/>
                  <a:pt x="404" y="123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708" y="473"/>
                  <a:pt x="708" y="473"/>
                  <a:pt x="708" y="473"/>
                </a:cubicBezTo>
                <a:lnTo>
                  <a:pt x="708" y="509"/>
                </a:lnTo>
                <a:close/>
                <a:moveTo>
                  <a:pt x="792" y="150"/>
                </a:moveTo>
                <a:cubicBezTo>
                  <a:pt x="691" y="146"/>
                  <a:pt x="562" y="109"/>
                  <a:pt x="415" y="4"/>
                </a:cubicBezTo>
                <a:cubicBezTo>
                  <a:pt x="409" y="0"/>
                  <a:pt x="400" y="0"/>
                  <a:pt x="394" y="4"/>
                </a:cubicBezTo>
                <a:cubicBezTo>
                  <a:pt x="247" y="109"/>
                  <a:pt x="118" y="146"/>
                  <a:pt x="17" y="150"/>
                </a:cubicBezTo>
                <a:cubicBezTo>
                  <a:pt x="7" y="150"/>
                  <a:pt x="0" y="158"/>
                  <a:pt x="0" y="168"/>
                </a:cubicBezTo>
                <a:cubicBezTo>
                  <a:pt x="0" y="209"/>
                  <a:pt x="0" y="325"/>
                  <a:pt x="0" y="508"/>
                </a:cubicBezTo>
                <a:cubicBezTo>
                  <a:pt x="0" y="792"/>
                  <a:pt x="348" y="926"/>
                  <a:pt x="398" y="944"/>
                </a:cubicBezTo>
                <a:cubicBezTo>
                  <a:pt x="402" y="945"/>
                  <a:pt x="406" y="945"/>
                  <a:pt x="410" y="944"/>
                </a:cubicBezTo>
                <a:cubicBezTo>
                  <a:pt x="460" y="926"/>
                  <a:pt x="809" y="792"/>
                  <a:pt x="809" y="508"/>
                </a:cubicBezTo>
                <a:cubicBezTo>
                  <a:pt x="809" y="325"/>
                  <a:pt x="809" y="209"/>
                  <a:pt x="809" y="168"/>
                </a:cubicBezTo>
                <a:cubicBezTo>
                  <a:pt x="809" y="158"/>
                  <a:pt x="801" y="150"/>
                  <a:pt x="792" y="15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50" name="Freeform 13">
            <a:extLst>
              <a:ext uri="{FF2B5EF4-FFF2-40B4-BE49-F238E27FC236}">
                <a16:creationId xmlns:a16="http://schemas.microsoft.com/office/drawing/2014/main" id="{736F3B43-65FA-4BA6-9ED3-6B58EB6DE32B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87920" y="5097137"/>
            <a:ext cx="218911" cy="197141"/>
          </a:xfrm>
          <a:custGeom>
            <a:avLst/>
            <a:gdLst>
              <a:gd name="T0" fmla="*/ 757 w 1043"/>
              <a:gd name="T1" fmla="*/ 313 h 939"/>
              <a:gd name="T2" fmla="*/ 313 w 1043"/>
              <a:gd name="T3" fmla="*/ 321 h 939"/>
              <a:gd name="T4" fmla="*/ 321 w 1043"/>
              <a:gd name="T5" fmla="*/ 348 h 939"/>
              <a:gd name="T6" fmla="*/ 765 w 1043"/>
              <a:gd name="T7" fmla="*/ 340 h 939"/>
              <a:gd name="T8" fmla="*/ 765 w 1043"/>
              <a:gd name="T9" fmla="*/ 251 h 939"/>
              <a:gd name="T10" fmla="*/ 321 w 1043"/>
              <a:gd name="T11" fmla="*/ 243 h 939"/>
              <a:gd name="T12" fmla="*/ 313 w 1043"/>
              <a:gd name="T13" fmla="*/ 270 h 939"/>
              <a:gd name="T14" fmla="*/ 757 w 1043"/>
              <a:gd name="T15" fmla="*/ 278 h 939"/>
              <a:gd name="T16" fmla="*/ 765 w 1043"/>
              <a:gd name="T17" fmla="*/ 251 h 939"/>
              <a:gd name="T18" fmla="*/ 757 w 1043"/>
              <a:gd name="T19" fmla="*/ 382 h 939"/>
              <a:gd name="T20" fmla="*/ 313 w 1043"/>
              <a:gd name="T21" fmla="*/ 390 h 939"/>
              <a:gd name="T22" fmla="*/ 321 w 1043"/>
              <a:gd name="T23" fmla="*/ 417 h 939"/>
              <a:gd name="T24" fmla="*/ 765 w 1043"/>
              <a:gd name="T25" fmla="*/ 409 h 939"/>
              <a:gd name="T26" fmla="*/ 765 w 1043"/>
              <a:gd name="T27" fmla="*/ 182 h 939"/>
              <a:gd name="T28" fmla="*/ 321 w 1043"/>
              <a:gd name="T29" fmla="*/ 174 h 939"/>
              <a:gd name="T30" fmla="*/ 313 w 1043"/>
              <a:gd name="T31" fmla="*/ 201 h 939"/>
              <a:gd name="T32" fmla="*/ 757 w 1043"/>
              <a:gd name="T33" fmla="*/ 209 h 939"/>
              <a:gd name="T34" fmla="*/ 765 w 1043"/>
              <a:gd name="T35" fmla="*/ 182 h 939"/>
              <a:gd name="T36" fmla="*/ 1027 w 1043"/>
              <a:gd name="T37" fmla="*/ 730 h 939"/>
              <a:gd name="T38" fmla="*/ 491 w 1043"/>
              <a:gd name="T39" fmla="*/ 735 h 939"/>
              <a:gd name="T40" fmla="*/ 487 w 1043"/>
              <a:gd name="T41" fmla="*/ 747 h 939"/>
              <a:gd name="T42" fmla="*/ 358 w 1043"/>
              <a:gd name="T43" fmla="*/ 869 h 939"/>
              <a:gd name="T44" fmla="*/ 243 w 1043"/>
              <a:gd name="T45" fmla="*/ 757 h 939"/>
              <a:gd name="T46" fmla="*/ 243 w 1043"/>
              <a:gd name="T47" fmla="*/ 139 h 939"/>
              <a:gd name="T48" fmla="*/ 742 w 1043"/>
              <a:gd name="T49" fmla="*/ 69 h 939"/>
              <a:gd name="T50" fmla="*/ 834 w 1043"/>
              <a:gd name="T51" fmla="*/ 695 h 939"/>
              <a:gd name="T52" fmla="*/ 904 w 1043"/>
              <a:gd name="T53" fmla="*/ 161 h 939"/>
              <a:gd name="T54" fmla="*/ 685 w 1043"/>
              <a:gd name="T55" fmla="*/ 0 h 939"/>
              <a:gd name="T56" fmla="*/ 0 w 1043"/>
              <a:gd name="T57" fmla="*/ 174 h 939"/>
              <a:gd name="T58" fmla="*/ 16 w 1043"/>
              <a:gd name="T59" fmla="*/ 209 h 939"/>
              <a:gd name="T60" fmla="*/ 174 w 1043"/>
              <a:gd name="T61" fmla="*/ 757 h 939"/>
              <a:gd name="T62" fmla="*/ 820 w 1043"/>
              <a:gd name="T63" fmla="*/ 939 h 939"/>
              <a:gd name="T64" fmla="*/ 1043 w 1043"/>
              <a:gd name="T65" fmla="*/ 765 h 939"/>
              <a:gd name="T66" fmla="*/ 765 w 1043"/>
              <a:gd name="T67" fmla="*/ 529 h 939"/>
              <a:gd name="T68" fmla="*/ 321 w 1043"/>
              <a:gd name="T69" fmla="*/ 522 h 939"/>
              <a:gd name="T70" fmla="*/ 313 w 1043"/>
              <a:gd name="T71" fmla="*/ 548 h 939"/>
              <a:gd name="T72" fmla="*/ 757 w 1043"/>
              <a:gd name="T73" fmla="*/ 556 h 939"/>
              <a:gd name="T74" fmla="*/ 765 w 1043"/>
              <a:gd name="T75" fmla="*/ 529 h 939"/>
              <a:gd name="T76" fmla="*/ 757 w 1043"/>
              <a:gd name="T77" fmla="*/ 452 h 939"/>
              <a:gd name="T78" fmla="*/ 313 w 1043"/>
              <a:gd name="T79" fmla="*/ 460 h 939"/>
              <a:gd name="T80" fmla="*/ 321 w 1043"/>
              <a:gd name="T81" fmla="*/ 487 h 939"/>
              <a:gd name="T82" fmla="*/ 765 w 1043"/>
              <a:gd name="T83" fmla="*/ 479 h 939"/>
              <a:gd name="T84" fmla="*/ 765 w 1043"/>
              <a:gd name="T85" fmla="*/ 599 h 939"/>
              <a:gd name="T86" fmla="*/ 757 w 1043"/>
              <a:gd name="T87" fmla="*/ 626 h 939"/>
              <a:gd name="T88" fmla="*/ 313 w 1043"/>
              <a:gd name="T89" fmla="*/ 618 h 939"/>
              <a:gd name="T90" fmla="*/ 321 w 1043"/>
              <a:gd name="T91" fmla="*/ 591 h 939"/>
              <a:gd name="T92" fmla="*/ 765 w 1043"/>
              <a:gd name="T93" fmla="*/ 59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43" h="939">
                <a:moveTo>
                  <a:pt x="765" y="321"/>
                </a:moveTo>
                <a:cubicBezTo>
                  <a:pt x="765" y="316"/>
                  <a:pt x="761" y="313"/>
                  <a:pt x="757" y="313"/>
                </a:cubicBezTo>
                <a:cubicBezTo>
                  <a:pt x="321" y="313"/>
                  <a:pt x="321" y="313"/>
                  <a:pt x="321" y="313"/>
                </a:cubicBezTo>
                <a:cubicBezTo>
                  <a:pt x="316" y="313"/>
                  <a:pt x="313" y="316"/>
                  <a:pt x="313" y="321"/>
                </a:cubicBezTo>
                <a:cubicBezTo>
                  <a:pt x="313" y="340"/>
                  <a:pt x="313" y="340"/>
                  <a:pt x="313" y="340"/>
                </a:cubicBezTo>
                <a:cubicBezTo>
                  <a:pt x="313" y="344"/>
                  <a:pt x="316" y="348"/>
                  <a:pt x="321" y="348"/>
                </a:cubicBezTo>
                <a:cubicBezTo>
                  <a:pt x="757" y="348"/>
                  <a:pt x="757" y="348"/>
                  <a:pt x="757" y="348"/>
                </a:cubicBezTo>
                <a:cubicBezTo>
                  <a:pt x="761" y="348"/>
                  <a:pt x="765" y="344"/>
                  <a:pt x="765" y="340"/>
                </a:cubicBezTo>
                <a:lnTo>
                  <a:pt x="765" y="321"/>
                </a:lnTo>
                <a:close/>
                <a:moveTo>
                  <a:pt x="765" y="251"/>
                </a:moveTo>
                <a:cubicBezTo>
                  <a:pt x="765" y="247"/>
                  <a:pt x="761" y="243"/>
                  <a:pt x="757" y="243"/>
                </a:cubicBezTo>
                <a:cubicBezTo>
                  <a:pt x="321" y="243"/>
                  <a:pt x="321" y="243"/>
                  <a:pt x="321" y="243"/>
                </a:cubicBezTo>
                <a:cubicBezTo>
                  <a:pt x="316" y="243"/>
                  <a:pt x="313" y="247"/>
                  <a:pt x="313" y="251"/>
                </a:cubicBezTo>
                <a:cubicBezTo>
                  <a:pt x="313" y="270"/>
                  <a:pt x="313" y="270"/>
                  <a:pt x="313" y="270"/>
                </a:cubicBezTo>
                <a:cubicBezTo>
                  <a:pt x="313" y="275"/>
                  <a:pt x="316" y="278"/>
                  <a:pt x="321" y="278"/>
                </a:cubicBezTo>
                <a:cubicBezTo>
                  <a:pt x="757" y="278"/>
                  <a:pt x="757" y="278"/>
                  <a:pt x="757" y="278"/>
                </a:cubicBezTo>
                <a:cubicBezTo>
                  <a:pt x="761" y="278"/>
                  <a:pt x="765" y="275"/>
                  <a:pt x="765" y="270"/>
                </a:cubicBezTo>
                <a:lnTo>
                  <a:pt x="765" y="251"/>
                </a:lnTo>
                <a:close/>
                <a:moveTo>
                  <a:pt x="765" y="390"/>
                </a:moveTo>
                <a:cubicBezTo>
                  <a:pt x="765" y="386"/>
                  <a:pt x="761" y="382"/>
                  <a:pt x="757" y="382"/>
                </a:cubicBezTo>
                <a:cubicBezTo>
                  <a:pt x="321" y="382"/>
                  <a:pt x="321" y="382"/>
                  <a:pt x="321" y="382"/>
                </a:cubicBezTo>
                <a:cubicBezTo>
                  <a:pt x="316" y="382"/>
                  <a:pt x="313" y="386"/>
                  <a:pt x="313" y="390"/>
                </a:cubicBezTo>
                <a:cubicBezTo>
                  <a:pt x="313" y="409"/>
                  <a:pt x="313" y="409"/>
                  <a:pt x="313" y="409"/>
                </a:cubicBezTo>
                <a:cubicBezTo>
                  <a:pt x="313" y="414"/>
                  <a:pt x="316" y="417"/>
                  <a:pt x="321" y="417"/>
                </a:cubicBezTo>
                <a:cubicBezTo>
                  <a:pt x="757" y="417"/>
                  <a:pt x="757" y="417"/>
                  <a:pt x="757" y="417"/>
                </a:cubicBezTo>
                <a:cubicBezTo>
                  <a:pt x="761" y="417"/>
                  <a:pt x="765" y="414"/>
                  <a:pt x="765" y="409"/>
                </a:cubicBezTo>
                <a:lnTo>
                  <a:pt x="765" y="390"/>
                </a:lnTo>
                <a:close/>
                <a:moveTo>
                  <a:pt x="765" y="182"/>
                </a:moveTo>
                <a:cubicBezTo>
                  <a:pt x="765" y="177"/>
                  <a:pt x="761" y="174"/>
                  <a:pt x="757" y="174"/>
                </a:cubicBezTo>
                <a:cubicBezTo>
                  <a:pt x="321" y="174"/>
                  <a:pt x="321" y="174"/>
                  <a:pt x="321" y="174"/>
                </a:cubicBezTo>
                <a:cubicBezTo>
                  <a:pt x="316" y="174"/>
                  <a:pt x="313" y="177"/>
                  <a:pt x="313" y="182"/>
                </a:cubicBezTo>
                <a:cubicBezTo>
                  <a:pt x="313" y="201"/>
                  <a:pt x="313" y="201"/>
                  <a:pt x="313" y="201"/>
                </a:cubicBezTo>
                <a:cubicBezTo>
                  <a:pt x="313" y="205"/>
                  <a:pt x="316" y="209"/>
                  <a:pt x="321" y="209"/>
                </a:cubicBezTo>
                <a:cubicBezTo>
                  <a:pt x="757" y="209"/>
                  <a:pt x="757" y="209"/>
                  <a:pt x="757" y="209"/>
                </a:cubicBezTo>
                <a:cubicBezTo>
                  <a:pt x="761" y="209"/>
                  <a:pt x="765" y="205"/>
                  <a:pt x="765" y="201"/>
                </a:cubicBezTo>
                <a:lnTo>
                  <a:pt x="765" y="182"/>
                </a:lnTo>
                <a:close/>
                <a:moveTo>
                  <a:pt x="1041" y="743"/>
                </a:moveTo>
                <a:cubicBezTo>
                  <a:pt x="1041" y="736"/>
                  <a:pt x="1034" y="730"/>
                  <a:pt x="1027" y="730"/>
                </a:cubicBezTo>
                <a:cubicBezTo>
                  <a:pt x="501" y="730"/>
                  <a:pt x="501" y="730"/>
                  <a:pt x="501" y="730"/>
                </a:cubicBezTo>
                <a:cubicBezTo>
                  <a:pt x="497" y="730"/>
                  <a:pt x="494" y="732"/>
                  <a:pt x="491" y="735"/>
                </a:cubicBezTo>
                <a:cubicBezTo>
                  <a:pt x="488" y="737"/>
                  <a:pt x="486" y="741"/>
                  <a:pt x="487" y="745"/>
                </a:cubicBezTo>
                <a:cubicBezTo>
                  <a:pt x="487" y="746"/>
                  <a:pt x="487" y="747"/>
                  <a:pt x="487" y="747"/>
                </a:cubicBezTo>
                <a:cubicBezTo>
                  <a:pt x="487" y="815"/>
                  <a:pt x="432" y="869"/>
                  <a:pt x="365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295" y="869"/>
                  <a:pt x="243" y="819"/>
                  <a:pt x="243" y="757"/>
                </a:cubicBezTo>
                <a:cubicBezTo>
                  <a:pt x="243" y="757"/>
                  <a:pt x="243" y="243"/>
                  <a:pt x="243" y="174"/>
                </a:cubicBezTo>
                <a:cubicBezTo>
                  <a:pt x="243" y="139"/>
                  <a:pt x="243" y="139"/>
                  <a:pt x="243" y="139"/>
                </a:cubicBezTo>
                <a:cubicBezTo>
                  <a:pt x="243" y="100"/>
                  <a:pt x="212" y="69"/>
                  <a:pt x="174" y="69"/>
                </a:cubicBezTo>
                <a:cubicBezTo>
                  <a:pt x="742" y="69"/>
                  <a:pt x="742" y="69"/>
                  <a:pt x="742" y="69"/>
                </a:cubicBezTo>
                <a:cubicBezTo>
                  <a:pt x="793" y="69"/>
                  <a:pt x="834" y="111"/>
                  <a:pt x="834" y="161"/>
                </a:cubicBezTo>
                <a:cubicBezTo>
                  <a:pt x="834" y="695"/>
                  <a:pt x="834" y="695"/>
                  <a:pt x="834" y="695"/>
                </a:cubicBezTo>
                <a:cubicBezTo>
                  <a:pt x="904" y="695"/>
                  <a:pt x="904" y="695"/>
                  <a:pt x="904" y="695"/>
                </a:cubicBezTo>
                <a:cubicBezTo>
                  <a:pt x="904" y="573"/>
                  <a:pt x="904" y="326"/>
                  <a:pt x="904" y="161"/>
                </a:cubicBezTo>
                <a:cubicBezTo>
                  <a:pt x="904" y="72"/>
                  <a:pt x="832" y="0"/>
                  <a:pt x="742" y="0"/>
                </a:cubicBezTo>
                <a:cubicBezTo>
                  <a:pt x="685" y="0"/>
                  <a:pt x="685" y="0"/>
                  <a:pt x="685" y="0"/>
                </a:cubicBezTo>
                <a:cubicBezTo>
                  <a:pt x="174" y="0"/>
                  <a:pt x="174" y="0"/>
                  <a:pt x="174" y="0"/>
                </a:cubicBezTo>
                <a:cubicBezTo>
                  <a:pt x="78" y="0"/>
                  <a:pt x="0" y="78"/>
                  <a:pt x="0" y="174"/>
                </a:cubicBezTo>
                <a:cubicBezTo>
                  <a:pt x="0" y="181"/>
                  <a:pt x="0" y="188"/>
                  <a:pt x="1" y="196"/>
                </a:cubicBezTo>
                <a:cubicBezTo>
                  <a:pt x="2" y="203"/>
                  <a:pt x="8" y="209"/>
                  <a:pt x="16" y="209"/>
                </a:cubicBezTo>
                <a:cubicBezTo>
                  <a:pt x="174" y="209"/>
                  <a:pt x="174" y="209"/>
                  <a:pt x="174" y="209"/>
                </a:cubicBezTo>
                <a:cubicBezTo>
                  <a:pt x="174" y="410"/>
                  <a:pt x="174" y="694"/>
                  <a:pt x="174" y="757"/>
                </a:cubicBezTo>
                <a:cubicBezTo>
                  <a:pt x="174" y="857"/>
                  <a:pt x="256" y="939"/>
                  <a:pt x="358" y="939"/>
                </a:cubicBezTo>
                <a:cubicBezTo>
                  <a:pt x="820" y="939"/>
                  <a:pt x="820" y="939"/>
                  <a:pt x="820" y="939"/>
                </a:cubicBezTo>
                <a:cubicBezTo>
                  <a:pt x="869" y="939"/>
                  <a:pt x="869" y="939"/>
                  <a:pt x="869" y="939"/>
                </a:cubicBezTo>
                <a:cubicBezTo>
                  <a:pt x="965" y="939"/>
                  <a:pt x="1043" y="861"/>
                  <a:pt x="1043" y="765"/>
                </a:cubicBezTo>
                <a:cubicBezTo>
                  <a:pt x="1043" y="757"/>
                  <a:pt x="1042" y="750"/>
                  <a:pt x="1041" y="743"/>
                </a:cubicBezTo>
                <a:close/>
                <a:moveTo>
                  <a:pt x="765" y="529"/>
                </a:moveTo>
                <a:cubicBezTo>
                  <a:pt x="765" y="525"/>
                  <a:pt x="761" y="522"/>
                  <a:pt x="757" y="522"/>
                </a:cubicBezTo>
                <a:cubicBezTo>
                  <a:pt x="321" y="522"/>
                  <a:pt x="321" y="522"/>
                  <a:pt x="321" y="522"/>
                </a:cubicBezTo>
                <a:cubicBezTo>
                  <a:pt x="316" y="522"/>
                  <a:pt x="313" y="525"/>
                  <a:pt x="313" y="529"/>
                </a:cubicBezTo>
                <a:cubicBezTo>
                  <a:pt x="313" y="548"/>
                  <a:pt x="313" y="548"/>
                  <a:pt x="313" y="548"/>
                </a:cubicBezTo>
                <a:cubicBezTo>
                  <a:pt x="313" y="553"/>
                  <a:pt x="316" y="556"/>
                  <a:pt x="321" y="556"/>
                </a:cubicBezTo>
                <a:cubicBezTo>
                  <a:pt x="757" y="556"/>
                  <a:pt x="757" y="556"/>
                  <a:pt x="757" y="556"/>
                </a:cubicBezTo>
                <a:cubicBezTo>
                  <a:pt x="761" y="556"/>
                  <a:pt x="765" y="553"/>
                  <a:pt x="765" y="548"/>
                </a:cubicBezTo>
                <a:lnTo>
                  <a:pt x="765" y="529"/>
                </a:lnTo>
                <a:close/>
                <a:moveTo>
                  <a:pt x="765" y="460"/>
                </a:moveTo>
                <a:cubicBezTo>
                  <a:pt x="765" y="456"/>
                  <a:pt x="761" y="452"/>
                  <a:pt x="757" y="452"/>
                </a:cubicBezTo>
                <a:cubicBezTo>
                  <a:pt x="321" y="452"/>
                  <a:pt x="321" y="452"/>
                  <a:pt x="321" y="452"/>
                </a:cubicBezTo>
                <a:cubicBezTo>
                  <a:pt x="316" y="452"/>
                  <a:pt x="313" y="456"/>
                  <a:pt x="313" y="460"/>
                </a:cubicBezTo>
                <a:cubicBezTo>
                  <a:pt x="313" y="479"/>
                  <a:pt x="313" y="479"/>
                  <a:pt x="313" y="479"/>
                </a:cubicBezTo>
                <a:cubicBezTo>
                  <a:pt x="313" y="483"/>
                  <a:pt x="316" y="487"/>
                  <a:pt x="321" y="487"/>
                </a:cubicBezTo>
                <a:cubicBezTo>
                  <a:pt x="757" y="487"/>
                  <a:pt x="757" y="487"/>
                  <a:pt x="757" y="487"/>
                </a:cubicBezTo>
                <a:cubicBezTo>
                  <a:pt x="761" y="487"/>
                  <a:pt x="765" y="483"/>
                  <a:pt x="765" y="479"/>
                </a:cubicBezTo>
                <a:lnTo>
                  <a:pt x="765" y="460"/>
                </a:lnTo>
                <a:close/>
                <a:moveTo>
                  <a:pt x="765" y="599"/>
                </a:moveTo>
                <a:cubicBezTo>
                  <a:pt x="765" y="618"/>
                  <a:pt x="765" y="618"/>
                  <a:pt x="765" y="618"/>
                </a:cubicBezTo>
                <a:cubicBezTo>
                  <a:pt x="765" y="622"/>
                  <a:pt x="761" y="626"/>
                  <a:pt x="757" y="626"/>
                </a:cubicBezTo>
                <a:cubicBezTo>
                  <a:pt x="321" y="626"/>
                  <a:pt x="321" y="626"/>
                  <a:pt x="321" y="626"/>
                </a:cubicBezTo>
                <a:cubicBezTo>
                  <a:pt x="316" y="626"/>
                  <a:pt x="313" y="622"/>
                  <a:pt x="313" y="618"/>
                </a:cubicBezTo>
                <a:cubicBezTo>
                  <a:pt x="313" y="599"/>
                  <a:pt x="313" y="599"/>
                  <a:pt x="313" y="599"/>
                </a:cubicBezTo>
                <a:cubicBezTo>
                  <a:pt x="313" y="595"/>
                  <a:pt x="316" y="591"/>
                  <a:pt x="321" y="591"/>
                </a:cubicBezTo>
                <a:cubicBezTo>
                  <a:pt x="757" y="591"/>
                  <a:pt x="757" y="591"/>
                  <a:pt x="757" y="591"/>
                </a:cubicBezTo>
                <a:cubicBezTo>
                  <a:pt x="761" y="591"/>
                  <a:pt x="765" y="595"/>
                  <a:pt x="765" y="5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08089D4-3DE0-479C-B70A-0F468A73E86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870644" y="2340801"/>
            <a:ext cx="182832" cy="231961"/>
            <a:chOff x="849313" y="-539751"/>
            <a:chExt cx="8375650" cy="10623551"/>
          </a:xfrm>
          <a:solidFill>
            <a:schemeClr val="bg1"/>
          </a:solidFill>
        </p:grpSpPr>
        <p:sp>
          <p:nvSpPr>
            <p:cNvPr id="52" name="Freeform 41">
              <a:extLst>
                <a:ext uri="{FF2B5EF4-FFF2-40B4-BE49-F238E27FC236}">
                  <a16:creationId xmlns:a16="http://schemas.microsoft.com/office/drawing/2014/main" id="{2C327F40-275D-4762-A3BE-79A9E724291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3" y="2670175"/>
              <a:ext cx="8375650" cy="7413625"/>
            </a:xfrm>
            <a:custGeom>
              <a:avLst/>
              <a:gdLst>
                <a:gd name="T0" fmla="*/ 116 w 741"/>
                <a:gd name="T1" fmla="*/ 656 h 656"/>
                <a:gd name="T2" fmla="*/ 165 w 741"/>
                <a:gd name="T3" fmla="*/ 561 h 656"/>
                <a:gd name="T4" fmla="*/ 92 w 741"/>
                <a:gd name="T5" fmla="*/ 506 h 656"/>
                <a:gd name="T6" fmla="*/ 0 w 741"/>
                <a:gd name="T7" fmla="*/ 284 h 656"/>
                <a:gd name="T8" fmla="*/ 181 w 741"/>
                <a:gd name="T9" fmla="*/ 0 h 656"/>
                <a:gd name="T10" fmla="*/ 210 w 741"/>
                <a:gd name="T11" fmla="*/ 118 h 656"/>
                <a:gd name="T12" fmla="*/ 118 w 741"/>
                <a:gd name="T13" fmla="*/ 275 h 656"/>
                <a:gd name="T14" fmla="*/ 347 w 741"/>
                <a:gd name="T15" fmla="*/ 437 h 656"/>
                <a:gd name="T16" fmla="*/ 663 w 741"/>
                <a:gd name="T17" fmla="*/ 353 h 656"/>
                <a:gd name="T18" fmla="*/ 699 w 741"/>
                <a:gd name="T19" fmla="*/ 374 h 656"/>
                <a:gd name="T20" fmla="*/ 678 w 741"/>
                <a:gd name="T21" fmla="*/ 410 h 656"/>
                <a:gd name="T22" fmla="*/ 373 w 741"/>
                <a:gd name="T23" fmla="*/ 491 h 656"/>
                <a:gd name="T24" fmla="*/ 386 w 741"/>
                <a:gd name="T25" fmla="*/ 539 h 656"/>
                <a:gd name="T26" fmla="*/ 623 w 741"/>
                <a:gd name="T27" fmla="*/ 539 h 656"/>
                <a:gd name="T28" fmla="*/ 741 w 741"/>
                <a:gd name="T29" fmla="*/ 656 h 656"/>
                <a:gd name="T30" fmla="*/ 116 w 741"/>
                <a:gd name="T31" fmla="*/ 656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1" h="656">
                  <a:moveTo>
                    <a:pt x="116" y="656"/>
                  </a:moveTo>
                  <a:cubicBezTo>
                    <a:pt x="116" y="617"/>
                    <a:pt x="136" y="582"/>
                    <a:pt x="165" y="561"/>
                  </a:cubicBezTo>
                  <a:cubicBezTo>
                    <a:pt x="138" y="546"/>
                    <a:pt x="113" y="528"/>
                    <a:pt x="92" y="506"/>
                  </a:cubicBezTo>
                  <a:cubicBezTo>
                    <a:pt x="35" y="449"/>
                    <a:pt x="0" y="371"/>
                    <a:pt x="0" y="284"/>
                  </a:cubicBezTo>
                  <a:cubicBezTo>
                    <a:pt x="0" y="162"/>
                    <a:pt x="71" y="52"/>
                    <a:pt x="181" y="0"/>
                  </a:cubicBezTo>
                  <a:cubicBezTo>
                    <a:pt x="171" y="41"/>
                    <a:pt x="182" y="86"/>
                    <a:pt x="210" y="118"/>
                  </a:cubicBezTo>
                  <a:cubicBezTo>
                    <a:pt x="156" y="151"/>
                    <a:pt x="120" y="210"/>
                    <a:pt x="118" y="275"/>
                  </a:cubicBezTo>
                  <a:cubicBezTo>
                    <a:pt x="114" y="385"/>
                    <a:pt x="226" y="466"/>
                    <a:pt x="347" y="437"/>
                  </a:cubicBezTo>
                  <a:cubicBezTo>
                    <a:pt x="663" y="353"/>
                    <a:pt x="663" y="353"/>
                    <a:pt x="663" y="353"/>
                  </a:cubicBezTo>
                  <a:cubicBezTo>
                    <a:pt x="678" y="349"/>
                    <a:pt x="694" y="358"/>
                    <a:pt x="699" y="374"/>
                  </a:cubicBezTo>
                  <a:cubicBezTo>
                    <a:pt x="703" y="389"/>
                    <a:pt x="693" y="406"/>
                    <a:pt x="678" y="410"/>
                  </a:cubicBezTo>
                  <a:cubicBezTo>
                    <a:pt x="373" y="491"/>
                    <a:pt x="373" y="491"/>
                    <a:pt x="373" y="491"/>
                  </a:cubicBezTo>
                  <a:cubicBezTo>
                    <a:pt x="386" y="539"/>
                    <a:pt x="386" y="539"/>
                    <a:pt x="386" y="539"/>
                  </a:cubicBezTo>
                  <a:cubicBezTo>
                    <a:pt x="623" y="539"/>
                    <a:pt x="623" y="539"/>
                    <a:pt x="623" y="539"/>
                  </a:cubicBezTo>
                  <a:cubicBezTo>
                    <a:pt x="688" y="539"/>
                    <a:pt x="741" y="591"/>
                    <a:pt x="741" y="656"/>
                  </a:cubicBezTo>
                  <a:lnTo>
                    <a:pt x="116" y="6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3" name="Freeform 42">
              <a:extLst>
                <a:ext uri="{FF2B5EF4-FFF2-40B4-BE49-F238E27FC236}">
                  <a16:creationId xmlns:a16="http://schemas.microsoft.com/office/drawing/2014/main" id="{F05552FF-384C-4462-B9A4-274DB7B7A97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1" y="5043487"/>
              <a:ext cx="2587625" cy="1231900"/>
            </a:xfrm>
            <a:custGeom>
              <a:avLst/>
              <a:gdLst>
                <a:gd name="T0" fmla="*/ 40 w 229"/>
                <a:gd name="T1" fmla="*/ 104 h 109"/>
                <a:gd name="T2" fmla="*/ 4 w 229"/>
                <a:gd name="T3" fmla="*/ 84 h 109"/>
                <a:gd name="T4" fmla="*/ 25 w 229"/>
                <a:gd name="T5" fmla="*/ 48 h 109"/>
                <a:gd name="T6" fmla="*/ 188 w 229"/>
                <a:gd name="T7" fmla="*/ 4 h 109"/>
                <a:gd name="T8" fmla="*/ 224 w 229"/>
                <a:gd name="T9" fmla="*/ 25 h 109"/>
                <a:gd name="T10" fmla="*/ 204 w 229"/>
                <a:gd name="T11" fmla="*/ 61 h 109"/>
                <a:gd name="T12" fmla="*/ 40 w 229"/>
                <a:gd name="T13" fmla="*/ 10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109">
                  <a:moveTo>
                    <a:pt x="40" y="104"/>
                  </a:moveTo>
                  <a:cubicBezTo>
                    <a:pt x="25" y="109"/>
                    <a:pt x="9" y="99"/>
                    <a:pt x="4" y="84"/>
                  </a:cubicBezTo>
                  <a:cubicBezTo>
                    <a:pt x="0" y="68"/>
                    <a:pt x="10" y="52"/>
                    <a:pt x="25" y="48"/>
                  </a:cubicBezTo>
                  <a:cubicBezTo>
                    <a:pt x="188" y="4"/>
                    <a:pt x="188" y="4"/>
                    <a:pt x="188" y="4"/>
                  </a:cubicBezTo>
                  <a:cubicBezTo>
                    <a:pt x="204" y="0"/>
                    <a:pt x="220" y="9"/>
                    <a:pt x="224" y="25"/>
                  </a:cubicBezTo>
                  <a:cubicBezTo>
                    <a:pt x="229" y="40"/>
                    <a:pt x="219" y="57"/>
                    <a:pt x="204" y="61"/>
                  </a:cubicBezTo>
                  <a:lnTo>
                    <a:pt x="4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4" name="Freeform 43">
              <a:extLst>
                <a:ext uri="{FF2B5EF4-FFF2-40B4-BE49-F238E27FC236}">
                  <a16:creationId xmlns:a16="http://schemas.microsoft.com/office/drawing/2014/main" id="{2EC774D9-B666-4231-9A70-E3FD86FD05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4851" y="-539751"/>
              <a:ext cx="4092575" cy="5910263"/>
            </a:xfrm>
            <a:custGeom>
              <a:avLst/>
              <a:gdLst>
                <a:gd name="T0" fmla="*/ 105 w 362"/>
                <a:gd name="T1" fmla="*/ 348 h 523"/>
                <a:gd name="T2" fmla="*/ 69 w 362"/>
                <a:gd name="T3" fmla="*/ 327 h 523"/>
                <a:gd name="T4" fmla="*/ 90 w 362"/>
                <a:gd name="T5" fmla="*/ 291 h 523"/>
                <a:gd name="T6" fmla="*/ 126 w 362"/>
                <a:gd name="T7" fmla="*/ 312 h 523"/>
                <a:gd name="T8" fmla="*/ 105 w 362"/>
                <a:gd name="T9" fmla="*/ 348 h 523"/>
                <a:gd name="T10" fmla="*/ 358 w 362"/>
                <a:gd name="T11" fmla="*/ 441 h 523"/>
                <a:gd name="T12" fmla="*/ 271 w 362"/>
                <a:gd name="T13" fmla="*/ 115 h 523"/>
                <a:gd name="T14" fmla="*/ 233 w 362"/>
                <a:gd name="T15" fmla="*/ 93 h 523"/>
                <a:gd name="T16" fmla="*/ 206 w 362"/>
                <a:gd name="T17" fmla="*/ 101 h 523"/>
                <a:gd name="T18" fmla="*/ 182 w 362"/>
                <a:gd name="T19" fmla="*/ 12 h 523"/>
                <a:gd name="T20" fmla="*/ 164 w 362"/>
                <a:gd name="T21" fmla="*/ 2 h 523"/>
                <a:gd name="T22" fmla="*/ 93 w 362"/>
                <a:gd name="T23" fmla="*/ 21 h 523"/>
                <a:gd name="T24" fmla="*/ 83 w 362"/>
                <a:gd name="T25" fmla="*/ 39 h 523"/>
                <a:gd name="T26" fmla="*/ 107 w 362"/>
                <a:gd name="T27" fmla="*/ 127 h 523"/>
                <a:gd name="T28" fmla="*/ 80 w 362"/>
                <a:gd name="T29" fmla="*/ 135 h 523"/>
                <a:gd name="T30" fmla="*/ 58 w 362"/>
                <a:gd name="T31" fmla="*/ 172 h 523"/>
                <a:gd name="T32" fmla="*/ 75 w 362"/>
                <a:gd name="T33" fmla="*/ 235 h 523"/>
                <a:gd name="T34" fmla="*/ 12 w 362"/>
                <a:gd name="T35" fmla="*/ 342 h 523"/>
                <a:gd name="T36" fmla="*/ 120 w 362"/>
                <a:gd name="T37" fmla="*/ 405 h 523"/>
                <a:gd name="T38" fmla="*/ 120 w 362"/>
                <a:gd name="T39" fmla="*/ 405 h 523"/>
                <a:gd name="T40" fmla="*/ 145 w 362"/>
                <a:gd name="T41" fmla="*/ 498 h 523"/>
                <a:gd name="T42" fmla="*/ 181 w 362"/>
                <a:gd name="T43" fmla="*/ 518 h 523"/>
                <a:gd name="T44" fmla="*/ 337 w 362"/>
                <a:gd name="T45" fmla="*/ 477 h 523"/>
                <a:gd name="T46" fmla="*/ 358 w 362"/>
                <a:gd name="T47" fmla="*/ 441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2" h="523">
                  <a:moveTo>
                    <a:pt x="105" y="348"/>
                  </a:moveTo>
                  <a:cubicBezTo>
                    <a:pt x="89" y="352"/>
                    <a:pt x="73" y="343"/>
                    <a:pt x="69" y="327"/>
                  </a:cubicBezTo>
                  <a:cubicBezTo>
                    <a:pt x="65" y="311"/>
                    <a:pt x="74" y="295"/>
                    <a:pt x="90" y="291"/>
                  </a:cubicBezTo>
                  <a:cubicBezTo>
                    <a:pt x="106" y="287"/>
                    <a:pt x="122" y="296"/>
                    <a:pt x="126" y="312"/>
                  </a:cubicBezTo>
                  <a:cubicBezTo>
                    <a:pt x="130" y="328"/>
                    <a:pt x="121" y="344"/>
                    <a:pt x="105" y="348"/>
                  </a:cubicBezTo>
                  <a:close/>
                  <a:moveTo>
                    <a:pt x="358" y="441"/>
                  </a:moveTo>
                  <a:cubicBezTo>
                    <a:pt x="271" y="115"/>
                    <a:pt x="271" y="115"/>
                    <a:pt x="271" y="115"/>
                  </a:cubicBezTo>
                  <a:cubicBezTo>
                    <a:pt x="266" y="99"/>
                    <a:pt x="250" y="89"/>
                    <a:pt x="233" y="93"/>
                  </a:cubicBezTo>
                  <a:cubicBezTo>
                    <a:pt x="206" y="101"/>
                    <a:pt x="206" y="101"/>
                    <a:pt x="206" y="101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0" y="4"/>
                    <a:pt x="172" y="0"/>
                    <a:pt x="164" y="2"/>
                  </a:cubicBezTo>
                  <a:cubicBezTo>
                    <a:pt x="93" y="21"/>
                    <a:pt x="93" y="21"/>
                    <a:pt x="93" y="21"/>
                  </a:cubicBezTo>
                  <a:cubicBezTo>
                    <a:pt x="86" y="23"/>
                    <a:pt x="81" y="31"/>
                    <a:pt x="83" y="39"/>
                  </a:cubicBezTo>
                  <a:cubicBezTo>
                    <a:pt x="107" y="127"/>
                    <a:pt x="107" y="127"/>
                    <a:pt x="107" y="127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63" y="139"/>
                    <a:pt x="54" y="156"/>
                    <a:pt x="58" y="172"/>
                  </a:cubicBezTo>
                  <a:cubicBezTo>
                    <a:pt x="75" y="235"/>
                    <a:pt x="75" y="235"/>
                    <a:pt x="75" y="235"/>
                  </a:cubicBezTo>
                  <a:cubicBezTo>
                    <a:pt x="28" y="247"/>
                    <a:pt x="0" y="295"/>
                    <a:pt x="12" y="342"/>
                  </a:cubicBezTo>
                  <a:cubicBezTo>
                    <a:pt x="25" y="389"/>
                    <a:pt x="73" y="417"/>
                    <a:pt x="120" y="405"/>
                  </a:cubicBezTo>
                  <a:cubicBezTo>
                    <a:pt x="120" y="405"/>
                    <a:pt x="120" y="405"/>
                    <a:pt x="120" y="405"/>
                  </a:cubicBezTo>
                  <a:cubicBezTo>
                    <a:pt x="145" y="498"/>
                    <a:pt x="145" y="498"/>
                    <a:pt x="145" y="498"/>
                  </a:cubicBezTo>
                  <a:cubicBezTo>
                    <a:pt x="150" y="513"/>
                    <a:pt x="166" y="523"/>
                    <a:pt x="181" y="518"/>
                  </a:cubicBezTo>
                  <a:cubicBezTo>
                    <a:pt x="337" y="477"/>
                    <a:pt x="337" y="477"/>
                    <a:pt x="337" y="477"/>
                  </a:cubicBezTo>
                  <a:cubicBezTo>
                    <a:pt x="353" y="472"/>
                    <a:pt x="362" y="456"/>
                    <a:pt x="358" y="4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55" name="Freeform 47">
            <a:extLst>
              <a:ext uri="{FF2B5EF4-FFF2-40B4-BE49-F238E27FC236}">
                <a16:creationId xmlns:a16="http://schemas.microsoft.com/office/drawing/2014/main" id="{3A82EE88-EFCB-412C-B193-8FB2351C9D0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74781" y="3268800"/>
            <a:ext cx="201116" cy="201139"/>
          </a:xfrm>
          <a:custGeom>
            <a:avLst/>
            <a:gdLst>
              <a:gd name="T0" fmla="*/ 951 w 981"/>
              <a:gd name="T1" fmla="*/ 842 h 981"/>
              <a:gd name="T2" fmla="*/ 711 w 981"/>
              <a:gd name="T3" fmla="*/ 603 h 981"/>
              <a:gd name="T4" fmla="*/ 603 w 981"/>
              <a:gd name="T5" fmla="*/ 107 h 981"/>
              <a:gd name="T6" fmla="*/ 107 w 981"/>
              <a:gd name="T7" fmla="*/ 216 h 981"/>
              <a:gd name="T8" fmla="*/ 216 w 981"/>
              <a:gd name="T9" fmla="*/ 712 h 981"/>
              <a:gd name="T10" fmla="*/ 603 w 981"/>
              <a:gd name="T11" fmla="*/ 712 h 981"/>
              <a:gd name="T12" fmla="*/ 842 w 981"/>
              <a:gd name="T13" fmla="*/ 951 h 981"/>
              <a:gd name="T14" fmla="*/ 951 w 981"/>
              <a:gd name="T15" fmla="*/ 951 h 981"/>
              <a:gd name="T16" fmla="*/ 951 w 981"/>
              <a:gd name="T17" fmla="*/ 843 h 981"/>
              <a:gd name="T18" fmla="*/ 951 w 981"/>
              <a:gd name="T19" fmla="*/ 842 h 981"/>
              <a:gd name="T20" fmla="*/ 153 w 981"/>
              <a:gd name="T21" fmla="*/ 410 h 981"/>
              <a:gd name="T22" fmla="*/ 410 w 981"/>
              <a:gd name="T23" fmla="*/ 153 h 981"/>
              <a:gd name="T24" fmla="*/ 666 w 981"/>
              <a:gd name="T25" fmla="*/ 410 h 981"/>
              <a:gd name="T26" fmla="*/ 410 w 981"/>
              <a:gd name="T27" fmla="*/ 666 h 981"/>
              <a:gd name="T28" fmla="*/ 153 w 981"/>
              <a:gd name="T29" fmla="*/ 410 h 9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81" h="981">
                <a:moveTo>
                  <a:pt x="951" y="842"/>
                </a:moveTo>
                <a:cubicBezTo>
                  <a:pt x="711" y="603"/>
                  <a:pt x="711" y="603"/>
                  <a:pt x="711" y="603"/>
                </a:cubicBezTo>
                <a:cubicBezTo>
                  <a:pt x="818" y="436"/>
                  <a:pt x="770" y="214"/>
                  <a:pt x="603" y="107"/>
                </a:cubicBezTo>
                <a:cubicBezTo>
                  <a:pt x="436" y="0"/>
                  <a:pt x="214" y="49"/>
                  <a:pt x="107" y="216"/>
                </a:cubicBezTo>
                <a:cubicBezTo>
                  <a:pt x="0" y="383"/>
                  <a:pt x="49" y="605"/>
                  <a:pt x="216" y="712"/>
                </a:cubicBezTo>
                <a:cubicBezTo>
                  <a:pt x="334" y="787"/>
                  <a:pt x="485" y="787"/>
                  <a:pt x="603" y="712"/>
                </a:cubicBezTo>
                <a:cubicBezTo>
                  <a:pt x="842" y="951"/>
                  <a:pt x="842" y="951"/>
                  <a:pt x="842" y="951"/>
                </a:cubicBezTo>
                <a:cubicBezTo>
                  <a:pt x="872" y="981"/>
                  <a:pt x="921" y="981"/>
                  <a:pt x="951" y="951"/>
                </a:cubicBezTo>
                <a:cubicBezTo>
                  <a:pt x="981" y="921"/>
                  <a:pt x="981" y="873"/>
                  <a:pt x="951" y="843"/>
                </a:cubicBezTo>
                <a:cubicBezTo>
                  <a:pt x="951" y="843"/>
                  <a:pt x="951" y="842"/>
                  <a:pt x="951" y="842"/>
                </a:cubicBezTo>
                <a:close/>
                <a:moveTo>
                  <a:pt x="153" y="410"/>
                </a:moveTo>
                <a:cubicBezTo>
                  <a:pt x="153" y="268"/>
                  <a:pt x="268" y="153"/>
                  <a:pt x="410" y="153"/>
                </a:cubicBezTo>
                <a:cubicBezTo>
                  <a:pt x="551" y="153"/>
                  <a:pt x="666" y="268"/>
                  <a:pt x="666" y="410"/>
                </a:cubicBezTo>
                <a:cubicBezTo>
                  <a:pt x="666" y="551"/>
                  <a:pt x="551" y="666"/>
                  <a:pt x="410" y="666"/>
                </a:cubicBezTo>
                <a:cubicBezTo>
                  <a:pt x="268" y="666"/>
                  <a:pt x="153" y="551"/>
                  <a:pt x="153" y="41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6E575963-8E00-48D3-91B3-3D50B844461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6706" y="918349"/>
            <a:ext cx="9963591" cy="5673283"/>
          </a:xfrm>
        </p:spPr>
        <p:txBody>
          <a:bodyPr/>
          <a:lstStyle>
            <a:lvl1pPr marL="0" indent="0">
              <a:spcBef>
                <a:spcPts val="1200"/>
              </a:spcBef>
              <a:buFontTx/>
              <a:buNone/>
              <a:defRPr sz="1799" b="1">
                <a:solidFill>
                  <a:schemeClr val="accent1">
                    <a:lumMod val="75000"/>
                  </a:schemeClr>
                </a:solidFill>
              </a:defRPr>
            </a:lvl1pPr>
            <a:lvl2pPr marL="168225" indent="-168225">
              <a:spcBef>
                <a:spcPts val="1200"/>
              </a:spcBef>
              <a:buFont typeface="Arial" panose="020B0604020202020204" pitchFamily="34" charset="0"/>
              <a:buChar char="•"/>
              <a:defRPr/>
            </a:lvl2pPr>
            <a:lvl3pPr marL="512609" indent="-171399">
              <a:spcBef>
                <a:spcPts val="600"/>
              </a:spcBef>
              <a:buFont typeface="Arial" panose="020B0604020202020204" pitchFamily="34" charset="0"/>
              <a:buChar char="‒"/>
              <a:defRPr sz="1300"/>
            </a:lvl3pPr>
            <a:lvl4pPr marL="798273" indent="-169812">
              <a:spcBef>
                <a:spcPts val="400"/>
              </a:spcBef>
              <a:buFont typeface="Arial" panose="020B0604020202020204" pitchFamily="34" charset="0"/>
              <a:buChar char="-"/>
              <a:defRPr sz="1300"/>
            </a:lvl4pPr>
            <a:lvl5pPr marL="1144245" indent="-115853">
              <a:spcBef>
                <a:spcPts val="200"/>
              </a:spcBef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1B48F10-FF90-47CB-8C01-878C097A71E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84359" y="2786642"/>
            <a:ext cx="219317" cy="283896"/>
            <a:chOff x="10758416" y="1419641"/>
            <a:chExt cx="3297184" cy="4266944"/>
          </a:xfrm>
          <a:solidFill>
            <a:schemeClr val="bg1">
              <a:alpha val="80000"/>
            </a:schemeClr>
          </a:solidFill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596E2474-B71B-42AC-8331-385F49D0F0C2}"/>
                </a:ext>
              </a:extLst>
            </p:cNvPr>
            <p:cNvSpPr/>
            <p:nvPr/>
          </p:nvSpPr>
          <p:spPr>
            <a:xfrm>
              <a:off x="10758416" y="1419641"/>
              <a:ext cx="3297184" cy="4266944"/>
            </a:xfrm>
            <a:custGeom>
              <a:avLst/>
              <a:gdLst>
                <a:gd name="connsiteX0" fmla="*/ 2763817 w 3297184"/>
                <a:gd name="connsiteY0" fmla="*/ 1939520 h 4266944"/>
                <a:gd name="connsiteX1" fmla="*/ 2424401 w 3297184"/>
                <a:gd name="connsiteY1" fmla="*/ 1600104 h 4266944"/>
                <a:gd name="connsiteX2" fmla="*/ 2763817 w 3297184"/>
                <a:gd name="connsiteY2" fmla="*/ 1260688 h 4266944"/>
                <a:gd name="connsiteX3" fmla="*/ 3103233 w 3297184"/>
                <a:gd name="connsiteY3" fmla="*/ 1600104 h 4266944"/>
                <a:gd name="connsiteX4" fmla="*/ 2763817 w 3297184"/>
                <a:gd name="connsiteY4" fmla="*/ 1939520 h 4266944"/>
                <a:gd name="connsiteX5" fmla="*/ 3297185 w 3297184"/>
                <a:gd name="connsiteY5" fmla="*/ 1600104 h 4266944"/>
                <a:gd name="connsiteX6" fmla="*/ 2763817 w 3297184"/>
                <a:gd name="connsiteY6" fmla="*/ 1066736 h 4266944"/>
                <a:gd name="connsiteX7" fmla="*/ 2230449 w 3297184"/>
                <a:gd name="connsiteY7" fmla="*/ 1600104 h 4266944"/>
                <a:gd name="connsiteX8" fmla="*/ 2618353 w 3297184"/>
                <a:gd name="connsiteY8" fmla="*/ 2114077 h 4266944"/>
                <a:gd name="connsiteX9" fmla="*/ 2618353 w 3297184"/>
                <a:gd name="connsiteY9" fmla="*/ 3248697 h 4266944"/>
                <a:gd name="connsiteX10" fmla="*/ 1891032 w 3297184"/>
                <a:gd name="connsiteY10" fmla="*/ 3976017 h 4266944"/>
                <a:gd name="connsiteX11" fmla="*/ 1163712 w 3297184"/>
                <a:gd name="connsiteY11" fmla="*/ 3248697 h 4266944"/>
                <a:gd name="connsiteX12" fmla="*/ 1163712 w 3297184"/>
                <a:gd name="connsiteY12" fmla="*/ 2754119 h 4266944"/>
                <a:gd name="connsiteX13" fmla="*/ 2036496 w 3297184"/>
                <a:gd name="connsiteY13" fmla="*/ 1745568 h 4266944"/>
                <a:gd name="connsiteX14" fmla="*/ 1939520 w 3297184"/>
                <a:gd name="connsiteY14" fmla="*/ 1580709 h 4266944"/>
                <a:gd name="connsiteX15" fmla="*/ 1939520 w 3297184"/>
                <a:gd name="connsiteY15" fmla="*/ 387904 h 4266944"/>
                <a:gd name="connsiteX16" fmla="*/ 1687383 w 3297184"/>
                <a:gd name="connsiteY16" fmla="*/ 101825 h 4266944"/>
                <a:gd name="connsiteX17" fmla="*/ 1551616 w 3297184"/>
                <a:gd name="connsiteY17" fmla="*/ 0 h 4266944"/>
                <a:gd name="connsiteX18" fmla="*/ 1503128 w 3297184"/>
                <a:gd name="connsiteY18" fmla="*/ 0 h 4266944"/>
                <a:gd name="connsiteX19" fmla="*/ 1309176 w 3297184"/>
                <a:gd name="connsiteY19" fmla="*/ 193952 h 4266944"/>
                <a:gd name="connsiteX20" fmla="*/ 1503128 w 3297184"/>
                <a:gd name="connsiteY20" fmla="*/ 387904 h 4266944"/>
                <a:gd name="connsiteX21" fmla="*/ 1551616 w 3297184"/>
                <a:gd name="connsiteY21" fmla="*/ 387904 h 4266944"/>
                <a:gd name="connsiteX22" fmla="*/ 1687383 w 3297184"/>
                <a:gd name="connsiteY22" fmla="*/ 300626 h 4266944"/>
                <a:gd name="connsiteX23" fmla="*/ 1745568 w 3297184"/>
                <a:gd name="connsiteY23" fmla="*/ 387904 h 4266944"/>
                <a:gd name="connsiteX24" fmla="*/ 1745568 w 3297184"/>
                <a:gd name="connsiteY24" fmla="*/ 1580709 h 4266944"/>
                <a:gd name="connsiteX25" fmla="*/ 1648592 w 3297184"/>
                <a:gd name="connsiteY25" fmla="*/ 1745568 h 4266944"/>
                <a:gd name="connsiteX26" fmla="*/ 1018248 w 3297184"/>
                <a:gd name="connsiteY26" fmla="*/ 2375913 h 4266944"/>
                <a:gd name="connsiteX27" fmla="*/ 387904 w 3297184"/>
                <a:gd name="connsiteY27" fmla="*/ 1745568 h 4266944"/>
                <a:gd name="connsiteX28" fmla="*/ 290928 w 3297184"/>
                <a:gd name="connsiteY28" fmla="*/ 1580709 h 4266944"/>
                <a:gd name="connsiteX29" fmla="*/ 290928 w 3297184"/>
                <a:gd name="connsiteY29" fmla="*/ 387904 h 4266944"/>
                <a:gd name="connsiteX30" fmla="*/ 349114 w 3297184"/>
                <a:gd name="connsiteY30" fmla="*/ 300626 h 4266944"/>
                <a:gd name="connsiteX31" fmla="*/ 484880 w 3297184"/>
                <a:gd name="connsiteY31" fmla="*/ 387904 h 4266944"/>
                <a:gd name="connsiteX32" fmla="*/ 533368 w 3297184"/>
                <a:gd name="connsiteY32" fmla="*/ 387904 h 4266944"/>
                <a:gd name="connsiteX33" fmla="*/ 727320 w 3297184"/>
                <a:gd name="connsiteY33" fmla="*/ 193952 h 4266944"/>
                <a:gd name="connsiteX34" fmla="*/ 533368 w 3297184"/>
                <a:gd name="connsiteY34" fmla="*/ 0 h 4266944"/>
                <a:gd name="connsiteX35" fmla="*/ 484880 w 3297184"/>
                <a:gd name="connsiteY35" fmla="*/ 0 h 4266944"/>
                <a:gd name="connsiteX36" fmla="*/ 349114 w 3297184"/>
                <a:gd name="connsiteY36" fmla="*/ 101825 h 4266944"/>
                <a:gd name="connsiteX37" fmla="*/ 96976 w 3297184"/>
                <a:gd name="connsiteY37" fmla="*/ 387904 h 4266944"/>
                <a:gd name="connsiteX38" fmla="*/ 96976 w 3297184"/>
                <a:gd name="connsiteY38" fmla="*/ 1580709 h 4266944"/>
                <a:gd name="connsiteX39" fmla="*/ 0 w 3297184"/>
                <a:gd name="connsiteY39" fmla="*/ 1745568 h 4266944"/>
                <a:gd name="connsiteX40" fmla="*/ 872784 w 3297184"/>
                <a:gd name="connsiteY40" fmla="*/ 2754119 h 4266944"/>
                <a:gd name="connsiteX41" fmla="*/ 872784 w 3297184"/>
                <a:gd name="connsiteY41" fmla="*/ 3248697 h 4266944"/>
                <a:gd name="connsiteX42" fmla="*/ 1891032 w 3297184"/>
                <a:gd name="connsiteY42" fmla="*/ 4266945 h 4266944"/>
                <a:gd name="connsiteX43" fmla="*/ 2909281 w 3297184"/>
                <a:gd name="connsiteY43" fmla="*/ 3248697 h 4266944"/>
                <a:gd name="connsiteX44" fmla="*/ 2909281 w 3297184"/>
                <a:gd name="connsiteY44" fmla="*/ 2114077 h 4266944"/>
                <a:gd name="connsiteX45" fmla="*/ 3297185 w 3297184"/>
                <a:gd name="connsiteY45" fmla="*/ 1600104 h 4266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3297184" h="4266944">
                  <a:moveTo>
                    <a:pt x="2763817" y="1939520"/>
                  </a:moveTo>
                  <a:cubicBezTo>
                    <a:pt x="2574713" y="1939520"/>
                    <a:pt x="2424401" y="1789208"/>
                    <a:pt x="2424401" y="1600104"/>
                  </a:cubicBezTo>
                  <a:cubicBezTo>
                    <a:pt x="2424401" y="1411001"/>
                    <a:pt x="2574713" y="1260688"/>
                    <a:pt x="2763817" y="1260688"/>
                  </a:cubicBezTo>
                  <a:cubicBezTo>
                    <a:pt x="2952920" y="1260688"/>
                    <a:pt x="3103233" y="1411001"/>
                    <a:pt x="3103233" y="1600104"/>
                  </a:cubicBezTo>
                  <a:cubicBezTo>
                    <a:pt x="3103233" y="1789208"/>
                    <a:pt x="2952920" y="1939520"/>
                    <a:pt x="2763817" y="1939520"/>
                  </a:cubicBezTo>
                  <a:close/>
                  <a:moveTo>
                    <a:pt x="3297185" y="1600104"/>
                  </a:moveTo>
                  <a:cubicBezTo>
                    <a:pt x="3297185" y="1304328"/>
                    <a:pt x="3059594" y="1066736"/>
                    <a:pt x="2763817" y="1066736"/>
                  </a:cubicBezTo>
                  <a:cubicBezTo>
                    <a:pt x="2468040" y="1066736"/>
                    <a:pt x="2230449" y="1304328"/>
                    <a:pt x="2230449" y="1600104"/>
                  </a:cubicBezTo>
                  <a:cubicBezTo>
                    <a:pt x="2230449" y="1842544"/>
                    <a:pt x="2395308" y="2051043"/>
                    <a:pt x="2618353" y="2114077"/>
                  </a:cubicBezTo>
                  <a:lnTo>
                    <a:pt x="2618353" y="3248697"/>
                  </a:lnTo>
                  <a:cubicBezTo>
                    <a:pt x="2618353" y="3651147"/>
                    <a:pt x="2293483" y="3976017"/>
                    <a:pt x="1891032" y="3976017"/>
                  </a:cubicBezTo>
                  <a:cubicBezTo>
                    <a:pt x="1488582" y="3976017"/>
                    <a:pt x="1163712" y="3651147"/>
                    <a:pt x="1163712" y="3248697"/>
                  </a:cubicBezTo>
                  <a:lnTo>
                    <a:pt x="1163712" y="2754119"/>
                  </a:lnTo>
                  <a:cubicBezTo>
                    <a:pt x="1658290" y="2681387"/>
                    <a:pt x="2036496" y="2259541"/>
                    <a:pt x="2036496" y="1745568"/>
                  </a:cubicBezTo>
                  <a:cubicBezTo>
                    <a:pt x="2036496" y="1672836"/>
                    <a:pt x="1997706" y="1609802"/>
                    <a:pt x="1939520" y="1580709"/>
                  </a:cubicBezTo>
                  <a:lnTo>
                    <a:pt x="1939520" y="387904"/>
                  </a:lnTo>
                  <a:cubicBezTo>
                    <a:pt x="1939520" y="242440"/>
                    <a:pt x="1827998" y="121220"/>
                    <a:pt x="1687383" y="101825"/>
                  </a:cubicBezTo>
                  <a:cubicBezTo>
                    <a:pt x="1667988" y="43639"/>
                    <a:pt x="1614651" y="0"/>
                    <a:pt x="1551616" y="0"/>
                  </a:cubicBezTo>
                  <a:lnTo>
                    <a:pt x="1503128" y="0"/>
                  </a:lnTo>
                  <a:cubicBezTo>
                    <a:pt x="1396455" y="0"/>
                    <a:pt x="1309176" y="87278"/>
                    <a:pt x="1309176" y="193952"/>
                  </a:cubicBezTo>
                  <a:cubicBezTo>
                    <a:pt x="1309176" y="300626"/>
                    <a:pt x="1396455" y="387904"/>
                    <a:pt x="1503128" y="387904"/>
                  </a:cubicBezTo>
                  <a:lnTo>
                    <a:pt x="1551616" y="387904"/>
                  </a:lnTo>
                  <a:cubicBezTo>
                    <a:pt x="1609802" y="387904"/>
                    <a:pt x="1663139" y="349114"/>
                    <a:pt x="1687383" y="300626"/>
                  </a:cubicBezTo>
                  <a:cubicBezTo>
                    <a:pt x="1721324" y="315172"/>
                    <a:pt x="1745568" y="349114"/>
                    <a:pt x="1745568" y="387904"/>
                  </a:cubicBezTo>
                  <a:lnTo>
                    <a:pt x="1745568" y="1580709"/>
                  </a:lnTo>
                  <a:cubicBezTo>
                    <a:pt x="1687383" y="1614651"/>
                    <a:pt x="1648592" y="1677685"/>
                    <a:pt x="1648592" y="1745568"/>
                  </a:cubicBezTo>
                  <a:cubicBezTo>
                    <a:pt x="1648592" y="2094682"/>
                    <a:pt x="1367362" y="2375913"/>
                    <a:pt x="1018248" y="2375913"/>
                  </a:cubicBezTo>
                  <a:cubicBezTo>
                    <a:pt x="669135" y="2375913"/>
                    <a:pt x="387904" y="2094682"/>
                    <a:pt x="387904" y="1745568"/>
                  </a:cubicBezTo>
                  <a:cubicBezTo>
                    <a:pt x="387904" y="1672836"/>
                    <a:pt x="349114" y="1609802"/>
                    <a:pt x="290928" y="1580709"/>
                  </a:cubicBezTo>
                  <a:lnTo>
                    <a:pt x="290928" y="387904"/>
                  </a:lnTo>
                  <a:cubicBezTo>
                    <a:pt x="290928" y="349114"/>
                    <a:pt x="315172" y="315172"/>
                    <a:pt x="349114" y="300626"/>
                  </a:cubicBezTo>
                  <a:cubicBezTo>
                    <a:pt x="373358" y="353963"/>
                    <a:pt x="421846" y="387904"/>
                    <a:pt x="484880" y="387904"/>
                  </a:cubicBezTo>
                  <a:lnTo>
                    <a:pt x="533368" y="387904"/>
                  </a:lnTo>
                  <a:cubicBezTo>
                    <a:pt x="640042" y="387904"/>
                    <a:pt x="727320" y="300626"/>
                    <a:pt x="727320" y="193952"/>
                  </a:cubicBezTo>
                  <a:cubicBezTo>
                    <a:pt x="727320" y="87278"/>
                    <a:pt x="640042" y="0"/>
                    <a:pt x="533368" y="0"/>
                  </a:cubicBezTo>
                  <a:lnTo>
                    <a:pt x="484880" y="0"/>
                  </a:lnTo>
                  <a:cubicBezTo>
                    <a:pt x="421846" y="0"/>
                    <a:pt x="368509" y="43639"/>
                    <a:pt x="349114" y="101825"/>
                  </a:cubicBezTo>
                  <a:cubicBezTo>
                    <a:pt x="208498" y="121220"/>
                    <a:pt x="96976" y="242440"/>
                    <a:pt x="96976" y="387904"/>
                  </a:cubicBezTo>
                  <a:lnTo>
                    <a:pt x="96976" y="1580709"/>
                  </a:lnTo>
                  <a:cubicBezTo>
                    <a:pt x="38790" y="1614651"/>
                    <a:pt x="0" y="1677685"/>
                    <a:pt x="0" y="1745568"/>
                  </a:cubicBezTo>
                  <a:cubicBezTo>
                    <a:pt x="0" y="2259541"/>
                    <a:pt x="378206" y="2681387"/>
                    <a:pt x="872784" y="2754119"/>
                  </a:cubicBezTo>
                  <a:lnTo>
                    <a:pt x="872784" y="3248697"/>
                  </a:lnTo>
                  <a:cubicBezTo>
                    <a:pt x="872784" y="3811158"/>
                    <a:pt x="1328572" y="4266945"/>
                    <a:pt x="1891032" y="4266945"/>
                  </a:cubicBezTo>
                  <a:cubicBezTo>
                    <a:pt x="2453493" y="4266945"/>
                    <a:pt x="2909281" y="3811158"/>
                    <a:pt x="2909281" y="3248697"/>
                  </a:cubicBezTo>
                  <a:lnTo>
                    <a:pt x="2909281" y="2114077"/>
                  </a:lnTo>
                  <a:cubicBezTo>
                    <a:pt x="3132326" y="2051043"/>
                    <a:pt x="3297185" y="1842544"/>
                    <a:pt x="3297185" y="1600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C0D8454A-C421-431D-B5B2-7D73E6D8F4A0}"/>
                </a:ext>
              </a:extLst>
            </p:cNvPr>
            <p:cNvSpPr/>
            <p:nvPr/>
          </p:nvSpPr>
          <p:spPr>
            <a:xfrm>
              <a:off x="13279792" y="2777305"/>
              <a:ext cx="484880" cy="484880"/>
            </a:xfrm>
            <a:custGeom>
              <a:avLst/>
              <a:gdLst>
                <a:gd name="connsiteX0" fmla="*/ 484880 w 484880"/>
                <a:gd name="connsiteY0" fmla="*/ 242440 h 484880"/>
                <a:gd name="connsiteX1" fmla="*/ 242440 w 484880"/>
                <a:gd name="connsiteY1" fmla="*/ 484880 h 484880"/>
                <a:gd name="connsiteX2" fmla="*/ 0 w 484880"/>
                <a:gd name="connsiteY2" fmla="*/ 242440 h 484880"/>
                <a:gd name="connsiteX3" fmla="*/ 242440 w 484880"/>
                <a:gd name="connsiteY3" fmla="*/ 0 h 484880"/>
                <a:gd name="connsiteX4" fmla="*/ 484880 w 484880"/>
                <a:gd name="connsiteY4" fmla="*/ 242440 h 484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880" h="484880">
                  <a:moveTo>
                    <a:pt x="484880" y="242440"/>
                  </a:moveTo>
                  <a:cubicBezTo>
                    <a:pt x="484880" y="376336"/>
                    <a:pt x="376336" y="484880"/>
                    <a:pt x="242440" y="484880"/>
                  </a:cubicBezTo>
                  <a:cubicBezTo>
                    <a:pt x="108544" y="484880"/>
                    <a:pt x="0" y="376336"/>
                    <a:pt x="0" y="242440"/>
                  </a:cubicBezTo>
                  <a:cubicBezTo>
                    <a:pt x="0" y="108544"/>
                    <a:pt x="108544" y="0"/>
                    <a:pt x="242440" y="0"/>
                  </a:cubicBezTo>
                  <a:cubicBezTo>
                    <a:pt x="376336" y="0"/>
                    <a:pt x="484880" y="108544"/>
                    <a:pt x="484880" y="2424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1F091927-CF1E-47D6-B279-56365BA56FD8}"/>
              </a:ext>
            </a:extLst>
          </p:cNvPr>
          <p:cNvGrpSpPr/>
          <p:nvPr userDrawn="1"/>
        </p:nvGrpSpPr>
        <p:grpSpPr>
          <a:xfrm>
            <a:off x="11169212" y="3702633"/>
            <a:ext cx="229989" cy="225311"/>
            <a:chOff x="2634853" y="3844528"/>
            <a:chExt cx="261938" cy="268319"/>
          </a:xfrm>
          <a:solidFill>
            <a:schemeClr val="bg1">
              <a:alpha val="80000"/>
            </a:schemeClr>
          </a:solidFill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A87CADFA-904A-40D9-AE28-5A5CA4109F71}"/>
                </a:ext>
              </a:extLst>
            </p:cNvPr>
            <p:cNvSpPr/>
            <p:nvPr/>
          </p:nvSpPr>
          <p:spPr>
            <a:xfrm>
              <a:off x="2634853" y="3965972"/>
              <a:ext cx="34366" cy="108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E84498DA-7647-42D5-84AC-7BBF7FF82E76}"/>
                </a:ext>
              </a:extLst>
            </p:cNvPr>
            <p:cNvSpPr/>
            <p:nvPr/>
          </p:nvSpPr>
          <p:spPr>
            <a:xfrm>
              <a:off x="2691746" y="3894534"/>
              <a:ext cx="34366" cy="18024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7A64C5B2-EA28-4B22-9158-E0D9D4F0C30F}"/>
                </a:ext>
              </a:extLst>
            </p:cNvPr>
            <p:cNvSpPr/>
            <p:nvPr/>
          </p:nvSpPr>
          <p:spPr>
            <a:xfrm>
              <a:off x="2748639" y="3992166"/>
              <a:ext cx="34366" cy="826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6FE6B3A1-DD6B-4A80-B985-5D87A0A78C4F}"/>
                </a:ext>
              </a:extLst>
            </p:cNvPr>
            <p:cNvSpPr/>
            <p:nvPr/>
          </p:nvSpPr>
          <p:spPr>
            <a:xfrm>
              <a:off x="2805532" y="3942160"/>
              <a:ext cx="34366" cy="13261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85F204DA-3A8C-431F-A6B3-5B0E5ECA5DF4}"/>
                </a:ext>
              </a:extLst>
            </p:cNvPr>
            <p:cNvSpPr/>
            <p:nvPr/>
          </p:nvSpPr>
          <p:spPr>
            <a:xfrm>
              <a:off x="2862425" y="3844528"/>
              <a:ext cx="34366" cy="2302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BC7F193B-6EFC-437D-B7D5-5409DDFB74C2}"/>
                </a:ext>
              </a:extLst>
            </p:cNvPr>
            <p:cNvSpPr/>
            <p:nvPr/>
          </p:nvSpPr>
          <p:spPr>
            <a:xfrm>
              <a:off x="2634853" y="4094559"/>
              <a:ext cx="261938" cy="1828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E9860BEA-3BE7-4FEA-8D5D-34DD84F4537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43494" y="4609169"/>
            <a:ext cx="247314" cy="241130"/>
            <a:chOff x="2578100" y="0"/>
            <a:chExt cx="11628438" cy="11334750"/>
          </a:xfrm>
          <a:solidFill>
            <a:schemeClr val="bg1">
              <a:alpha val="80000"/>
            </a:schemeClr>
          </a:solidFill>
        </p:grpSpPr>
        <p:sp>
          <p:nvSpPr>
            <p:cNvPr id="56" name="Freeform 15">
              <a:extLst>
                <a:ext uri="{FF2B5EF4-FFF2-40B4-BE49-F238E27FC236}">
                  <a16:creationId xmlns:a16="http://schemas.microsoft.com/office/drawing/2014/main" id="{C1CA0428-D6FE-4243-8617-775D6C6DFE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2263" y="0"/>
              <a:ext cx="4994275" cy="5073650"/>
            </a:xfrm>
            <a:custGeom>
              <a:avLst/>
              <a:gdLst>
                <a:gd name="T0" fmla="*/ 211 w 442"/>
                <a:gd name="T1" fmla="*/ 137 h 449"/>
                <a:gd name="T2" fmla="*/ 308 w 442"/>
                <a:gd name="T3" fmla="*/ 215 h 449"/>
                <a:gd name="T4" fmla="*/ 231 w 442"/>
                <a:gd name="T5" fmla="*/ 312 h 449"/>
                <a:gd name="T6" fmla="*/ 133 w 442"/>
                <a:gd name="T7" fmla="*/ 235 h 449"/>
                <a:gd name="T8" fmla="*/ 211 w 442"/>
                <a:gd name="T9" fmla="*/ 137 h 449"/>
                <a:gd name="T10" fmla="*/ 65 w 442"/>
                <a:gd name="T11" fmla="*/ 283 h 449"/>
                <a:gd name="T12" fmla="*/ 16 w 442"/>
                <a:gd name="T13" fmla="*/ 320 h 449"/>
                <a:gd name="T14" fmla="*/ 71 w 442"/>
                <a:gd name="T15" fmla="*/ 394 h 449"/>
                <a:gd name="T16" fmla="*/ 121 w 442"/>
                <a:gd name="T17" fmla="*/ 357 h 449"/>
                <a:gd name="T18" fmla="*/ 194 w 442"/>
                <a:gd name="T19" fmla="*/ 389 h 449"/>
                <a:gd name="T20" fmla="*/ 201 w 442"/>
                <a:gd name="T21" fmla="*/ 449 h 449"/>
                <a:gd name="T22" fmla="*/ 292 w 442"/>
                <a:gd name="T23" fmla="*/ 439 h 449"/>
                <a:gd name="T24" fmla="*/ 285 w 442"/>
                <a:gd name="T25" fmla="*/ 378 h 449"/>
                <a:gd name="T26" fmla="*/ 349 w 442"/>
                <a:gd name="T27" fmla="*/ 330 h 449"/>
                <a:gd name="T28" fmla="*/ 405 w 442"/>
                <a:gd name="T29" fmla="*/ 354 h 449"/>
                <a:gd name="T30" fmla="*/ 442 w 442"/>
                <a:gd name="T31" fmla="*/ 270 h 449"/>
                <a:gd name="T32" fmla="*/ 385 w 442"/>
                <a:gd name="T33" fmla="*/ 246 h 449"/>
                <a:gd name="T34" fmla="*/ 376 w 442"/>
                <a:gd name="T35" fmla="*/ 166 h 449"/>
                <a:gd name="T36" fmla="*/ 425 w 442"/>
                <a:gd name="T37" fmla="*/ 130 h 449"/>
                <a:gd name="T38" fmla="*/ 370 w 442"/>
                <a:gd name="T39" fmla="*/ 56 h 449"/>
                <a:gd name="T40" fmla="*/ 321 w 442"/>
                <a:gd name="T41" fmla="*/ 93 h 449"/>
                <a:gd name="T42" fmla="*/ 248 w 442"/>
                <a:gd name="T43" fmla="*/ 61 h 449"/>
                <a:gd name="T44" fmla="*/ 241 w 442"/>
                <a:gd name="T45" fmla="*/ 0 h 449"/>
                <a:gd name="T46" fmla="*/ 149 w 442"/>
                <a:gd name="T47" fmla="*/ 11 h 449"/>
                <a:gd name="T48" fmla="*/ 156 w 442"/>
                <a:gd name="T49" fmla="*/ 72 h 449"/>
                <a:gd name="T50" fmla="*/ 93 w 442"/>
                <a:gd name="T51" fmla="*/ 119 h 449"/>
                <a:gd name="T52" fmla="*/ 36 w 442"/>
                <a:gd name="T53" fmla="*/ 95 h 449"/>
                <a:gd name="T54" fmla="*/ 0 w 442"/>
                <a:gd name="T55" fmla="*/ 180 h 449"/>
                <a:gd name="T56" fmla="*/ 56 w 442"/>
                <a:gd name="T57" fmla="*/ 204 h 449"/>
                <a:gd name="T58" fmla="*/ 65 w 442"/>
                <a:gd name="T59" fmla="*/ 283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2" h="449">
                  <a:moveTo>
                    <a:pt x="211" y="137"/>
                  </a:moveTo>
                  <a:cubicBezTo>
                    <a:pt x="259" y="132"/>
                    <a:pt x="303" y="166"/>
                    <a:pt x="308" y="215"/>
                  </a:cubicBezTo>
                  <a:cubicBezTo>
                    <a:pt x="314" y="263"/>
                    <a:pt x="279" y="307"/>
                    <a:pt x="231" y="312"/>
                  </a:cubicBezTo>
                  <a:cubicBezTo>
                    <a:pt x="183" y="318"/>
                    <a:pt x="139" y="283"/>
                    <a:pt x="133" y="235"/>
                  </a:cubicBezTo>
                  <a:cubicBezTo>
                    <a:pt x="128" y="187"/>
                    <a:pt x="162" y="143"/>
                    <a:pt x="211" y="137"/>
                  </a:cubicBezTo>
                  <a:close/>
                  <a:moveTo>
                    <a:pt x="65" y="283"/>
                  </a:moveTo>
                  <a:cubicBezTo>
                    <a:pt x="16" y="320"/>
                    <a:pt x="16" y="320"/>
                    <a:pt x="16" y="320"/>
                  </a:cubicBezTo>
                  <a:cubicBezTo>
                    <a:pt x="71" y="394"/>
                    <a:pt x="71" y="394"/>
                    <a:pt x="71" y="394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94" y="389"/>
                    <a:pt x="194" y="389"/>
                    <a:pt x="194" y="389"/>
                  </a:cubicBezTo>
                  <a:cubicBezTo>
                    <a:pt x="201" y="449"/>
                    <a:pt x="201" y="449"/>
                    <a:pt x="201" y="449"/>
                  </a:cubicBezTo>
                  <a:cubicBezTo>
                    <a:pt x="292" y="439"/>
                    <a:pt x="292" y="439"/>
                    <a:pt x="292" y="439"/>
                  </a:cubicBezTo>
                  <a:cubicBezTo>
                    <a:pt x="285" y="378"/>
                    <a:pt x="285" y="378"/>
                    <a:pt x="285" y="378"/>
                  </a:cubicBezTo>
                  <a:cubicBezTo>
                    <a:pt x="349" y="330"/>
                    <a:pt x="349" y="330"/>
                    <a:pt x="349" y="330"/>
                  </a:cubicBezTo>
                  <a:cubicBezTo>
                    <a:pt x="405" y="354"/>
                    <a:pt x="405" y="354"/>
                    <a:pt x="405" y="354"/>
                  </a:cubicBezTo>
                  <a:cubicBezTo>
                    <a:pt x="442" y="270"/>
                    <a:pt x="442" y="270"/>
                    <a:pt x="442" y="270"/>
                  </a:cubicBezTo>
                  <a:cubicBezTo>
                    <a:pt x="385" y="246"/>
                    <a:pt x="385" y="246"/>
                    <a:pt x="385" y="246"/>
                  </a:cubicBezTo>
                  <a:cubicBezTo>
                    <a:pt x="376" y="166"/>
                    <a:pt x="376" y="166"/>
                    <a:pt x="376" y="166"/>
                  </a:cubicBezTo>
                  <a:cubicBezTo>
                    <a:pt x="425" y="130"/>
                    <a:pt x="425" y="130"/>
                    <a:pt x="425" y="130"/>
                  </a:cubicBezTo>
                  <a:cubicBezTo>
                    <a:pt x="370" y="56"/>
                    <a:pt x="370" y="56"/>
                    <a:pt x="370" y="56"/>
                  </a:cubicBezTo>
                  <a:cubicBezTo>
                    <a:pt x="321" y="93"/>
                    <a:pt x="321" y="93"/>
                    <a:pt x="321" y="93"/>
                  </a:cubicBezTo>
                  <a:cubicBezTo>
                    <a:pt x="248" y="61"/>
                    <a:pt x="248" y="61"/>
                    <a:pt x="248" y="61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56" y="72"/>
                    <a:pt x="156" y="72"/>
                    <a:pt x="156" y="72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36" y="95"/>
                    <a:pt x="36" y="95"/>
                    <a:pt x="36" y="95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56" y="204"/>
                    <a:pt x="56" y="204"/>
                    <a:pt x="56" y="204"/>
                  </a:cubicBezTo>
                  <a:lnTo>
                    <a:pt x="65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8613C690-F5C9-4D4E-9078-C2B24600EB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0313" y="6340475"/>
              <a:ext cx="5073650" cy="4994275"/>
            </a:xfrm>
            <a:custGeom>
              <a:avLst/>
              <a:gdLst>
                <a:gd name="T0" fmla="*/ 306 w 449"/>
                <a:gd name="T1" fmla="*/ 256 h 442"/>
                <a:gd name="T2" fmla="*/ 190 w 449"/>
                <a:gd name="T3" fmla="*/ 302 h 442"/>
                <a:gd name="T4" fmla="*/ 144 w 449"/>
                <a:gd name="T5" fmla="*/ 186 h 442"/>
                <a:gd name="T6" fmla="*/ 259 w 449"/>
                <a:gd name="T7" fmla="*/ 140 h 442"/>
                <a:gd name="T8" fmla="*/ 306 w 449"/>
                <a:gd name="T9" fmla="*/ 256 h 442"/>
                <a:gd name="T10" fmla="*/ 449 w 449"/>
                <a:gd name="T11" fmla="*/ 240 h 442"/>
                <a:gd name="T12" fmla="*/ 438 w 449"/>
                <a:gd name="T13" fmla="*/ 149 h 442"/>
                <a:gd name="T14" fmla="*/ 377 w 449"/>
                <a:gd name="T15" fmla="*/ 156 h 442"/>
                <a:gd name="T16" fmla="*/ 330 w 449"/>
                <a:gd name="T17" fmla="*/ 92 h 442"/>
                <a:gd name="T18" fmla="*/ 354 w 449"/>
                <a:gd name="T19" fmla="*/ 36 h 442"/>
                <a:gd name="T20" fmla="*/ 269 w 449"/>
                <a:gd name="T21" fmla="*/ 0 h 442"/>
                <a:gd name="T22" fmla="*/ 245 w 449"/>
                <a:gd name="T23" fmla="*/ 56 h 442"/>
                <a:gd name="T24" fmla="*/ 166 w 449"/>
                <a:gd name="T25" fmla="*/ 66 h 442"/>
                <a:gd name="T26" fmla="*/ 129 w 449"/>
                <a:gd name="T27" fmla="*/ 17 h 442"/>
                <a:gd name="T28" fmla="*/ 55 w 449"/>
                <a:gd name="T29" fmla="*/ 72 h 442"/>
                <a:gd name="T30" fmla="*/ 92 w 449"/>
                <a:gd name="T31" fmla="*/ 121 h 442"/>
                <a:gd name="T32" fmla="*/ 61 w 449"/>
                <a:gd name="T33" fmla="*/ 194 h 442"/>
                <a:gd name="T34" fmla="*/ 0 w 449"/>
                <a:gd name="T35" fmla="*/ 202 h 442"/>
                <a:gd name="T36" fmla="*/ 11 w 449"/>
                <a:gd name="T37" fmla="*/ 293 h 442"/>
                <a:gd name="T38" fmla="*/ 72 w 449"/>
                <a:gd name="T39" fmla="*/ 286 h 442"/>
                <a:gd name="T40" fmla="*/ 120 w 449"/>
                <a:gd name="T41" fmla="*/ 350 h 442"/>
                <a:gd name="T42" fmla="*/ 96 w 449"/>
                <a:gd name="T43" fmla="*/ 406 h 442"/>
                <a:gd name="T44" fmla="*/ 180 w 449"/>
                <a:gd name="T45" fmla="*/ 442 h 442"/>
                <a:gd name="T46" fmla="*/ 205 w 449"/>
                <a:gd name="T47" fmla="*/ 386 h 442"/>
                <a:gd name="T48" fmla="*/ 284 w 449"/>
                <a:gd name="T49" fmla="*/ 376 h 442"/>
                <a:gd name="T50" fmla="*/ 320 w 449"/>
                <a:gd name="T51" fmla="*/ 425 h 442"/>
                <a:gd name="T52" fmla="*/ 394 w 449"/>
                <a:gd name="T53" fmla="*/ 370 h 442"/>
                <a:gd name="T54" fmla="*/ 357 w 449"/>
                <a:gd name="T55" fmla="*/ 321 h 442"/>
                <a:gd name="T56" fmla="*/ 389 w 449"/>
                <a:gd name="T57" fmla="*/ 248 h 442"/>
                <a:gd name="T58" fmla="*/ 449 w 449"/>
                <a:gd name="T59" fmla="*/ 24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9" h="442">
                  <a:moveTo>
                    <a:pt x="306" y="256"/>
                  </a:moveTo>
                  <a:cubicBezTo>
                    <a:pt x="287" y="300"/>
                    <a:pt x="235" y="321"/>
                    <a:pt x="190" y="302"/>
                  </a:cubicBezTo>
                  <a:cubicBezTo>
                    <a:pt x="145" y="283"/>
                    <a:pt x="125" y="231"/>
                    <a:pt x="144" y="186"/>
                  </a:cubicBezTo>
                  <a:cubicBezTo>
                    <a:pt x="163" y="142"/>
                    <a:pt x="215" y="121"/>
                    <a:pt x="259" y="140"/>
                  </a:cubicBezTo>
                  <a:cubicBezTo>
                    <a:pt x="304" y="159"/>
                    <a:pt x="325" y="211"/>
                    <a:pt x="306" y="256"/>
                  </a:cubicBezTo>
                  <a:close/>
                  <a:moveTo>
                    <a:pt x="449" y="240"/>
                  </a:moveTo>
                  <a:cubicBezTo>
                    <a:pt x="438" y="149"/>
                    <a:pt x="438" y="149"/>
                    <a:pt x="438" y="149"/>
                  </a:cubicBezTo>
                  <a:cubicBezTo>
                    <a:pt x="377" y="156"/>
                    <a:pt x="377" y="156"/>
                    <a:pt x="377" y="156"/>
                  </a:cubicBezTo>
                  <a:cubicBezTo>
                    <a:pt x="330" y="92"/>
                    <a:pt x="330" y="92"/>
                    <a:pt x="330" y="92"/>
                  </a:cubicBezTo>
                  <a:cubicBezTo>
                    <a:pt x="354" y="36"/>
                    <a:pt x="354" y="36"/>
                    <a:pt x="354" y="36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245" y="56"/>
                    <a:pt x="245" y="56"/>
                    <a:pt x="245" y="56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92" y="121"/>
                    <a:pt x="92" y="121"/>
                    <a:pt x="92" y="121"/>
                  </a:cubicBezTo>
                  <a:cubicBezTo>
                    <a:pt x="61" y="194"/>
                    <a:pt x="61" y="194"/>
                    <a:pt x="61" y="194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11" y="293"/>
                    <a:pt x="11" y="293"/>
                    <a:pt x="11" y="293"/>
                  </a:cubicBezTo>
                  <a:cubicBezTo>
                    <a:pt x="72" y="286"/>
                    <a:pt x="72" y="286"/>
                    <a:pt x="72" y="286"/>
                  </a:cubicBezTo>
                  <a:cubicBezTo>
                    <a:pt x="120" y="350"/>
                    <a:pt x="120" y="350"/>
                    <a:pt x="120" y="350"/>
                  </a:cubicBezTo>
                  <a:cubicBezTo>
                    <a:pt x="96" y="406"/>
                    <a:pt x="96" y="406"/>
                    <a:pt x="96" y="406"/>
                  </a:cubicBezTo>
                  <a:cubicBezTo>
                    <a:pt x="180" y="442"/>
                    <a:pt x="180" y="442"/>
                    <a:pt x="180" y="442"/>
                  </a:cubicBezTo>
                  <a:cubicBezTo>
                    <a:pt x="205" y="386"/>
                    <a:pt x="205" y="386"/>
                    <a:pt x="205" y="386"/>
                  </a:cubicBezTo>
                  <a:cubicBezTo>
                    <a:pt x="284" y="376"/>
                    <a:pt x="284" y="376"/>
                    <a:pt x="284" y="376"/>
                  </a:cubicBezTo>
                  <a:cubicBezTo>
                    <a:pt x="320" y="425"/>
                    <a:pt x="320" y="425"/>
                    <a:pt x="320" y="425"/>
                  </a:cubicBezTo>
                  <a:cubicBezTo>
                    <a:pt x="394" y="370"/>
                    <a:pt x="394" y="370"/>
                    <a:pt x="394" y="370"/>
                  </a:cubicBezTo>
                  <a:cubicBezTo>
                    <a:pt x="357" y="321"/>
                    <a:pt x="357" y="321"/>
                    <a:pt x="357" y="321"/>
                  </a:cubicBezTo>
                  <a:cubicBezTo>
                    <a:pt x="389" y="248"/>
                    <a:pt x="389" y="248"/>
                    <a:pt x="389" y="248"/>
                  </a:cubicBezTo>
                  <a:lnTo>
                    <a:pt x="449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8D5C4146-3FD7-419B-A728-863F31BE54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8100" y="1638300"/>
              <a:ext cx="7627938" cy="7616825"/>
            </a:xfrm>
            <a:custGeom>
              <a:avLst/>
              <a:gdLst>
                <a:gd name="T0" fmla="*/ 337 w 675"/>
                <a:gd name="T1" fmla="*/ 485 h 674"/>
                <a:gd name="T2" fmla="*/ 189 w 675"/>
                <a:gd name="T3" fmla="*/ 337 h 674"/>
                <a:gd name="T4" fmla="*/ 337 w 675"/>
                <a:gd name="T5" fmla="*/ 189 h 674"/>
                <a:gd name="T6" fmla="*/ 486 w 675"/>
                <a:gd name="T7" fmla="*/ 337 h 674"/>
                <a:gd name="T8" fmla="*/ 337 w 675"/>
                <a:gd name="T9" fmla="*/ 485 h 674"/>
                <a:gd name="T10" fmla="*/ 571 w 675"/>
                <a:gd name="T11" fmla="*/ 479 h 674"/>
                <a:gd name="T12" fmla="*/ 602 w 675"/>
                <a:gd name="T13" fmla="*/ 401 h 674"/>
                <a:gd name="T14" fmla="*/ 675 w 675"/>
                <a:gd name="T15" fmla="*/ 395 h 674"/>
                <a:gd name="T16" fmla="*/ 675 w 675"/>
                <a:gd name="T17" fmla="*/ 279 h 674"/>
                <a:gd name="T18" fmla="*/ 602 w 675"/>
                <a:gd name="T19" fmla="*/ 272 h 674"/>
                <a:gd name="T20" fmla="*/ 571 w 675"/>
                <a:gd name="T21" fmla="*/ 195 h 674"/>
                <a:gd name="T22" fmla="*/ 617 w 675"/>
                <a:gd name="T23" fmla="*/ 139 h 674"/>
                <a:gd name="T24" fmla="*/ 535 w 675"/>
                <a:gd name="T25" fmla="*/ 57 h 674"/>
                <a:gd name="T26" fmla="*/ 479 w 675"/>
                <a:gd name="T27" fmla="*/ 104 h 674"/>
                <a:gd name="T28" fmla="*/ 402 w 675"/>
                <a:gd name="T29" fmla="*/ 72 h 674"/>
                <a:gd name="T30" fmla="*/ 395 w 675"/>
                <a:gd name="T31" fmla="*/ 0 h 674"/>
                <a:gd name="T32" fmla="*/ 279 w 675"/>
                <a:gd name="T33" fmla="*/ 0 h 674"/>
                <a:gd name="T34" fmla="*/ 273 w 675"/>
                <a:gd name="T35" fmla="*/ 72 h 674"/>
                <a:gd name="T36" fmla="*/ 195 w 675"/>
                <a:gd name="T37" fmla="*/ 103 h 674"/>
                <a:gd name="T38" fmla="*/ 140 w 675"/>
                <a:gd name="T39" fmla="*/ 57 h 674"/>
                <a:gd name="T40" fmla="*/ 58 w 675"/>
                <a:gd name="T41" fmla="*/ 139 h 674"/>
                <a:gd name="T42" fmla="*/ 104 w 675"/>
                <a:gd name="T43" fmla="*/ 195 h 674"/>
                <a:gd name="T44" fmla="*/ 72 w 675"/>
                <a:gd name="T45" fmla="*/ 272 h 674"/>
                <a:gd name="T46" fmla="*/ 0 w 675"/>
                <a:gd name="T47" fmla="*/ 279 h 674"/>
                <a:gd name="T48" fmla="*/ 0 w 675"/>
                <a:gd name="T49" fmla="*/ 395 h 674"/>
                <a:gd name="T50" fmla="*/ 72 w 675"/>
                <a:gd name="T51" fmla="*/ 401 h 674"/>
                <a:gd name="T52" fmla="*/ 104 w 675"/>
                <a:gd name="T53" fmla="*/ 479 h 674"/>
                <a:gd name="T54" fmla="*/ 58 w 675"/>
                <a:gd name="T55" fmla="*/ 534 h 674"/>
                <a:gd name="T56" fmla="*/ 140 w 675"/>
                <a:gd name="T57" fmla="*/ 616 h 674"/>
                <a:gd name="T58" fmla="*/ 195 w 675"/>
                <a:gd name="T59" fmla="*/ 570 h 674"/>
                <a:gd name="T60" fmla="*/ 273 w 675"/>
                <a:gd name="T61" fmla="*/ 602 h 674"/>
                <a:gd name="T62" fmla="*/ 279 w 675"/>
                <a:gd name="T63" fmla="*/ 674 h 674"/>
                <a:gd name="T64" fmla="*/ 395 w 675"/>
                <a:gd name="T65" fmla="*/ 674 h 674"/>
                <a:gd name="T66" fmla="*/ 402 w 675"/>
                <a:gd name="T67" fmla="*/ 602 h 674"/>
                <a:gd name="T68" fmla="*/ 479 w 675"/>
                <a:gd name="T69" fmla="*/ 570 h 674"/>
                <a:gd name="T70" fmla="*/ 535 w 675"/>
                <a:gd name="T71" fmla="*/ 616 h 674"/>
                <a:gd name="T72" fmla="*/ 617 w 675"/>
                <a:gd name="T73" fmla="*/ 534 h 674"/>
                <a:gd name="T74" fmla="*/ 571 w 675"/>
                <a:gd name="T75" fmla="*/ 479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5" h="674">
                  <a:moveTo>
                    <a:pt x="337" y="485"/>
                  </a:moveTo>
                  <a:cubicBezTo>
                    <a:pt x="255" y="485"/>
                    <a:pt x="189" y="419"/>
                    <a:pt x="189" y="337"/>
                  </a:cubicBezTo>
                  <a:cubicBezTo>
                    <a:pt x="189" y="255"/>
                    <a:pt x="255" y="189"/>
                    <a:pt x="337" y="189"/>
                  </a:cubicBezTo>
                  <a:cubicBezTo>
                    <a:pt x="419" y="189"/>
                    <a:pt x="486" y="255"/>
                    <a:pt x="486" y="337"/>
                  </a:cubicBezTo>
                  <a:cubicBezTo>
                    <a:pt x="486" y="419"/>
                    <a:pt x="419" y="485"/>
                    <a:pt x="337" y="485"/>
                  </a:cubicBezTo>
                  <a:close/>
                  <a:moveTo>
                    <a:pt x="571" y="479"/>
                  </a:moveTo>
                  <a:cubicBezTo>
                    <a:pt x="602" y="401"/>
                    <a:pt x="602" y="401"/>
                    <a:pt x="602" y="401"/>
                  </a:cubicBezTo>
                  <a:cubicBezTo>
                    <a:pt x="675" y="395"/>
                    <a:pt x="675" y="395"/>
                    <a:pt x="675" y="395"/>
                  </a:cubicBezTo>
                  <a:cubicBezTo>
                    <a:pt x="675" y="279"/>
                    <a:pt x="675" y="279"/>
                    <a:pt x="675" y="279"/>
                  </a:cubicBezTo>
                  <a:cubicBezTo>
                    <a:pt x="602" y="272"/>
                    <a:pt x="602" y="272"/>
                    <a:pt x="602" y="272"/>
                  </a:cubicBezTo>
                  <a:cubicBezTo>
                    <a:pt x="571" y="195"/>
                    <a:pt x="571" y="195"/>
                    <a:pt x="571" y="195"/>
                  </a:cubicBezTo>
                  <a:cubicBezTo>
                    <a:pt x="617" y="139"/>
                    <a:pt x="617" y="139"/>
                    <a:pt x="617" y="139"/>
                  </a:cubicBezTo>
                  <a:cubicBezTo>
                    <a:pt x="535" y="57"/>
                    <a:pt x="535" y="57"/>
                    <a:pt x="535" y="57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02" y="72"/>
                    <a:pt x="402" y="72"/>
                    <a:pt x="402" y="72"/>
                  </a:cubicBezTo>
                  <a:cubicBezTo>
                    <a:pt x="395" y="0"/>
                    <a:pt x="395" y="0"/>
                    <a:pt x="395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3" y="72"/>
                    <a:pt x="273" y="72"/>
                    <a:pt x="273" y="72"/>
                  </a:cubicBezTo>
                  <a:cubicBezTo>
                    <a:pt x="195" y="103"/>
                    <a:pt x="195" y="103"/>
                    <a:pt x="195" y="103"/>
                  </a:cubicBezTo>
                  <a:cubicBezTo>
                    <a:pt x="140" y="57"/>
                    <a:pt x="140" y="57"/>
                    <a:pt x="140" y="57"/>
                  </a:cubicBezTo>
                  <a:cubicBezTo>
                    <a:pt x="58" y="139"/>
                    <a:pt x="58" y="139"/>
                    <a:pt x="58" y="139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72" y="272"/>
                    <a:pt x="72" y="272"/>
                    <a:pt x="72" y="272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0" y="395"/>
                    <a:pt x="0" y="395"/>
                    <a:pt x="0" y="395"/>
                  </a:cubicBezTo>
                  <a:cubicBezTo>
                    <a:pt x="72" y="401"/>
                    <a:pt x="72" y="401"/>
                    <a:pt x="72" y="401"/>
                  </a:cubicBezTo>
                  <a:cubicBezTo>
                    <a:pt x="104" y="479"/>
                    <a:pt x="104" y="479"/>
                    <a:pt x="104" y="479"/>
                  </a:cubicBezTo>
                  <a:cubicBezTo>
                    <a:pt x="58" y="534"/>
                    <a:pt x="58" y="534"/>
                    <a:pt x="58" y="534"/>
                  </a:cubicBezTo>
                  <a:cubicBezTo>
                    <a:pt x="140" y="616"/>
                    <a:pt x="140" y="616"/>
                    <a:pt x="140" y="616"/>
                  </a:cubicBezTo>
                  <a:cubicBezTo>
                    <a:pt x="195" y="570"/>
                    <a:pt x="195" y="570"/>
                    <a:pt x="195" y="570"/>
                  </a:cubicBezTo>
                  <a:cubicBezTo>
                    <a:pt x="273" y="602"/>
                    <a:pt x="273" y="602"/>
                    <a:pt x="273" y="602"/>
                  </a:cubicBezTo>
                  <a:cubicBezTo>
                    <a:pt x="279" y="674"/>
                    <a:pt x="279" y="674"/>
                    <a:pt x="279" y="674"/>
                  </a:cubicBezTo>
                  <a:cubicBezTo>
                    <a:pt x="395" y="674"/>
                    <a:pt x="395" y="674"/>
                    <a:pt x="395" y="674"/>
                  </a:cubicBezTo>
                  <a:cubicBezTo>
                    <a:pt x="402" y="602"/>
                    <a:pt x="402" y="602"/>
                    <a:pt x="402" y="602"/>
                  </a:cubicBezTo>
                  <a:cubicBezTo>
                    <a:pt x="479" y="570"/>
                    <a:pt x="479" y="570"/>
                    <a:pt x="479" y="570"/>
                  </a:cubicBezTo>
                  <a:cubicBezTo>
                    <a:pt x="535" y="616"/>
                    <a:pt x="535" y="616"/>
                    <a:pt x="535" y="616"/>
                  </a:cubicBezTo>
                  <a:cubicBezTo>
                    <a:pt x="617" y="534"/>
                    <a:pt x="617" y="534"/>
                    <a:pt x="617" y="534"/>
                  </a:cubicBezTo>
                  <a:lnTo>
                    <a:pt x="571" y="4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3854DA53-43AE-465A-9664-8041FD2A9D53}"/>
              </a:ext>
            </a:extLst>
          </p:cNvPr>
          <p:cNvGrpSpPr/>
          <p:nvPr userDrawn="1"/>
        </p:nvGrpSpPr>
        <p:grpSpPr>
          <a:xfrm>
            <a:off x="11217797" y="1860685"/>
            <a:ext cx="192111" cy="290045"/>
            <a:chOff x="-3947158" y="1719597"/>
            <a:chExt cx="3385092" cy="5109416"/>
          </a:xfrm>
          <a:solidFill>
            <a:schemeClr val="bg1">
              <a:alpha val="80000"/>
            </a:schemeClr>
          </a:solidFill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A9F31815-0B90-43F4-A93F-6F46122CC770}"/>
                </a:ext>
              </a:extLst>
            </p:cNvPr>
            <p:cNvSpPr/>
            <p:nvPr/>
          </p:nvSpPr>
          <p:spPr>
            <a:xfrm>
              <a:off x="-3624517" y="2322583"/>
              <a:ext cx="3062451" cy="218046"/>
            </a:xfrm>
            <a:prstGeom prst="rect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4DBBFBCD-7190-4665-853A-23B46B482118}"/>
                </a:ext>
              </a:extLst>
            </p:cNvPr>
            <p:cNvSpPr/>
            <p:nvPr/>
          </p:nvSpPr>
          <p:spPr>
            <a:xfrm>
              <a:off x="-3947158" y="3738067"/>
              <a:ext cx="1988090" cy="3089947"/>
            </a:xfrm>
            <a:custGeom>
              <a:avLst/>
              <a:gdLst>
                <a:gd name="connsiteX0" fmla="*/ 1536585 w 1988090"/>
                <a:gd name="connsiteY0" fmla="*/ 279 h 3089947"/>
                <a:gd name="connsiteX1" fmla="*/ 1493799 w 1988090"/>
                <a:gd name="connsiteY1" fmla="*/ 6084 h 3089947"/>
                <a:gd name="connsiteX2" fmla="*/ 994045 w 1988090"/>
                <a:gd name="connsiteY2" fmla="*/ 201257 h 3089947"/>
                <a:gd name="connsiteX3" fmla="*/ 494330 w 1988090"/>
                <a:gd name="connsiteY3" fmla="*/ 6122 h 3089947"/>
                <a:gd name="connsiteX4" fmla="*/ 451390 w 1988090"/>
                <a:gd name="connsiteY4" fmla="*/ 317 h 3089947"/>
                <a:gd name="connsiteX5" fmla="*/ 362549 w 1988090"/>
                <a:gd name="connsiteY5" fmla="*/ 12004 h 3089947"/>
                <a:gd name="connsiteX6" fmla="*/ 126819 w 1988090"/>
                <a:gd name="connsiteY6" fmla="*/ 305590 h 3089947"/>
                <a:gd name="connsiteX7" fmla="*/ 36 w 1988090"/>
                <a:gd name="connsiteY7" fmla="*/ 1551706 h 3089947"/>
                <a:gd name="connsiteX8" fmla="*/ 56470 w 1988090"/>
                <a:gd name="connsiteY8" fmla="*/ 1695481 h 3089947"/>
                <a:gd name="connsiteX9" fmla="*/ 198053 w 1988090"/>
                <a:gd name="connsiteY9" fmla="*/ 1757220 h 3089947"/>
                <a:gd name="connsiteX10" fmla="*/ 199975 w 1988090"/>
                <a:gd name="connsiteY10" fmla="*/ 1757258 h 3089947"/>
                <a:gd name="connsiteX11" fmla="*/ 201898 w 1988090"/>
                <a:gd name="connsiteY11" fmla="*/ 1757258 h 3089947"/>
                <a:gd name="connsiteX12" fmla="*/ 290969 w 1988090"/>
                <a:gd name="connsiteY12" fmla="*/ 1736154 h 3089947"/>
                <a:gd name="connsiteX13" fmla="*/ 359743 w 1988090"/>
                <a:gd name="connsiteY13" fmla="*/ 1679873 h 3089947"/>
                <a:gd name="connsiteX14" fmla="*/ 359743 w 1988090"/>
                <a:gd name="connsiteY14" fmla="*/ 2240751 h 3089947"/>
                <a:gd name="connsiteX15" fmla="*/ 359743 w 1988090"/>
                <a:gd name="connsiteY15" fmla="*/ 2801628 h 3089947"/>
                <a:gd name="connsiteX16" fmla="*/ 444201 w 1988090"/>
                <a:gd name="connsiteY16" fmla="*/ 3005489 h 3089947"/>
                <a:gd name="connsiteX17" fmla="*/ 648062 w 1988090"/>
                <a:gd name="connsiteY17" fmla="*/ 3089947 h 3089947"/>
                <a:gd name="connsiteX18" fmla="*/ 851923 w 1988090"/>
                <a:gd name="connsiteY18" fmla="*/ 3005489 h 3089947"/>
                <a:gd name="connsiteX19" fmla="*/ 936382 w 1988090"/>
                <a:gd name="connsiteY19" fmla="*/ 2801628 h 3089947"/>
                <a:gd name="connsiteX20" fmla="*/ 936382 w 1988090"/>
                <a:gd name="connsiteY20" fmla="*/ 2340317 h 3089947"/>
                <a:gd name="connsiteX21" fmla="*/ 936382 w 1988090"/>
                <a:gd name="connsiteY21" fmla="*/ 1879006 h 3089947"/>
                <a:gd name="connsiteX22" fmla="*/ 994045 w 1988090"/>
                <a:gd name="connsiteY22" fmla="*/ 1879006 h 3089947"/>
                <a:gd name="connsiteX23" fmla="*/ 1051709 w 1988090"/>
                <a:gd name="connsiteY23" fmla="*/ 1879006 h 3089947"/>
                <a:gd name="connsiteX24" fmla="*/ 1051709 w 1988090"/>
                <a:gd name="connsiteY24" fmla="*/ 2340317 h 3089947"/>
                <a:gd name="connsiteX25" fmla="*/ 1051709 w 1988090"/>
                <a:gd name="connsiteY25" fmla="*/ 2801628 h 3089947"/>
                <a:gd name="connsiteX26" fmla="*/ 1136167 w 1988090"/>
                <a:gd name="connsiteY26" fmla="*/ 3005489 h 3089947"/>
                <a:gd name="connsiteX27" fmla="*/ 1340029 w 1988090"/>
                <a:gd name="connsiteY27" fmla="*/ 3089947 h 3089947"/>
                <a:gd name="connsiteX28" fmla="*/ 1543889 w 1988090"/>
                <a:gd name="connsiteY28" fmla="*/ 3005489 h 3089947"/>
                <a:gd name="connsiteX29" fmla="*/ 1628348 w 1988090"/>
                <a:gd name="connsiteY29" fmla="*/ 2801628 h 3089947"/>
                <a:gd name="connsiteX30" fmla="*/ 1628348 w 1988090"/>
                <a:gd name="connsiteY30" fmla="*/ 2263432 h 3089947"/>
                <a:gd name="connsiteX31" fmla="*/ 1628348 w 1988090"/>
                <a:gd name="connsiteY31" fmla="*/ 1725313 h 3089947"/>
                <a:gd name="connsiteX32" fmla="*/ 1628348 w 1988090"/>
                <a:gd name="connsiteY32" fmla="*/ 1725236 h 3089947"/>
                <a:gd name="connsiteX33" fmla="*/ 1628348 w 1988090"/>
                <a:gd name="connsiteY33" fmla="*/ 1725159 h 3089947"/>
                <a:gd name="connsiteX34" fmla="*/ 1628348 w 1988090"/>
                <a:gd name="connsiteY34" fmla="*/ 1702478 h 3089947"/>
                <a:gd name="connsiteX35" fmla="*/ 1628348 w 1988090"/>
                <a:gd name="connsiteY35" fmla="*/ 1679797 h 3089947"/>
                <a:gd name="connsiteX36" fmla="*/ 1697122 w 1988090"/>
                <a:gd name="connsiteY36" fmla="*/ 1736115 h 3089947"/>
                <a:gd name="connsiteX37" fmla="*/ 1786193 w 1988090"/>
                <a:gd name="connsiteY37" fmla="*/ 1757220 h 3089947"/>
                <a:gd name="connsiteX38" fmla="*/ 1788115 w 1988090"/>
                <a:gd name="connsiteY38" fmla="*/ 1757220 h 3089947"/>
                <a:gd name="connsiteX39" fmla="*/ 1790037 w 1988090"/>
                <a:gd name="connsiteY39" fmla="*/ 1757182 h 3089947"/>
                <a:gd name="connsiteX40" fmla="*/ 1931621 w 1988090"/>
                <a:gd name="connsiteY40" fmla="*/ 1695443 h 3089947"/>
                <a:gd name="connsiteX41" fmla="*/ 1988055 w 1988090"/>
                <a:gd name="connsiteY41" fmla="*/ 1551668 h 3089947"/>
                <a:gd name="connsiteX42" fmla="*/ 1861233 w 1988090"/>
                <a:gd name="connsiteY42" fmla="*/ 305552 h 3089947"/>
                <a:gd name="connsiteX43" fmla="*/ 1625465 w 1988090"/>
                <a:gd name="connsiteY43" fmla="*/ 11966 h 3089947"/>
                <a:gd name="connsiteX44" fmla="*/ 1536585 w 1988090"/>
                <a:gd name="connsiteY44" fmla="*/ 279 h 308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988090" h="3089947">
                  <a:moveTo>
                    <a:pt x="1536585" y="279"/>
                  </a:moveTo>
                  <a:cubicBezTo>
                    <a:pt x="1521939" y="971"/>
                    <a:pt x="1507676" y="3008"/>
                    <a:pt x="1493799" y="6084"/>
                  </a:cubicBezTo>
                  <a:cubicBezTo>
                    <a:pt x="1361787" y="126870"/>
                    <a:pt x="1186643" y="201257"/>
                    <a:pt x="994045" y="201257"/>
                  </a:cubicBezTo>
                  <a:cubicBezTo>
                    <a:pt x="801448" y="201257"/>
                    <a:pt x="626342" y="126870"/>
                    <a:pt x="494330" y="6122"/>
                  </a:cubicBezTo>
                  <a:cubicBezTo>
                    <a:pt x="480414" y="3047"/>
                    <a:pt x="466075" y="1009"/>
                    <a:pt x="451390" y="317"/>
                  </a:cubicBezTo>
                  <a:cubicBezTo>
                    <a:pt x="422827" y="-1028"/>
                    <a:pt x="392996" y="2432"/>
                    <a:pt x="362549" y="12004"/>
                  </a:cubicBezTo>
                  <a:cubicBezTo>
                    <a:pt x="277591" y="38683"/>
                    <a:pt x="193133" y="92772"/>
                    <a:pt x="126819" y="305590"/>
                  </a:cubicBezTo>
                  <a:cubicBezTo>
                    <a:pt x="60506" y="518408"/>
                    <a:pt x="12337" y="889994"/>
                    <a:pt x="36" y="1551706"/>
                  </a:cubicBezTo>
                  <a:cubicBezTo>
                    <a:pt x="-1002" y="1607409"/>
                    <a:pt x="20641" y="1658308"/>
                    <a:pt x="56470" y="1695481"/>
                  </a:cubicBezTo>
                  <a:cubicBezTo>
                    <a:pt x="92298" y="1732655"/>
                    <a:pt x="142312" y="1756221"/>
                    <a:pt x="198053" y="1757220"/>
                  </a:cubicBezTo>
                  <a:cubicBezTo>
                    <a:pt x="198707" y="1757220"/>
                    <a:pt x="199322" y="1757220"/>
                    <a:pt x="199975" y="1757258"/>
                  </a:cubicBezTo>
                  <a:cubicBezTo>
                    <a:pt x="200629" y="1757297"/>
                    <a:pt x="201244" y="1757258"/>
                    <a:pt x="201898" y="1757258"/>
                  </a:cubicBezTo>
                  <a:cubicBezTo>
                    <a:pt x="233920" y="1757258"/>
                    <a:pt x="264136" y="1749647"/>
                    <a:pt x="290969" y="1736154"/>
                  </a:cubicBezTo>
                  <a:cubicBezTo>
                    <a:pt x="317802" y="1722660"/>
                    <a:pt x="341214" y="1703323"/>
                    <a:pt x="359743" y="1679873"/>
                  </a:cubicBezTo>
                  <a:lnTo>
                    <a:pt x="359743" y="2240751"/>
                  </a:lnTo>
                  <a:lnTo>
                    <a:pt x="359743" y="2801628"/>
                  </a:lnTo>
                  <a:cubicBezTo>
                    <a:pt x="359743" y="2881243"/>
                    <a:pt x="391996" y="2953323"/>
                    <a:pt x="444201" y="3005489"/>
                  </a:cubicBezTo>
                  <a:cubicBezTo>
                    <a:pt x="496406" y="3057656"/>
                    <a:pt x="568447" y="3089947"/>
                    <a:pt x="648062" y="3089947"/>
                  </a:cubicBezTo>
                  <a:cubicBezTo>
                    <a:pt x="727677" y="3089947"/>
                    <a:pt x="799757" y="3057694"/>
                    <a:pt x="851923" y="3005489"/>
                  </a:cubicBezTo>
                  <a:cubicBezTo>
                    <a:pt x="904090" y="2953284"/>
                    <a:pt x="936382" y="2881243"/>
                    <a:pt x="936382" y="2801628"/>
                  </a:cubicBezTo>
                  <a:lnTo>
                    <a:pt x="936382" y="2340317"/>
                  </a:lnTo>
                  <a:lnTo>
                    <a:pt x="936382" y="1879006"/>
                  </a:lnTo>
                  <a:lnTo>
                    <a:pt x="994045" y="1879006"/>
                  </a:lnTo>
                  <a:lnTo>
                    <a:pt x="1051709" y="1879006"/>
                  </a:lnTo>
                  <a:lnTo>
                    <a:pt x="1051709" y="2340317"/>
                  </a:lnTo>
                  <a:lnTo>
                    <a:pt x="1051709" y="2801628"/>
                  </a:lnTo>
                  <a:cubicBezTo>
                    <a:pt x="1051709" y="2881243"/>
                    <a:pt x="1083962" y="2953323"/>
                    <a:pt x="1136167" y="3005489"/>
                  </a:cubicBezTo>
                  <a:cubicBezTo>
                    <a:pt x="1188372" y="3057656"/>
                    <a:pt x="1260414" y="3089947"/>
                    <a:pt x="1340029" y="3089947"/>
                  </a:cubicBezTo>
                  <a:cubicBezTo>
                    <a:pt x="1419643" y="3089947"/>
                    <a:pt x="1491723" y="3057694"/>
                    <a:pt x="1543889" y="3005489"/>
                  </a:cubicBezTo>
                  <a:cubicBezTo>
                    <a:pt x="1596056" y="2953284"/>
                    <a:pt x="1628348" y="2881243"/>
                    <a:pt x="1628348" y="2801628"/>
                  </a:cubicBezTo>
                  <a:lnTo>
                    <a:pt x="1628348" y="2263432"/>
                  </a:lnTo>
                  <a:lnTo>
                    <a:pt x="1628348" y="1725313"/>
                  </a:lnTo>
                  <a:cubicBezTo>
                    <a:pt x="1628348" y="1725274"/>
                    <a:pt x="1628348" y="1725274"/>
                    <a:pt x="1628348" y="1725236"/>
                  </a:cubicBezTo>
                  <a:cubicBezTo>
                    <a:pt x="1628348" y="1725197"/>
                    <a:pt x="1628348" y="1725197"/>
                    <a:pt x="1628348" y="1725159"/>
                  </a:cubicBezTo>
                  <a:lnTo>
                    <a:pt x="1628348" y="1702478"/>
                  </a:lnTo>
                  <a:lnTo>
                    <a:pt x="1628348" y="1679797"/>
                  </a:lnTo>
                  <a:cubicBezTo>
                    <a:pt x="1646839" y="1703247"/>
                    <a:pt x="1670289" y="1722622"/>
                    <a:pt x="1697122" y="1736115"/>
                  </a:cubicBezTo>
                  <a:cubicBezTo>
                    <a:pt x="1723955" y="1749609"/>
                    <a:pt x="1754170" y="1757220"/>
                    <a:pt x="1786193" y="1757220"/>
                  </a:cubicBezTo>
                  <a:cubicBezTo>
                    <a:pt x="1786847" y="1757220"/>
                    <a:pt x="1787461" y="1757220"/>
                    <a:pt x="1788115" y="1757220"/>
                  </a:cubicBezTo>
                  <a:cubicBezTo>
                    <a:pt x="1788769" y="1757220"/>
                    <a:pt x="1789384" y="1757220"/>
                    <a:pt x="1790037" y="1757182"/>
                  </a:cubicBezTo>
                  <a:cubicBezTo>
                    <a:pt x="1845779" y="1756144"/>
                    <a:pt x="1895793" y="1732617"/>
                    <a:pt x="1931621" y="1695443"/>
                  </a:cubicBezTo>
                  <a:cubicBezTo>
                    <a:pt x="1967450" y="1658269"/>
                    <a:pt x="1989093" y="1607371"/>
                    <a:pt x="1988055" y="1551668"/>
                  </a:cubicBezTo>
                  <a:cubicBezTo>
                    <a:pt x="1975715" y="889955"/>
                    <a:pt x="1927585" y="518370"/>
                    <a:pt x="1861233" y="305552"/>
                  </a:cubicBezTo>
                  <a:cubicBezTo>
                    <a:pt x="1794881" y="92733"/>
                    <a:pt x="1710423" y="38683"/>
                    <a:pt x="1625465" y="11966"/>
                  </a:cubicBezTo>
                  <a:cubicBezTo>
                    <a:pt x="1594980" y="2393"/>
                    <a:pt x="1565148" y="-1066"/>
                    <a:pt x="1536585" y="27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EDE80828-E7D1-4362-B3B6-904358DAB1DC}"/>
                </a:ext>
              </a:extLst>
            </p:cNvPr>
            <p:cNvSpPr/>
            <p:nvPr/>
          </p:nvSpPr>
          <p:spPr>
            <a:xfrm>
              <a:off x="-3541246" y="2609288"/>
              <a:ext cx="1176265" cy="1176265"/>
            </a:xfrm>
            <a:custGeom>
              <a:avLst/>
              <a:gdLst>
                <a:gd name="connsiteX0" fmla="*/ 1176266 w 1176265"/>
                <a:gd name="connsiteY0" fmla="*/ 588133 h 1176265"/>
                <a:gd name="connsiteX1" fmla="*/ 588133 w 1176265"/>
                <a:gd name="connsiteY1" fmla="*/ 1176266 h 1176265"/>
                <a:gd name="connsiteX2" fmla="*/ 0 w 1176265"/>
                <a:gd name="connsiteY2" fmla="*/ 588133 h 1176265"/>
                <a:gd name="connsiteX3" fmla="*/ 588133 w 1176265"/>
                <a:gd name="connsiteY3" fmla="*/ 0 h 1176265"/>
                <a:gd name="connsiteX4" fmla="*/ 1176266 w 1176265"/>
                <a:gd name="connsiteY4" fmla="*/ 588133 h 117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6265" h="1176265">
                  <a:moveTo>
                    <a:pt x="1176266" y="588133"/>
                  </a:moveTo>
                  <a:cubicBezTo>
                    <a:pt x="1176266" y="912950"/>
                    <a:pt x="912950" y="1176266"/>
                    <a:pt x="588133" y="1176266"/>
                  </a:cubicBezTo>
                  <a:cubicBezTo>
                    <a:pt x="263316" y="1176266"/>
                    <a:pt x="0" y="912950"/>
                    <a:pt x="0" y="588133"/>
                  </a:cubicBezTo>
                  <a:cubicBezTo>
                    <a:pt x="0" y="263316"/>
                    <a:pt x="263316" y="0"/>
                    <a:pt x="588133" y="0"/>
                  </a:cubicBezTo>
                  <a:cubicBezTo>
                    <a:pt x="912950" y="0"/>
                    <a:pt x="1176266" y="263316"/>
                    <a:pt x="1176266" y="5881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BA86C3CA-AD01-49DF-8A2F-793FD432EC3F}"/>
                </a:ext>
              </a:extLst>
            </p:cNvPr>
            <p:cNvSpPr/>
            <p:nvPr/>
          </p:nvSpPr>
          <p:spPr>
            <a:xfrm>
              <a:off x="-1697617" y="2605328"/>
              <a:ext cx="956528" cy="4223685"/>
            </a:xfrm>
            <a:custGeom>
              <a:avLst/>
              <a:gdLst>
                <a:gd name="connsiteX0" fmla="*/ 956528 w 956528"/>
                <a:gd name="connsiteY0" fmla="*/ 4223686 h 4223685"/>
                <a:gd name="connsiteX1" fmla="*/ 956528 w 956528"/>
                <a:gd name="connsiteY1" fmla="*/ 0 h 4223685"/>
                <a:gd name="connsiteX2" fmla="*/ 900248 w 956528"/>
                <a:gd name="connsiteY2" fmla="*/ 0 h 4223685"/>
                <a:gd name="connsiteX3" fmla="*/ 900248 w 956528"/>
                <a:gd name="connsiteY3" fmla="*/ 4167445 h 4223685"/>
                <a:gd name="connsiteX4" fmla="*/ 56280 w 956528"/>
                <a:gd name="connsiteY4" fmla="*/ 4167445 h 4223685"/>
                <a:gd name="connsiteX5" fmla="*/ 56280 w 956528"/>
                <a:gd name="connsiteY5" fmla="*/ 3998643 h 4223685"/>
                <a:gd name="connsiteX6" fmla="*/ 337603 w 956528"/>
                <a:gd name="connsiteY6" fmla="*/ 3998643 h 4223685"/>
                <a:gd name="connsiteX7" fmla="*/ 337603 w 956528"/>
                <a:gd name="connsiteY7" fmla="*/ 3942363 h 4223685"/>
                <a:gd name="connsiteX8" fmla="*/ 56280 w 956528"/>
                <a:gd name="connsiteY8" fmla="*/ 3942363 h 4223685"/>
                <a:gd name="connsiteX9" fmla="*/ 56280 w 956528"/>
                <a:gd name="connsiteY9" fmla="*/ 3773562 h 4223685"/>
                <a:gd name="connsiteX10" fmla="*/ 337603 w 956528"/>
                <a:gd name="connsiteY10" fmla="*/ 3773562 h 4223685"/>
                <a:gd name="connsiteX11" fmla="*/ 337603 w 956528"/>
                <a:gd name="connsiteY11" fmla="*/ 3717321 h 4223685"/>
                <a:gd name="connsiteX12" fmla="*/ 56280 w 956528"/>
                <a:gd name="connsiteY12" fmla="*/ 3717321 h 4223685"/>
                <a:gd name="connsiteX13" fmla="*/ 56280 w 956528"/>
                <a:gd name="connsiteY13" fmla="*/ 3548519 h 4223685"/>
                <a:gd name="connsiteX14" fmla="*/ 337603 w 956528"/>
                <a:gd name="connsiteY14" fmla="*/ 3548519 h 4223685"/>
                <a:gd name="connsiteX15" fmla="*/ 337603 w 956528"/>
                <a:gd name="connsiteY15" fmla="*/ 3492239 h 4223685"/>
                <a:gd name="connsiteX16" fmla="*/ 56280 w 956528"/>
                <a:gd name="connsiteY16" fmla="*/ 3492239 h 4223685"/>
                <a:gd name="connsiteX17" fmla="*/ 56280 w 956528"/>
                <a:gd name="connsiteY17" fmla="*/ 3323438 h 4223685"/>
                <a:gd name="connsiteX18" fmla="*/ 675205 w 956528"/>
                <a:gd name="connsiteY18" fmla="*/ 3323438 h 4223685"/>
                <a:gd name="connsiteX19" fmla="*/ 675205 w 956528"/>
                <a:gd name="connsiteY19" fmla="*/ 3267158 h 4223685"/>
                <a:gd name="connsiteX20" fmla="*/ 56280 w 956528"/>
                <a:gd name="connsiteY20" fmla="*/ 3267158 h 4223685"/>
                <a:gd name="connsiteX21" fmla="*/ 56280 w 956528"/>
                <a:gd name="connsiteY21" fmla="*/ 3098395 h 4223685"/>
                <a:gd name="connsiteX22" fmla="*/ 337603 w 956528"/>
                <a:gd name="connsiteY22" fmla="*/ 3098395 h 4223685"/>
                <a:gd name="connsiteX23" fmla="*/ 337603 w 956528"/>
                <a:gd name="connsiteY23" fmla="*/ 3042115 h 4223685"/>
                <a:gd name="connsiteX24" fmla="*/ 56280 w 956528"/>
                <a:gd name="connsiteY24" fmla="*/ 3042115 h 4223685"/>
                <a:gd name="connsiteX25" fmla="*/ 56280 w 956528"/>
                <a:gd name="connsiteY25" fmla="*/ 2873314 h 4223685"/>
                <a:gd name="connsiteX26" fmla="*/ 337603 w 956528"/>
                <a:gd name="connsiteY26" fmla="*/ 2873314 h 4223685"/>
                <a:gd name="connsiteX27" fmla="*/ 337603 w 956528"/>
                <a:gd name="connsiteY27" fmla="*/ 2817034 h 4223685"/>
                <a:gd name="connsiteX28" fmla="*/ 56280 w 956528"/>
                <a:gd name="connsiteY28" fmla="*/ 2817034 h 4223685"/>
                <a:gd name="connsiteX29" fmla="*/ 56280 w 956528"/>
                <a:gd name="connsiteY29" fmla="*/ 2648233 h 4223685"/>
                <a:gd name="connsiteX30" fmla="*/ 337603 w 956528"/>
                <a:gd name="connsiteY30" fmla="*/ 2648233 h 4223685"/>
                <a:gd name="connsiteX31" fmla="*/ 337603 w 956528"/>
                <a:gd name="connsiteY31" fmla="*/ 2591991 h 4223685"/>
                <a:gd name="connsiteX32" fmla="*/ 56280 w 956528"/>
                <a:gd name="connsiteY32" fmla="*/ 2591991 h 4223685"/>
                <a:gd name="connsiteX33" fmla="*/ 56280 w 956528"/>
                <a:gd name="connsiteY33" fmla="*/ 2423190 h 4223685"/>
                <a:gd name="connsiteX34" fmla="*/ 675205 w 956528"/>
                <a:gd name="connsiteY34" fmla="*/ 2423190 h 4223685"/>
                <a:gd name="connsiteX35" fmla="*/ 675205 w 956528"/>
                <a:gd name="connsiteY35" fmla="*/ 2366909 h 4223685"/>
                <a:gd name="connsiteX36" fmla="*/ 56280 w 956528"/>
                <a:gd name="connsiteY36" fmla="*/ 2366909 h 4223685"/>
                <a:gd name="connsiteX37" fmla="*/ 56280 w 956528"/>
                <a:gd name="connsiteY37" fmla="*/ 2198108 h 4223685"/>
                <a:gd name="connsiteX38" fmla="*/ 337603 w 956528"/>
                <a:gd name="connsiteY38" fmla="*/ 2198108 h 4223685"/>
                <a:gd name="connsiteX39" fmla="*/ 337603 w 956528"/>
                <a:gd name="connsiteY39" fmla="*/ 2141867 h 4223685"/>
                <a:gd name="connsiteX40" fmla="*/ 56280 w 956528"/>
                <a:gd name="connsiteY40" fmla="*/ 2141867 h 4223685"/>
                <a:gd name="connsiteX41" fmla="*/ 56280 w 956528"/>
                <a:gd name="connsiteY41" fmla="*/ 1973065 h 4223685"/>
                <a:gd name="connsiteX42" fmla="*/ 337603 w 956528"/>
                <a:gd name="connsiteY42" fmla="*/ 1973065 h 4223685"/>
                <a:gd name="connsiteX43" fmla="*/ 337603 w 956528"/>
                <a:gd name="connsiteY43" fmla="*/ 1916785 h 4223685"/>
                <a:gd name="connsiteX44" fmla="*/ 56280 w 956528"/>
                <a:gd name="connsiteY44" fmla="*/ 1916785 h 4223685"/>
                <a:gd name="connsiteX45" fmla="*/ 56280 w 956528"/>
                <a:gd name="connsiteY45" fmla="*/ 1747984 h 4223685"/>
                <a:gd name="connsiteX46" fmla="*/ 337603 w 956528"/>
                <a:gd name="connsiteY46" fmla="*/ 1747984 h 4223685"/>
                <a:gd name="connsiteX47" fmla="*/ 337603 w 956528"/>
                <a:gd name="connsiteY47" fmla="*/ 1691704 h 4223685"/>
                <a:gd name="connsiteX48" fmla="*/ 56280 w 956528"/>
                <a:gd name="connsiteY48" fmla="*/ 1691704 h 4223685"/>
                <a:gd name="connsiteX49" fmla="*/ 56280 w 956528"/>
                <a:gd name="connsiteY49" fmla="*/ 1522941 h 4223685"/>
                <a:gd name="connsiteX50" fmla="*/ 675205 w 956528"/>
                <a:gd name="connsiteY50" fmla="*/ 1522941 h 4223685"/>
                <a:gd name="connsiteX51" fmla="*/ 675205 w 956528"/>
                <a:gd name="connsiteY51" fmla="*/ 1466661 h 4223685"/>
                <a:gd name="connsiteX52" fmla="*/ 56280 w 956528"/>
                <a:gd name="connsiteY52" fmla="*/ 1466661 h 4223685"/>
                <a:gd name="connsiteX53" fmla="*/ 56280 w 956528"/>
                <a:gd name="connsiteY53" fmla="*/ 1297860 h 4223685"/>
                <a:gd name="connsiteX54" fmla="*/ 337603 w 956528"/>
                <a:gd name="connsiteY54" fmla="*/ 1297860 h 4223685"/>
                <a:gd name="connsiteX55" fmla="*/ 337603 w 956528"/>
                <a:gd name="connsiteY55" fmla="*/ 1241580 h 4223685"/>
                <a:gd name="connsiteX56" fmla="*/ 56280 w 956528"/>
                <a:gd name="connsiteY56" fmla="*/ 1241580 h 4223685"/>
                <a:gd name="connsiteX57" fmla="*/ 56280 w 956528"/>
                <a:gd name="connsiteY57" fmla="*/ 1072779 h 4223685"/>
                <a:gd name="connsiteX58" fmla="*/ 337603 w 956528"/>
                <a:gd name="connsiteY58" fmla="*/ 1072779 h 4223685"/>
                <a:gd name="connsiteX59" fmla="*/ 337603 w 956528"/>
                <a:gd name="connsiteY59" fmla="*/ 1016537 h 4223685"/>
                <a:gd name="connsiteX60" fmla="*/ 56280 w 956528"/>
                <a:gd name="connsiteY60" fmla="*/ 1016537 h 4223685"/>
                <a:gd name="connsiteX61" fmla="*/ 56280 w 956528"/>
                <a:gd name="connsiteY61" fmla="*/ 847736 h 4223685"/>
                <a:gd name="connsiteX62" fmla="*/ 337603 w 956528"/>
                <a:gd name="connsiteY62" fmla="*/ 847736 h 4223685"/>
                <a:gd name="connsiteX63" fmla="*/ 337603 w 956528"/>
                <a:gd name="connsiteY63" fmla="*/ 791456 h 4223685"/>
                <a:gd name="connsiteX64" fmla="*/ 56280 w 956528"/>
                <a:gd name="connsiteY64" fmla="*/ 791456 h 4223685"/>
                <a:gd name="connsiteX65" fmla="*/ 56280 w 956528"/>
                <a:gd name="connsiteY65" fmla="*/ 622654 h 4223685"/>
                <a:gd name="connsiteX66" fmla="*/ 675205 w 956528"/>
                <a:gd name="connsiteY66" fmla="*/ 622654 h 4223685"/>
                <a:gd name="connsiteX67" fmla="*/ 675205 w 956528"/>
                <a:gd name="connsiteY67" fmla="*/ 566413 h 4223685"/>
                <a:gd name="connsiteX68" fmla="*/ 56280 w 956528"/>
                <a:gd name="connsiteY68" fmla="*/ 566413 h 4223685"/>
                <a:gd name="connsiteX69" fmla="*/ 56280 w 956528"/>
                <a:gd name="connsiteY69" fmla="*/ 397612 h 4223685"/>
                <a:gd name="connsiteX70" fmla="*/ 337603 w 956528"/>
                <a:gd name="connsiteY70" fmla="*/ 397612 h 4223685"/>
                <a:gd name="connsiteX71" fmla="*/ 337603 w 956528"/>
                <a:gd name="connsiteY71" fmla="*/ 341332 h 4223685"/>
                <a:gd name="connsiteX72" fmla="*/ 56280 w 956528"/>
                <a:gd name="connsiteY72" fmla="*/ 341332 h 4223685"/>
                <a:gd name="connsiteX73" fmla="*/ 56280 w 956528"/>
                <a:gd name="connsiteY73" fmla="*/ 172530 h 4223685"/>
                <a:gd name="connsiteX74" fmla="*/ 337603 w 956528"/>
                <a:gd name="connsiteY74" fmla="*/ 172530 h 4223685"/>
                <a:gd name="connsiteX75" fmla="*/ 337603 w 956528"/>
                <a:gd name="connsiteY75" fmla="*/ 116250 h 4223685"/>
                <a:gd name="connsiteX76" fmla="*/ 56280 w 956528"/>
                <a:gd name="connsiteY76" fmla="*/ 116250 h 4223685"/>
                <a:gd name="connsiteX77" fmla="*/ 56280 w 956528"/>
                <a:gd name="connsiteY77" fmla="*/ 0 h 4223685"/>
                <a:gd name="connsiteX78" fmla="*/ 0 w 956528"/>
                <a:gd name="connsiteY78" fmla="*/ 0 h 4223685"/>
                <a:gd name="connsiteX79" fmla="*/ 0 w 956528"/>
                <a:gd name="connsiteY79" fmla="*/ 4223686 h 4223685"/>
                <a:gd name="connsiteX80" fmla="*/ 56280 w 956528"/>
                <a:gd name="connsiteY80" fmla="*/ 4223686 h 4223685"/>
                <a:gd name="connsiteX81" fmla="*/ 900248 w 956528"/>
                <a:gd name="connsiteY81" fmla="*/ 4223686 h 422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956528" h="4223685">
                  <a:moveTo>
                    <a:pt x="956528" y="4223686"/>
                  </a:moveTo>
                  <a:lnTo>
                    <a:pt x="956528" y="0"/>
                  </a:lnTo>
                  <a:lnTo>
                    <a:pt x="900248" y="0"/>
                  </a:lnTo>
                  <a:lnTo>
                    <a:pt x="900248" y="4167445"/>
                  </a:lnTo>
                  <a:lnTo>
                    <a:pt x="56280" y="4167445"/>
                  </a:lnTo>
                  <a:lnTo>
                    <a:pt x="56280" y="3998643"/>
                  </a:lnTo>
                  <a:lnTo>
                    <a:pt x="337603" y="3998643"/>
                  </a:lnTo>
                  <a:lnTo>
                    <a:pt x="337603" y="3942363"/>
                  </a:lnTo>
                  <a:lnTo>
                    <a:pt x="56280" y="3942363"/>
                  </a:lnTo>
                  <a:lnTo>
                    <a:pt x="56280" y="3773562"/>
                  </a:lnTo>
                  <a:lnTo>
                    <a:pt x="337603" y="3773562"/>
                  </a:lnTo>
                  <a:lnTo>
                    <a:pt x="337603" y="3717321"/>
                  </a:lnTo>
                  <a:lnTo>
                    <a:pt x="56280" y="3717321"/>
                  </a:lnTo>
                  <a:lnTo>
                    <a:pt x="56280" y="3548519"/>
                  </a:lnTo>
                  <a:lnTo>
                    <a:pt x="337603" y="3548519"/>
                  </a:lnTo>
                  <a:lnTo>
                    <a:pt x="337603" y="3492239"/>
                  </a:lnTo>
                  <a:lnTo>
                    <a:pt x="56280" y="3492239"/>
                  </a:lnTo>
                  <a:lnTo>
                    <a:pt x="56280" y="3323438"/>
                  </a:lnTo>
                  <a:lnTo>
                    <a:pt x="675205" y="3323438"/>
                  </a:lnTo>
                  <a:lnTo>
                    <a:pt x="675205" y="3267158"/>
                  </a:lnTo>
                  <a:lnTo>
                    <a:pt x="56280" y="3267158"/>
                  </a:lnTo>
                  <a:lnTo>
                    <a:pt x="56280" y="3098395"/>
                  </a:lnTo>
                  <a:lnTo>
                    <a:pt x="337603" y="3098395"/>
                  </a:lnTo>
                  <a:lnTo>
                    <a:pt x="337603" y="3042115"/>
                  </a:lnTo>
                  <a:lnTo>
                    <a:pt x="56280" y="3042115"/>
                  </a:lnTo>
                  <a:lnTo>
                    <a:pt x="56280" y="2873314"/>
                  </a:lnTo>
                  <a:lnTo>
                    <a:pt x="337603" y="2873314"/>
                  </a:lnTo>
                  <a:lnTo>
                    <a:pt x="337603" y="2817034"/>
                  </a:lnTo>
                  <a:lnTo>
                    <a:pt x="56280" y="2817034"/>
                  </a:lnTo>
                  <a:lnTo>
                    <a:pt x="56280" y="2648233"/>
                  </a:lnTo>
                  <a:lnTo>
                    <a:pt x="337603" y="2648233"/>
                  </a:lnTo>
                  <a:lnTo>
                    <a:pt x="337603" y="2591991"/>
                  </a:lnTo>
                  <a:lnTo>
                    <a:pt x="56280" y="2591991"/>
                  </a:lnTo>
                  <a:lnTo>
                    <a:pt x="56280" y="2423190"/>
                  </a:lnTo>
                  <a:lnTo>
                    <a:pt x="675205" y="2423190"/>
                  </a:lnTo>
                  <a:lnTo>
                    <a:pt x="675205" y="2366909"/>
                  </a:lnTo>
                  <a:lnTo>
                    <a:pt x="56280" y="2366909"/>
                  </a:lnTo>
                  <a:lnTo>
                    <a:pt x="56280" y="2198108"/>
                  </a:lnTo>
                  <a:lnTo>
                    <a:pt x="337603" y="2198108"/>
                  </a:lnTo>
                  <a:lnTo>
                    <a:pt x="337603" y="2141867"/>
                  </a:lnTo>
                  <a:lnTo>
                    <a:pt x="56280" y="2141867"/>
                  </a:lnTo>
                  <a:lnTo>
                    <a:pt x="56280" y="1973065"/>
                  </a:lnTo>
                  <a:lnTo>
                    <a:pt x="337603" y="1973065"/>
                  </a:lnTo>
                  <a:lnTo>
                    <a:pt x="337603" y="1916785"/>
                  </a:lnTo>
                  <a:lnTo>
                    <a:pt x="56280" y="1916785"/>
                  </a:lnTo>
                  <a:lnTo>
                    <a:pt x="56280" y="1747984"/>
                  </a:lnTo>
                  <a:lnTo>
                    <a:pt x="337603" y="1747984"/>
                  </a:lnTo>
                  <a:lnTo>
                    <a:pt x="337603" y="1691704"/>
                  </a:lnTo>
                  <a:lnTo>
                    <a:pt x="56280" y="1691704"/>
                  </a:lnTo>
                  <a:lnTo>
                    <a:pt x="56280" y="1522941"/>
                  </a:lnTo>
                  <a:lnTo>
                    <a:pt x="675205" y="1522941"/>
                  </a:lnTo>
                  <a:lnTo>
                    <a:pt x="675205" y="1466661"/>
                  </a:lnTo>
                  <a:lnTo>
                    <a:pt x="56280" y="1466661"/>
                  </a:lnTo>
                  <a:lnTo>
                    <a:pt x="56280" y="1297860"/>
                  </a:lnTo>
                  <a:lnTo>
                    <a:pt x="337603" y="1297860"/>
                  </a:lnTo>
                  <a:lnTo>
                    <a:pt x="337603" y="1241580"/>
                  </a:lnTo>
                  <a:lnTo>
                    <a:pt x="56280" y="1241580"/>
                  </a:lnTo>
                  <a:lnTo>
                    <a:pt x="56280" y="1072779"/>
                  </a:lnTo>
                  <a:lnTo>
                    <a:pt x="337603" y="1072779"/>
                  </a:lnTo>
                  <a:lnTo>
                    <a:pt x="337603" y="1016537"/>
                  </a:lnTo>
                  <a:lnTo>
                    <a:pt x="56280" y="1016537"/>
                  </a:lnTo>
                  <a:lnTo>
                    <a:pt x="56280" y="847736"/>
                  </a:lnTo>
                  <a:lnTo>
                    <a:pt x="337603" y="847736"/>
                  </a:lnTo>
                  <a:lnTo>
                    <a:pt x="337603" y="791456"/>
                  </a:lnTo>
                  <a:lnTo>
                    <a:pt x="56280" y="791456"/>
                  </a:lnTo>
                  <a:lnTo>
                    <a:pt x="56280" y="622654"/>
                  </a:lnTo>
                  <a:lnTo>
                    <a:pt x="675205" y="622654"/>
                  </a:lnTo>
                  <a:lnTo>
                    <a:pt x="675205" y="566413"/>
                  </a:lnTo>
                  <a:lnTo>
                    <a:pt x="56280" y="566413"/>
                  </a:lnTo>
                  <a:lnTo>
                    <a:pt x="56280" y="397612"/>
                  </a:lnTo>
                  <a:lnTo>
                    <a:pt x="337603" y="397612"/>
                  </a:lnTo>
                  <a:lnTo>
                    <a:pt x="337603" y="341332"/>
                  </a:lnTo>
                  <a:lnTo>
                    <a:pt x="56280" y="341332"/>
                  </a:lnTo>
                  <a:lnTo>
                    <a:pt x="56280" y="172530"/>
                  </a:lnTo>
                  <a:lnTo>
                    <a:pt x="337603" y="172530"/>
                  </a:lnTo>
                  <a:lnTo>
                    <a:pt x="337603" y="116250"/>
                  </a:lnTo>
                  <a:lnTo>
                    <a:pt x="56280" y="116250"/>
                  </a:lnTo>
                  <a:lnTo>
                    <a:pt x="56280" y="0"/>
                  </a:lnTo>
                  <a:lnTo>
                    <a:pt x="0" y="0"/>
                  </a:lnTo>
                  <a:lnTo>
                    <a:pt x="0" y="4223686"/>
                  </a:lnTo>
                  <a:lnTo>
                    <a:pt x="56280" y="4223686"/>
                  </a:lnTo>
                  <a:lnTo>
                    <a:pt x="900248" y="42236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50444199-A056-4AA2-8E3A-4923C52F095E}"/>
                </a:ext>
              </a:extLst>
            </p:cNvPr>
            <p:cNvSpPr/>
            <p:nvPr/>
          </p:nvSpPr>
          <p:spPr>
            <a:xfrm>
              <a:off x="-1697617" y="1719597"/>
              <a:ext cx="337603" cy="538326"/>
            </a:xfrm>
            <a:custGeom>
              <a:avLst/>
              <a:gdLst>
                <a:gd name="connsiteX0" fmla="*/ 0 w 337603"/>
                <a:gd name="connsiteY0" fmla="*/ 0 h 538326"/>
                <a:gd name="connsiteX1" fmla="*/ 56280 w 337603"/>
                <a:gd name="connsiteY1" fmla="*/ 0 h 538326"/>
                <a:gd name="connsiteX2" fmla="*/ 56280 w 337603"/>
                <a:gd name="connsiteY2" fmla="*/ 101734 h 538326"/>
                <a:gd name="connsiteX3" fmla="*/ 337603 w 337603"/>
                <a:gd name="connsiteY3" fmla="*/ 101734 h 538326"/>
                <a:gd name="connsiteX4" fmla="*/ 337603 w 337603"/>
                <a:gd name="connsiteY4" fmla="*/ 158014 h 538326"/>
                <a:gd name="connsiteX5" fmla="*/ 56280 w 337603"/>
                <a:gd name="connsiteY5" fmla="*/ 158014 h 538326"/>
                <a:gd name="connsiteX6" fmla="*/ 56280 w 337603"/>
                <a:gd name="connsiteY6" fmla="*/ 326815 h 538326"/>
                <a:gd name="connsiteX7" fmla="*/ 337603 w 337603"/>
                <a:gd name="connsiteY7" fmla="*/ 326815 h 538326"/>
                <a:gd name="connsiteX8" fmla="*/ 337603 w 337603"/>
                <a:gd name="connsiteY8" fmla="*/ 383056 h 538326"/>
                <a:gd name="connsiteX9" fmla="*/ 56280 w 337603"/>
                <a:gd name="connsiteY9" fmla="*/ 383056 h 538326"/>
                <a:gd name="connsiteX10" fmla="*/ 56280 w 337603"/>
                <a:gd name="connsiteY10" fmla="*/ 538326 h 538326"/>
                <a:gd name="connsiteX11" fmla="*/ 0 w 337603"/>
                <a:gd name="connsiteY11" fmla="*/ 538326 h 538326"/>
                <a:gd name="connsiteX12" fmla="*/ 0 w 337603"/>
                <a:gd name="connsiteY12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7603" h="538326">
                  <a:moveTo>
                    <a:pt x="0" y="0"/>
                  </a:moveTo>
                  <a:lnTo>
                    <a:pt x="56280" y="0"/>
                  </a:lnTo>
                  <a:lnTo>
                    <a:pt x="56280" y="101734"/>
                  </a:lnTo>
                  <a:lnTo>
                    <a:pt x="337603" y="101734"/>
                  </a:lnTo>
                  <a:lnTo>
                    <a:pt x="337603" y="158014"/>
                  </a:lnTo>
                  <a:lnTo>
                    <a:pt x="56280" y="158014"/>
                  </a:lnTo>
                  <a:lnTo>
                    <a:pt x="56280" y="326815"/>
                  </a:lnTo>
                  <a:lnTo>
                    <a:pt x="337603" y="326815"/>
                  </a:lnTo>
                  <a:lnTo>
                    <a:pt x="337603" y="383056"/>
                  </a:lnTo>
                  <a:lnTo>
                    <a:pt x="56280" y="383056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D60EC49-5F3F-4D0B-A5E3-3EA85D0B4548}"/>
                </a:ext>
              </a:extLst>
            </p:cNvPr>
            <p:cNvSpPr/>
            <p:nvPr/>
          </p:nvSpPr>
          <p:spPr>
            <a:xfrm>
              <a:off x="-797368" y="1719597"/>
              <a:ext cx="56280" cy="538326"/>
            </a:xfrm>
            <a:custGeom>
              <a:avLst/>
              <a:gdLst>
                <a:gd name="connsiteX0" fmla="*/ 0 w 56280"/>
                <a:gd name="connsiteY0" fmla="*/ 0 h 538326"/>
                <a:gd name="connsiteX1" fmla="*/ 56280 w 56280"/>
                <a:gd name="connsiteY1" fmla="*/ 0 h 538326"/>
                <a:gd name="connsiteX2" fmla="*/ 56280 w 56280"/>
                <a:gd name="connsiteY2" fmla="*/ 538326 h 538326"/>
                <a:gd name="connsiteX3" fmla="*/ 0 w 56280"/>
                <a:gd name="connsiteY3" fmla="*/ 538326 h 538326"/>
                <a:gd name="connsiteX4" fmla="*/ 0 w 56280"/>
                <a:gd name="connsiteY4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80" h="538326">
                  <a:moveTo>
                    <a:pt x="0" y="0"/>
                  </a:moveTo>
                  <a:lnTo>
                    <a:pt x="56280" y="0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</p:grpSp>
      <p:sp>
        <p:nvSpPr>
          <p:cNvPr id="59" name="Round Same-side Corner of Rectangle 79">
            <a:extLst>
              <a:ext uri="{FF2B5EF4-FFF2-40B4-BE49-F238E27FC236}">
                <a16:creationId xmlns:a16="http://schemas.microsoft.com/office/drawing/2014/main" id="{EF7957E7-CB22-40B9-A57B-BD6A3EB2E8AB}"/>
              </a:ext>
            </a:extLst>
          </p:cNvPr>
          <p:cNvSpPr/>
          <p:nvPr userDrawn="1"/>
        </p:nvSpPr>
        <p:spPr>
          <a:xfrm rot="5400000">
            <a:off x="10613117" y="550943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0" name="TextBox 59">
            <a:hlinkClick r:id="" action="ppaction://noaction"/>
            <a:extLst>
              <a:ext uri="{FF2B5EF4-FFF2-40B4-BE49-F238E27FC236}">
                <a16:creationId xmlns:a16="http://schemas.microsoft.com/office/drawing/2014/main" id="{CA7CA57B-18B2-4FAC-B6B7-822CBFD5FE7A}"/>
              </a:ext>
            </a:extLst>
          </p:cNvPr>
          <p:cNvSpPr txBox="1"/>
          <p:nvPr userDrawn="1"/>
        </p:nvSpPr>
        <p:spPr>
          <a:xfrm>
            <a:off x="10870644" y="555078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61" name="Round Same-side Corner of Rectangle 79">
            <a:extLst>
              <a:ext uri="{FF2B5EF4-FFF2-40B4-BE49-F238E27FC236}">
                <a16:creationId xmlns:a16="http://schemas.microsoft.com/office/drawing/2014/main" id="{10D1BD16-AE56-4734-93EC-A02E35B8EFA6}"/>
              </a:ext>
            </a:extLst>
          </p:cNvPr>
          <p:cNvSpPr/>
          <p:nvPr userDrawn="1"/>
        </p:nvSpPr>
        <p:spPr>
          <a:xfrm rot="5400000">
            <a:off x="10613117" y="5784862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2" name="TextBox 61">
            <a:hlinkClick r:id="" action="ppaction://noaction"/>
            <a:extLst>
              <a:ext uri="{FF2B5EF4-FFF2-40B4-BE49-F238E27FC236}">
                <a16:creationId xmlns:a16="http://schemas.microsoft.com/office/drawing/2014/main" id="{23286430-EDB8-403C-BCE6-0E3C669DBC21}"/>
              </a:ext>
            </a:extLst>
          </p:cNvPr>
          <p:cNvSpPr txBox="1"/>
          <p:nvPr userDrawn="1"/>
        </p:nvSpPr>
        <p:spPr>
          <a:xfrm>
            <a:off x="10870644" y="5826211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73" name="Freeform 25">
            <a:extLst>
              <a:ext uri="{FF2B5EF4-FFF2-40B4-BE49-F238E27FC236}">
                <a16:creationId xmlns:a16="http://schemas.microsoft.com/office/drawing/2014/main" id="{C44BC3CD-2A7F-4C16-B22F-9AE08E811641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5549100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74" name="Round Same-side Corner of Rectangle 79">
            <a:extLst>
              <a:ext uri="{FF2B5EF4-FFF2-40B4-BE49-F238E27FC236}">
                <a16:creationId xmlns:a16="http://schemas.microsoft.com/office/drawing/2014/main" id="{5A1F96F1-FCF0-477B-B9BE-5C103FCEB870}"/>
              </a:ext>
            </a:extLst>
          </p:cNvPr>
          <p:cNvSpPr/>
          <p:nvPr userDrawn="1"/>
        </p:nvSpPr>
        <p:spPr>
          <a:xfrm rot="5400000">
            <a:off x="10615976" y="606635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75" name="TextBox 74">
            <a:hlinkClick r:id="" action="ppaction://noaction"/>
            <a:extLst>
              <a:ext uri="{FF2B5EF4-FFF2-40B4-BE49-F238E27FC236}">
                <a16:creationId xmlns:a16="http://schemas.microsoft.com/office/drawing/2014/main" id="{87AA831C-CFCC-4278-800D-9DAE11E24693}"/>
              </a:ext>
            </a:extLst>
          </p:cNvPr>
          <p:cNvSpPr txBox="1"/>
          <p:nvPr userDrawn="1"/>
        </p:nvSpPr>
        <p:spPr>
          <a:xfrm>
            <a:off x="10873503" y="6107704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76" name="Freeform 21">
            <a:extLst>
              <a:ext uri="{FF2B5EF4-FFF2-40B4-BE49-F238E27FC236}">
                <a16:creationId xmlns:a16="http://schemas.microsoft.com/office/drawing/2014/main" id="{166E3618-13C5-4155-AEE3-7928EE58F551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6115929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77" name="Graphic 28" descr="List">
            <a:extLst>
              <a:ext uri="{FF2B5EF4-FFF2-40B4-BE49-F238E27FC236}">
                <a16:creationId xmlns:a16="http://schemas.microsoft.com/office/drawing/2014/main" id="{621486CC-57F9-48ED-A209-E1B1EFAB358C}"/>
              </a:ext>
            </a:extLst>
          </p:cNvPr>
          <p:cNvGrpSpPr/>
          <p:nvPr userDrawn="1"/>
        </p:nvGrpSpPr>
        <p:grpSpPr>
          <a:xfrm>
            <a:off x="10657446" y="5818069"/>
            <a:ext cx="103548" cy="146640"/>
            <a:chOff x="981871" y="1231905"/>
            <a:chExt cx="246063" cy="317501"/>
          </a:xfrm>
        </p:grpSpPr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841DC3CC-B982-4B92-B096-7EB8537E01DE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4141437-DD98-4981-B283-8F657E4FFE63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7AA7E748-8888-4AE9-AD29-0F85DFCEE343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BBBBFA89-8F6E-4820-B30D-664ECEF15C38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F2D226A4-0536-4B4B-AF11-69CDD9C53DB3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EE640A0E-7042-4ED3-BFCB-78196572E0B4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A02339B8-6901-40BB-BB24-02A76C95F7FD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C1C9E01B-E3A2-462E-8E6D-B6CC4C94F172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1BAED15A-273C-42EB-B716-C363B8620066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80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48924449-CFF3-460F-8D34-F32352897706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DF17A75E-96DE-4C07-A931-A2AF8CB22387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CD3C0C95-346E-4153-AFF1-8A629E4D79DD}"/>
              </a:ext>
            </a:extLst>
          </p:cNvPr>
          <p:cNvSpPr/>
          <p:nvPr userDrawn="1"/>
        </p:nvSpPr>
        <p:spPr>
          <a:xfrm rot="5400000">
            <a:off x="11280167" y="4840571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1A5E6522-6B95-446B-A41D-FD6B06AF3A69}"/>
              </a:ext>
            </a:extLst>
          </p:cNvPr>
          <p:cNvSpPr/>
          <p:nvPr userDrawn="1"/>
        </p:nvSpPr>
        <p:spPr>
          <a:xfrm rot="5400000">
            <a:off x="11280167" y="5116475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7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49FDC53D-71C6-4307-BE59-986DE8044350}"/>
              </a:ext>
            </a:extLst>
          </p:cNvPr>
          <p:cNvSpPr/>
          <p:nvPr userDrawn="1"/>
        </p:nvSpPr>
        <p:spPr>
          <a:xfrm rot="5400000">
            <a:off x="11280167" y="5392379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9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5CDDF074-1B46-4849-BFED-0EF4B88DB094}"/>
              </a:ext>
            </a:extLst>
          </p:cNvPr>
          <p:cNvSpPr/>
          <p:nvPr userDrawn="1"/>
        </p:nvSpPr>
        <p:spPr>
          <a:xfrm rot="5400000">
            <a:off x="11473096" y="1472755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0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AEA0EC28-4562-4E01-87A1-872E5CE4D031}"/>
              </a:ext>
            </a:extLst>
          </p:cNvPr>
          <p:cNvSpPr/>
          <p:nvPr userDrawn="1"/>
        </p:nvSpPr>
        <p:spPr>
          <a:xfrm rot="5400000">
            <a:off x="11294468" y="1749579"/>
            <a:ext cx="349171" cy="1439541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1" name="Round Same-side Corner of Rectangle 79">
            <a:hlinkClick r:id="rId5" action="ppaction://hlinksldjump"/>
            <a:extLst>
              <a:ext uri="{FF2B5EF4-FFF2-40B4-BE49-F238E27FC236}">
                <a16:creationId xmlns:a16="http://schemas.microsoft.com/office/drawing/2014/main" id="{15C552E2-5F7D-41EB-BC90-99EC6DE2F637}"/>
              </a:ext>
            </a:extLst>
          </p:cNvPr>
          <p:cNvSpPr/>
          <p:nvPr userDrawn="1"/>
        </p:nvSpPr>
        <p:spPr>
          <a:xfrm rot="5400000">
            <a:off x="11473096" y="2380734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2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7F0FA059-0139-4FA8-B0F2-89DE10D1D4F1}"/>
              </a:ext>
            </a:extLst>
          </p:cNvPr>
          <p:cNvSpPr/>
          <p:nvPr userDrawn="1"/>
        </p:nvSpPr>
        <p:spPr>
          <a:xfrm rot="5400000">
            <a:off x="11473096" y="2833262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3A8393FD-697E-4691-B5B4-7C401D74698D}"/>
              </a:ext>
            </a:extLst>
          </p:cNvPr>
          <p:cNvSpPr/>
          <p:nvPr userDrawn="1"/>
        </p:nvSpPr>
        <p:spPr>
          <a:xfrm rot="5400000">
            <a:off x="11473096" y="3285790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DC83DCAD-965C-41FA-931A-F8BC730227E3}"/>
              </a:ext>
            </a:extLst>
          </p:cNvPr>
          <p:cNvSpPr/>
          <p:nvPr userDrawn="1"/>
        </p:nvSpPr>
        <p:spPr>
          <a:xfrm rot="5400000">
            <a:off x="11473096" y="3738318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30648040-0A2E-4BCD-BC09-FC3F5024C190}"/>
              </a:ext>
            </a:extLst>
          </p:cNvPr>
          <p:cNvSpPr/>
          <p:nvPr userDrawn="1"/>
        </p:nvSpPr>
        <p:spPr>
          <a:xfrm rot="5400000">
            <a:off x="11473096" y="419084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6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68CC9202-3A52-4BD1-B3B5-03B1BB67B0A6}"/>
              </a:ext>
            </a:extLst>
          </p:cNvPr>
          <p:cNvSpPr/>
          <p:nvPr userDrawn="1"/>
        </p:nvSpPr>
        <p:spPr>
          <a:xfrm rot="5400000">
            <a:off x="11473096" y="464337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360007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llar 2 - Let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4" name="Round Same-side Corner of Rectangle 79">
            <a:extLst>
              <a:ext uri="{FF2B5EF4-FFF2-40B4-BE49-F238E27FC236}">
                <a16:creationId xmlns:a16="http://schemas.microsoft.com/office/drawing/2014/main" id="{429E155D-7E57-4822-8852-F94F1A49D6FC}"/>
              </a:ext>
            </a:extLst>
          </p:cNvPr>
          <p:cNvSpPr/>
          <p:nvPr userDrawn="1"/>
        </p:nvSpPr>
        <p:spPr>
          <a:xfrm rot="16200000">
            <a:off x="11384856" y="4661233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8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0" name="Round Same-side Corner of Rectangle 79">
            <a:extLst>
              <a:ext uri="{FF2B5EF4-FFF2-40B4-BE49-F238E27FC236}">
                <a16:creationId xmlns:a16="http://schemas.microsoft.com/office/drawing/2014/main" id="{DA632258-7E89-4C63-86BD-EA679E94BCAB}"/>
              </a:ext>
            </a:extLst>
          </p:cNvPr>
          <p:cNvSpPr/>
          <p:nvPr userDrawn="1"/>
        </p:nvSpPr>
        <p:spPr>
          <a:xfrm rot="16200000">
            <a:off x="11384854" y="4208631"/>
            <a:ext cx="388777" cy="104122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7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1" name="Round Same-side Corner of Rectangle 79">
            <a:extLst>
              <a:ext uri="{FF2B5EF4-FFF2-40B4-BE49-F238E27FC236}">
                <a16:creationId xmlns:a16="http://schemas.microsoft.com/office/drawing/2014/main" id="{D4B93879-3513-4875-A1C4-5980915623CE}"/>
              </a:ext>
            </a:extLst>
          </p:cNvPr>
          <p:cNvSpPr/>
          <p:nvPr userDrawn="1"/>
        </p:nvSpPr>
        <p:spPr>
          <a:xfrm rot="16200000">
            <a:off x="11384854" y="3756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6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8" name="Round Same-side Corner of Rectangle 79">
            <a:extLst>
              <a:ext uri="{FF2B5EF4-FFF2-40B4-BE49-F238E27FC236}">
                <a16:creationId xmlns:a16="http://schemas.microsoft.com/office/drawing/2014/main" id="{312255C5-65A9-47AB-B67B-8924547FF7C2}"/>
              </a:ext>
            </a:extLst>
          </p:cNvPr>
          <p:cNvSpPr/>
          <p:nvPr userDrawn="1"/>
        </p:nvSpPr>
        <p:spPr>
          <a:xfrm rot="16200000">
            <a:off x="11384854" y="33034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5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9" name="Round Same-side Corner of Rectangle 79">
            <a:extLst>
              <a:ext uri="{FF2B5EF4-FFF2-40B4-BE49-F238E27FC236}">
                <a16:creationId xmlns:a16="http://schemas.microsoft.com/office/drawing/2014/main" id="{F23596D5-FD36-49E3-B746-F3D7A290DF3D}"/>
              </a:ext>
            </a:extLst>
          </p:cNvPr>
          <p:cNvSpPr/>
          <p:nvPr userDrawn="1"/>
        </p:nvSpPr>
        <p:spPr>
          <a:xfrm rot="16200000">
            <a:off x="11384853" y="28508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4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7" name="Round Same-side Corner of Rectangle 79">
            <a:extLst>
              <a:ext uri="{FF2B5EF4-FFF2-40B4-BE49-F238E27FC236}">
                <a16:creationId xmlns:a16="http://schemas.microsoft.com/office/drawing/2014/main" id="{059574F1-9FE9-480C-B4ED-14EFB4169B0E}"/>
              </a:ext>
            </a:extLst>
          </p:cNvPr>
          <p:cNvSpPr/>
          <p:nvPr userDrawn="1"/>
        </p:nvSpPr>
        <p:spPr>
          <a:xfrm rot="16200000">
            <a:off x="11384854" y="23982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3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8" name="Round Same-side Corner of Rectangle 79">
            <a:extLst>
              <a:ext uri="{FF2B5EF4-FFF2-40B4-BE49-F238E27FC236}">
                <a16:creationId xmlns:a16="http://schemas.microsoft.com/office/drawing/2014/main" id="{82236BCB-3538-4E87-B0C9-CACC40793A57}"/>
              </a:ext>
            </a:extLst>
          </p:cNvPr>
          <p:cNvSpPr/>
          <p:nvPr userDrawn="1"/>
        </p:nvSpPr>
        <p:spPr>
          <a:xfrm rot="16200000">
            <a:off x="11219847" y="1780623"/>
            <a:ext cx="388777" cy="137124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2102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600" b="1"/>
              <a:t>Pillar  </a:t>
            </a:r>
            <a:r>
              <a:rPr lang="en-US" sz="1600" b="1"/>
              <a:t>2</a:t>
            </a:r>
          </a:p>
        </p:txBody>
      </p:sp>
      <p:sp>
        <p:nvSpPr>
          <p:cNvPr id="89" name="Round Same-side Corner of Rectangle 79">
            <a:extLst>
              <a:ext uri="{FF2B5EF4-FFF2-40B4-BE49-F238E27FC236}">
                <a16:creationId xmlns:a16="http://schemas.microsoft.com/office/drawing/2014/main" id="{61090AD0-0469-4342-901A-FC4BE401662F}"/>
              </a:ext>
            </a:extLst>
          </p:cNvPr>
          <p:cNvSpPr/>
          <p:nvPr userDrawn="1"/>
        </p:nvSpPr>
        <p:spPr>
          <a:xfrm rot="16200000">
            <a:off x="11384854" y="1493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1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96" name="Round Same-side Corner of Rectangle 79">
            <a:extLst>
              <a:ext uri="{FF2B5EF4-FFF2-40B4-BE49-F238E27FC236}">
                <a16:creationId xmlns:a16="http://schemas.microsoft.com/office/drawing/2014/main" id="{75C801CE-9FCA-486D-96A7-6973FA449CCA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8" name="Round Same-side Corner of Rectangle 79">
            <a:extLst>
              <a:ext uri="{FF2B5EF4-FFF2-40B4-BE49-F238E27FC236}">
                <a16:creationId xmlns:a16="http://schemas.microsoft.com/office/drawing/2014/main" id="{B358AAFE-318C-4629-9F49-D9DBA46F85EC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CDFF544F-A125-4A64-A07F-023F10D0D50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6706" y="918349"/>
            <a:ext cx="9963591" cy="5673283"/>
          </a:xfrm>
        </p:spPr>
        <p:txBody>
          <a:bodyPr/>
          <a:lstStyle>
            <a:lvl1pPr marL="0" indent="0">
              <a:spcBef>
                <a:spcPts val="1200"/>
              </a:spcBef>
              <a:buFontTx/>
              <a:buNone/>
              <a:defRPr sz="1799" b="1">
                <a:solidFill>
                  <a:schemeClr val="accent1">
                    <a:lumMod val="75000"/>
                  </a:schemeClr>
                </a:solidFill>
              </a:defRPr>
            </a:lvl1pPr>
            <a:lvl2pPr marL="319944" indent="-319944">
              <a:spcBef>
                <a:spcPts val="1200"/>
              </a:spcBef>
              <a:buFont typeface="+mj-lt"/>
              <a:buAutoNum type="alphaUcPeriod"/>
              <a:defRPr/>
            </a:lvl2pPr>
            <a:lvl3pPr marL="512609" indent="-274238">
              <a:spcBef>
                <a:spcPts val="600"/>
              </a:spcBef>
              <a:buFont typeface="+mj-lt"/>
              <a:buAutoNum type="romanLcPeriod"/>
              <a:defRPr sz="1300"/>
            </a:lvl3pPr>
            <a:lvl4pPr marL="798273" indent="-169812">
              <a:spcBef>
                <a:spcPts val="400"/>
              </a:spcBef>
              <a:buFont typeface="+mj-lt"/>
              <a:buAutoNum type="alphaLcPeriod"/>
              <a:defRPr sz="1300"/>
            </a:lvl4pPr>
            <a:lvl5pPr marL="1144245" indent="-115853">
              <a:spcBef>
                <a:spcPts val="2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59F5BB7-4D21-44D2-8F86-287E052C3996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579212C-AD85-4695-B0B7-90599ED32D80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5" name="Round Same-side Corner of Rectangle 79">
            <a:extLst>
              <a:ext uri="{FF2B5EF4-FFF2-40B4-BE49-F238E27FC236}">
                <a16:creationId xmlns:a16="http://schemas.microsoft.com/office/drawing/2014/main" id="{8D1F6C42-3796-49CA-A851-241F200C3402}"/>
              </a:ext>
            </a:extLst>
          </p:cNvPr>
          <p:cNvSpPr/>
          <p:nvPr userDrawn="1"/>
        </p:nvSpPr>
        <p:spPr>
          <a:xfrm rot="16200000">
            <a:off x="11900597" y="2372405"/>
            <a:ext cx="388777" cy="18768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>
              <a:lumMod val="75000"/>
              <a:alpha val="59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19" name="TextBox 18">
            <a:hlinkClick r:id="" action="ppaction://noaction"/>
            <a:extLst>
              <a:ext uri="{FF2B5EF4-FFF2-40B4-BE49-F238E27FC236}">
                <a16:creationId xmlns:a16="http://schemas.microsoft.com/office/drawing/2014/main" id="{0CF45F4B-4FA4-4C1C-B78A-B7DA5BE65159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20" name="TextBox 19">
            <a:hlinkClick r:id="" action="ppaction://noaction"/>
            <a:extLst>
              <a:ext uri="{FF2B5EF4-FFF2-40B4-BE49-F238E27FC236}">
                <a16:creationId xmlns:a16="http://schemas.microsoft.com/office/drawing/2014/main" id="{859B4109-44C8-4B0C-9D54-97003719C43B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492D6A39-4B7E-42CA-84A9-51A8D16986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57E4AE8E-C52F-4786-92C4-A8CD07AE5B0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C43B84A-907D-4A45-AFAE-200B374A0B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49" name="Freeform 9">
            <a:extLst>
              <a:ext uri="{FF2B5EF4-FFF2-40B4-BE49-F238E27FC236}">
                <a16:creationId xmlns:a16="http://schemas.microsoft.com/office/drawing/2014/main" id="{D9267719-A3D5-44D7-B7BB-7858B2BE0A8D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95767" y="4176118"/>
            <a:ext cx="181694" cy="212254"/>
          </a:xfrm>
          <a:custGeom>
            <a:avLst/>
            <a:gdLst>
              <a:gd name="T0" fmla="*/ 708 w 809"/>
              <a:gd name="T1" fmla="*/ 509 h 945"/>
              <a:gd name="T2" fmla="*/ 405 w 809"/>
              <a:gd name="T3" fmla="*/ 838 h 945"/>
              <a:gd name="T4" fmla="*/ 404 w 809"/>
              <a:gd name="T5" fmla="*/ 838 h 945"/>
              <a:gd name="T6" fmla="*/ 404 w 809"/>
              <a:gd name="T7" fmla="*/ 473 h 945"/>
              <a:gd name="T8" fmla="*/ 101 w 809"/>
              <a:gd name="T9" fmla="*/ 473 h 945"/>
              <a:gd name="T10" fmla="*/ 101 w 809"/>
              <a:gd name="T11" fmla="*/ 245 h 945"/>
              <a:gd name="T12" fmla="*/ 404 w 809"/>
              <a:gd name="T13" fmla="*/ 123 h 945"/>
              <a:gd name="T14" fmla="*/ 404 w 809"/>
              <a:gd name="T15" fmla="*/ 473 h 945"/>
              <a:gd name="T16" fmla="*/ 708 w 809"/>
              <a:gd name="T17" fmla="*/ 473 h 945"/>
              <a:gd name="T18" fmla="*/ 708 w 809"/>
              <a:gd name="T19" fmla="*/ 509 h 945"/>
              <a:gd name="T20" fmla="*/ 792 w 809"/>
              <a:gd name="T21" fmla="*/ 150 h 945"/>
              <a:gd name="T22" fmla="*/ 415 w 809"/>
              <a:gd name="T23" fmla="*/ 4 h 945"/>
              <a:gd name="T24" fmla="*/ 394 w 809"/>
              <a:gd name="T25" fmla="*/ 4 h 945"/>
              <a:gd name="T26" fmla="*/ 17 w 809"/>
              <a:gd name="T27" fmla="*/ 150 h 945"/>
              <a:gd name="T28" fmla="*/ 0 w 809"/>
              <a:gd name="T29" fmla="*/ 168 h 945"/>
              <a:gd name="T30" fmla="*/ 0 w 809"/>
              <a:gd name="T31" fmla="*/ 508 h 945"/>
              <a:gd name="T32" fmla="*/ 398 w 809"/>
              <a:gd name="T33" fmla="*/ 944 h 945"/>
              <a:gd name="T34" fmla="*/ 410 w 809"/>
              <a:gd name="T35" fmla="*/ 944 h 945"/>
              <a:gd name="T36" fmla="*/ 809 w 809"/>
              <a:gd name="T37" fmla="*/ 508 h 945"/>
              <a:gd name="T38" fmla="*/ 809 w 809"/>
              <a:gd name="T39" fmla="*/ 168 h 945"/>
              <a:gd name="T40" fmla="*/ 792 w 809"/>
              <a:gd name="T41" fmla="*/ 150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9" h="945">
                <a:moveTo>
                  <a:pt x="708" y="509"/>
                </a:moveTo>
                <a:cubicBezTo>
                  <a:pt x="708" y="713"/>
                  <a:pt x="483" y="811"/>
                  <a:pt x="405" y="838"/>
                </a:cubicBezTo>
                <a:cubicBezTo>
                  <a:pt x="405" y="838"/>
                  <a:pt x="404" y="838"/>
                  <a:pt x="404" y="838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101" y="473"/>
                  <a:pt x="101" y="473"/>
                  <a:pt x="101" y="473"/>
                </a:cubicBezTo>
                <a:cubicBezTo>
                  <a:pt x="101" y="245"/>
                  <a:pt x="101" y="245"/>
                  <a:pt x="101" y="245"/>
                </a:cubicBezTo>
                <a:cubicBezTo>
                  <a:pt x="185" y="231"/>
                  <a:pt x="288" y="197"/>
                  <a:pt x="404" y="123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708" y="473"/>
                  <a:pt x="708" y="473"/>
                  <a:pt x="708" y="473"/>
                </a:cubicBezTo>
                <a:lnTo>
                  <a:pt x="708" y="509"/>
                </a:lnTo>
                <a:close/>
                <a:moveTo>
                  <a:pt x="792" y="150"/>
                </a:moveTo>
                <a:cubicBezTo>
                  <a:pt x="691" y="146"/>
                  <a:pt x="562" y="109"/>
                  <a:pt x="415" y="4"/>
                </a:cubicBezTo>
                <a:cubicBezTo>
                  <a:pt x="409" y="0"/>
                  <a:pt x="400" y="0"/>
                  <a:pt x="394" y="4"/>
                </a:cubicBezTo>
                <a:cubicBezTo>
                  <a:pt x="247" y="109"/>
                  <a:pt x="118" y="146"/>
                  <a:pt x="17" y="150"/>
                </a:cubicBezTo>
                <a:cubicBezTo>
                  <a:pt x="7" y="150"/>
                  <a:pt x="0" y="158"/>
                  <a:pt x="0" y="168"/>
                </a:cubicBezTo>
                <a:cubicBezTo>
                  <a:pt x="0" y="209"/>
                  <a:pt x="0" y="325"/>
                  <a:pt x="0" y="508"/>
                </a:cubicBezTo>
                <a:cubicBezTo>
                  <a:pt x="0" y="792"/>
                  <a:pt x="348" y="926"/>
                  <a:pt x="398" y="944"/>
                </a:cubicBezTo>
                <a:cubicBezTo>
                  <a:pt x="402" y="945"/>
                  <a:pt x="406" y="945"/>
                  <a:pt x="410" y="944"/>
                </a:cubicBezTo>
                <a:cubicBezTo>
                  <a:pt x="460" y="926"/>
                  <a:pt x="809" y="792"/>
                  <a:pt x="809" y="508"/>
                </a:cubicBezTo>
                <a:cubicBezTo>
                  <a:pt x="809" y="325"/>
                  <a:pt x="809" y="209"/>
                  <a:pt x="809" y="168"/>
                </a:cubicBezTo>
                <a:cubicBezTo>
                  <a:pt x="809" y="158"/>
                  <a:pt x="801" y="150"/>
                  <a:pt x="792" y="15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50" name="Freeform 13">
            <a:extLst>
              <a:ext uri="{FF2B5EF4-FFF2-40B4-BE49-F238E27FC236}">
                <a16:creationId xmlns:a16="http://schemas.microsoft.com/office/drawing/2014/main" id="{736F3B43-65FA-4BA6-9ED3-6B58EB6DE32B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87920" y="5097137"/>
            <a:ext cx="218911" cy="197141"/>
          </a:xfrm>
          <a:custGeom>
            <a:avLst/>
            <a:gdLst>
              <a:gd name="T0" fmla="*/ 757 w 1043"/>
              <a:gd name="T1" fmla="*/ 313 h 939"/>
              <a:gd name="T2" fmla="*/ 313 w 1043"/>
              <a:gd name="T3" fmla="*/ 321 h 939"/>
              <a:gd name="T4" fmla="*/ 321 w 1043"/>
              <a:gd name="T5" fmla="*/ 348 h 939"/>
              <a:gd name="T6" fmla="*/ 765 w 1043"/>
              <a:gd name="T7" fmla="*/ 340 h 939"/>
              <a:gd name="T8" fmla="*/ 765 w 1043"/>
              <a:gd name="T9" fmla="*/ 251 h 939"/>
              <a:gd name="T10" fmla="*/ 321 w 1043"/>
              <a:gd name="T11" fmla="*/ 243 h 939"/>
              <a:gd name="T12" fmla="*/ 313 w 1043"/>
              <a:gd name="T13" fmla="*/ 270 h 939"/>
              <a:gd name="T14" fmla="*/ 757 w 1043"/>
              <a:gd name="T15" fmla="*/ 278 h 939"/>
              <a:gd name="T16" fmla="*/ 765 w 1043"/>
              <a:gd name="T17" fmla="*/ 251 h 939"/>
              <a:gd name="T18" fmla="*/ 757 w 1043"/>
              <a:gd name="T19" fmla="*/ 382 h 939"/>
              <a:gd name="T20" fmla="*/ 313 w 1043"/>
              <a:gd name="T21" fmla="*/ 390 h 939"/>
              <a:gd name="T22" fmla="*/ 321 w 1043"/>
              <a:gd name="T23" fmla="*/ 417 h 939"/>
              <a:gd name="T24" fmla="*/ 765 w 1043"/>
              <a:gd name="T25" fmla="*/ 409 h 939"/>
              <a:gd name="T26" fmla="*/ 765 w 1043"/>
              <a:gd name="T27" fmla="*/ 182 h 939"/>
              <a:gd name="T28" fmla="*/ 321 w 1043"/>
              <a:gd name="T29" fmla="*/ 174 h 939"/>
              <a:gd name="T30" fmla="*/ 313 w 1043"/>
              <a:gd name="T31" fmla="*/ 201 h 939"/>
              <a:gd name="T32" fmla="*/ 757 w 1043"/>
              <a:gd name="T33" fmla="*/ 209 h 939"/>
              <a:gd name="T34" fmla="*/ 765 w 1043"/>
              <a:gd name="T35" fmla="*/ 182 h 939"/>
              <a:gd name="T36" fmla="*/ 1027 w 1043"/>
              <a:gd name="T37" fmla="*/ 730 h 939"/>
              <a:gd name="T38" fmla="*/ 491 w 1043"/>
              <a:gd name="T39" fmla="*/ 735 h 939"/>
              <a:gd name="T40" fmla="*/ 487 w 1043"/>
              <a:gd name="T41" fmla="*/ 747 h 939"/>
              <a:gd name="T42" fmla="*/ 358 w 1043"/>
              <a:gd name="T43" fmla="*/ 869 h 939"/>
              <a:gd name="T44" fmla="*/ 243 w 1043"/>
              <a:gd name="T45" fmla="*/ 757 h 939"/>
              <a:gd name="T46" fmla="*/ 243 w 1043"/>
              <a:gd name="T47" fmla="*/ 139 h 939"/>
              <a:gd name="T48" fmla="*/ 742 w 1043"/>
              <a:gd name="T49" fmla="*/ 69 h 939"/>
              <a:gd name="T50" fmla="*/ 834 w 1043"/>
              <a:gd name="T51" fmla="*/ 695 h 939"/>
              <a:gd name="T52" fmla="*/ 904 w 1043"/>
              <a:gd name="T53" fmla="*/ 161 h 939"/>
              <a:gd name="T54" fmla="*/ 685 w 1043"/>
              <a:gd name="T55" fmla="*/ 0 h 939"/>
              <a:gd name="T56" fmla="*/ 0 w 1043"/>
              <a:gd name="T57" fmla="*/ 174 h 939"/>
              <a:gd name="T58" fmla="*/ 16 w 1043"/>
              <a:gd name="T59" fmla="*/ 209 h 939"/>
              <a:gd name="T60" fmla="*/ 174 w 1043"/>
              <a:gd name="T61" fmla="*/ 757 h 939"/>
              <a:gd name="T62" fmla="*/ 820 w 1043"/>
              <a:gd name="T63" fmla="*/ 939 h 939"/>
              <a:gd name="T64" fmla="*/ 1043 w 1043"/>
              <a:gd name="T65" fmla="*/ 765 h 939"/>
              <a:gd name="T66" fmla="*/ 765 w 1043"/>
              <a:gd name="T67" fmla="*/ 529 h 939"/>
              <a:gd name="T68" fmla="*/ 321 w 1043"/>
              <a:gd name="T69" fmla="*/ 522 h 939"/>
              <a:gd name="T70" fmla="*/ 313 w 1043"/>
              <a:gd name="T71" fmla="*/ 548 h 939"/>
              <a:gd name="T72" fmla="*/ 757 w 1043"/>
              <a:gd name="T73" fmla="*/ 556 h 939"/>
              <a:gd name="T74" fmla="*/ 765 w 1043"/>
              <a:gd name="T75" fmla="*/ 529 h 939"/>
              <a:gd name="T76" fmla="*/ 757 w 1043"/>
              <a:gd name="T77" fmla="*/ 452 h 939"/>
              <a:gd name="T78" fmla="*/ 313 w 1043"/>
              <a:gd name="T79" fmla="*/ 460 h 939"/>
              <a:gd name="T80" fmla="*/ 321 w 1043"/>
              <a:gd name="T81" fmla="*/ 487 h 939"/>
              <a:gd name="T82" fmla="*/ 765 w 1043"/>
              <a:gd name="T83" fmla="*/ 479 h 939"/>
              <a:gd name="T84" fmla="*/ 765 w 1043"/>
              <a:gd name="T85" fmla="*/ 599 h 939"/>
              <a:gd name="T86" fmla="*/ 757 w 1043"/>
              <a:gd name="T87" fmla="*/ 626 h 939"/>
              <a:gd name="T88" fmla="*/ 313 w 1043"/>
              <a:gd name="T89" fmla="*/ 618 h 939"/>
              <a:gd name="T90" fmla="*/ 321 w 1043"/>
              <a:gd name="T91" fmla="*/ 591 h 939"/>
              <a:gd name="T92" fmla="*/ 765 w 1043"/>
              <a:gd name="T93" fmla="*/ 59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43" h="939">
                <a:moveTo>
                  <a:pt x="765" y="321"/>
                </a:moveTo>
                <a:cubicBezTo>
                  <a:pt x="765" y="316"/>
                  <a:pt x="761" y="313"/>
                  <a:pt x="757" y="313"/>
                </a:cubicBezTo>
                <a:cubicBezTo>
                  <a:pt x="321" y="313"/>
                  <a:pt x="321" y="313"/>
                  <a:pt x="321" y="313"/>
                </a:cubicBezTo>
                <a:cubicBezTo>
                  <a:pt x="316" y="313"/>
                  <a:pt x="313" y="316"/>
                  <a:pt x="313" y="321"/>
                </a:cubicBezTo>
                <a:cubicBezTo>
                  <a:pt x="313" y="340"/>
                  <a:pt x="313" y="340"/>
                  <a:pt x="313" y="340"/>
                </a:cubicBezTo>
                <a:cubicBezTo>
                  <a:pt x="313" y="344"/>
                  <a:pt x="316" y="348"/>
                  <a:pt x="321" y="348"/>
                </a:cubicBezTo>
                <a:cubicBezTo>
                  <a:pt x="757" y="348"/>
                  <a:pt x="757" y="348"/>
                  <a:pt x="757" y="348"/>
                </a:cubicBezTo>
                <a:cubicBezTo>
                  <a:pt x="761" y="348"/>
                  <a:pt x="765" y="344"/>
                  <a:pt x="765" y="340"/>
                </a:cubicBezTo>
                <a:lnTo>
                  <a:pt x="765" y="321"/>
                </a:lnTo>
                <a:close/>
                <a:moveTo>
                  <a:pt x="765" y="251"/>
                </a:moveTo>
                <a:cubicBezTo>
                  <a:pt x="765" y="247"/>
                  <a:pt x="761" y="243"/>
                  <a:pt x="757" y="243"/>
                </a:cubicBezTo>
                <a:cubicBezTo>
                  <a:pt x="321" y="243"/>
                  <a:pt x="321" y="243"/>
                  <a:pt x="321" y="243"/>
                </a:cubicBezTo>
                <a:cubicBezTo>
                  <a:pt x="316" y="243"/>
                  <a:pt x="313" y="247"/>
                  <a:pt x="313" y="251"/>
                </a:cubicBezTo>
                <a:cubicBezTo>
                  <a:pt x="313" y="270"/>
                  <a:pt x="313" y="270"/>
                  <a:pt x="313" y="270"/>
                </a:cubicBezTo>
                <a:cubicBezTo>
                  <a:pt x="313" y="275"/>
                  <a:pt x="316" y="278"/>
                  <a:pt x="321" y="278"/>
                </a:cubicBezTo>
                <a:cubicBezTo>
                  <a:pt x="757" y="278"/>
                  <a:pt x="757" y="278"/>
                  <a:pt x="757" y="278"/>
                </a:cubicBezTo>
                <a:cubicBezTo>
                  <a:pt x="761" y="278"/>
                  <a:pt x="765" y="275"/>
                  <a:pt x="765" y="270"/>
                </a:cubicBezTo>
                <a:lnTo>
                  <a:pt x="765" y="251"/>
                </a:lnTo>
                <a:close/>
                <a:moveTo>
                  <a:pt x="765" y="390"/>
                </a:moveTo>
                <a:cubicBezTo>
                  <a:pt x="765" y="386"/>
                  <a:pt x="761" y="382"/>
                  <a:pt x="757" y="382"/>
                </a:cubicBezTo>
                <a:cubicBezTo>
                  <a:pt x="321" y="382"/>
                  <a:pt x="321" y="382"/>
                  <a:pt x="321" y="382"/>
                </a:cubicBezTo>
                <a:cubicBezTo>
                  <a:pt x="316" y="382"/>
                  <a:pt x="313" y="386"/>
                  <a:pt x="313" y="390"/>
                </a:cubicBezTo>
                <a:cubicBezTo>
                  <a:pt x="313" y="409"/>
                  <a:pt x="313" y="409"/>
                  <a:pt x="313" y="409"/>
                </a:cubicBezTo>
                <a:cubicBezTo>
                  <a:pt x="313" y="414"/>
                  <a:pt x="316" y="417"/>
                  <a:pt x="321" y="417"/>
                </a:cubicBezTo>
                <a:cubicBezTo>
                  <a:pt x="757" y="417"/>
                  <a:pt x="757" y="417"/>
                  <a:pt x="757" y="417"/>
                </a:cubicBezTo>
                <a:cubicBezTo>
                  <a:pt x="761" y="417"/>
                  <a:pt x="765" y="414"/>
                  <a:pt x="765" y="409"/>
                </a:cubicBezTo>
                <a:lnTo>
                  <a:pt x="765" y="390"/>
                </a:lnTo>
                <a:close/>
                <a:moveTo>
                  <a:pt x="765" y="182"/>
                </a:moveTo>
                <a:cubicBezTo>
                  <a:pt x="765" y="177"/>
                  <a:pt x="761" y="174"/>
                  <a:pt x="757" y="174"/>
                </a:cubicBezTo>
                <a:cubicBezTo>
                  <a:pt x="321" y="174"/>
                  <a:pt x="321" y="174"/>
                  <a:pt x="321" y="174"/>
                </a:cubicBezTo>
                <a:cubicBezTo>
                  <a:pt x="316" y="174"/>
                  <a:pt x="313" y="177"/>
                  <a:pt x="313" y="182"/>
                </a:cubicBezTo>
                <a:cubicBezTo>
                  <a:pt x="313" y="201"/>
                  <a:pt x="313" y="201"/>
                  <a:pt x="313" y="201"/>
                </a:cubicBezTo>
                <a:cubicBezTo>
                  <a:pt x="313" y="205"/>
                  <a:pt x="316" y="209"/>
                  <a:pt x="321" y="209"/>
                </a:cubicBezTo>
                <a:cubicBezTo>
                  <a:pt x="757" y="209"/>
                  <a:pt x="757" y="209"/>
                  <a:pt x="757" y="209"/>
                </a:cubicBezTo>
                <a:cubicBezTo>
                  <a:pt x="761" y="209"/>
                  <a:pt x="765" y="205"/>
                  <a:pt x="765" y="201"/>
                </a:cubicBezTo>
                <a:lnTo>
                  <a:pt x="765" y="182"/>
                </a:lnTo>
                <a:close/>
                <a:moveTo>
                  <a:pt x="1041" y="743"/>
                </a:moveTo>
                <a:cubicBezTo>
                  <a:pt x="1041" y="736"/>
                  <a:pt x="1034" y="730"/>
                  <a:pt x="1027" y="730"/>
                </a:cubicBezTo>
                <a:cubicBezTo>
                  <a:pt x="501" y="730"/>
                  <a:pt x="501" y="730"/>
                  <a:pt x="501" y="730"/>
                </a:cubicBezTo>
                <a:cubicBezTo>
                  <a:pt x="497" y="730"/>
                  <a:pt x="494" y="732"/>
                  <a:pt x="491" y="735"/>
                </a:cubicBezTo>
                <a:cubicBezTo>
                  <a:pt x="488" y="737"/>
                  <a:pt x="486" y="741"/>
                  <a:pt x="487" y="745"/>
                </a:cubicBezTo>
                <a:cubicBezTo>
                  <a:pt x="487" y="746"/>
                  <a:pt x="487" y="747"/>
                  <a:pt x="487" y="747"/>
                </a:cubicBezTo>
                <a:cubicBezTo>
                  <a:pt x="487" y="815"/>
                  <a:pt x="432" y="869"/>
                  <a:pt x="365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295" y="869"/>
                  <a:pt x="243" y="819"/>
                  <a:pt x="243" y="757"/>
                </a:cubicBezTo>
                <a:cubicBezTo>
                  <a:pt x="243" y="757"/>
                  <a:pt x="243" y="243"/>
                  <a:pt x="243" y="174"/>
                </a:cubicBezTo>
                <a:cubicBezTo>
                  <a:pt x="243" y="139"/>
                  <a:pt x="243" y="139"/>
                  <a:pt x="243" y="139"/>
                </a:cubicBezTo>
                <a:cubicBezTo>
                  <a:pt x="243" y="100"/>
                  <a:pt x="212" y="69"/>
                  <a:pt x="174" y="69"/>
                </a:cubicBezTo>
                <a:cubicBezTo>
                  <a:pt x="742" y="69"/>
                  <a:pt x="742" y="69"/>
                  <a:pt x="742" y="69"/>
                </a:cubicBezTo>
                <a:cubicBezTo>
                  <a:pt x="793" y="69"/>
                  <a:pt x="834" y="111"/>
                  <a:pt x="834" y="161"/>
                </a:cubicBezTo>
                <a:cubicBezTo>
                  <a:pt x="834" y="695"/>
                  <a:pt x="834" y="695"/>
                  <a:pt x="834" y="695"/>
                </a:cubicBezTo>
                <a:cubicBezTo>
                  <a:pt x="904" y="695"/>
                  <a:pt x="904" y="695"/>
                  <a:pt x="904" y="695"/>
                </a:cubicBezTo>
                <a:cubicBezTo>
                  <a:pt x="904" y="573"/>
                  <a:pt x="904" y="326"/>
                  <a:pt x="904" y="161"/>
                </a:cubicBezTo>
                <a:cubicBezTo>
                  <a:pt x="904" y="72"/>
                  <a:pt x="832" y="0"/>
                  <a:pt x="742" y="0"/>
                </a:cubicBezTo>
                <a:cubicBezTo>
                  <a:pt x="685" y="0"/>
                  <a:pt x="685" y="0"/>
                  <a:pt x="685" y="0"/>
                </a:cubicBezTo>
                <a:cubicBezTo>
                  <a:pt x="174" y="0"/>
                  <a:pt x="174" y="0"/>
                  <a:pt x="174" y="0"/>
                </a:cubicBezTo>
                <a:cubicBezTo>
                  <a:pt x="78" y="0"/>
                  <a:pt x="0" y="78"/>
                  <a:pt x="0" y="174"/>
                </a:cubicBezTo>
                <a:cubicBezTo>
                  <a:pt x="0" y="181"/>
                  <a:pt x="0" y="188"/>
                  <a:pt x="1" y="196"/>
                </a:cubicBezTo>
                <a:cubicBezTo>
                  <a:pt x="2" y="203"/>
                  <a:pt x="8" y="209"/>
                  <a:pt x="16" y="209"/>
                </a:cubicBezTo>
                <a:cubicBezTo>
                  <a:pt x="174" y="209"/>
                  <a:pt x="174" y="209"/>
                  <a:pt x="174" y="209"/>
                </a:cubicBezTo>
                <a:cubicBezTo>
                  <a:pt x="174" y="410"/>
                  <a:pt x="174" y="694"/>
                  <a:pt x="174" y="757"/>
                </a:cubicBezTo>
                <a:cubicBezTo>
                  <a:pt x="174" y="857"/>
                  <a:pt x="256" y="939"/>
                  <a:pt x="358" y="939"/>
                </a:cubicBezTo>
                <a:cubicBezTo>
                  <a:pt x="820" y="939"/>
                  <a:pt x="820" y="939"/>
                  <a:pt x="820" y="939"/>
                </a:cubicBezTo>
                <a:cubicBezTo>
                  <a:pt x="869" y="939"/>
                  <a:pt x="869" y="939"/>
                  <a:pt x="869" y="939"/>
                </a:cubicBezTo>
                <a:cubicBezTo>
                  <a:pt x="965" y="939"/>
                  <a:pt x="1043" y="861"/>
                  <a:pt x="1043" y="765"/>
                </a:cubicBezTo>
                <a:cubicBezTo>
                  <a:pt x="1043" y="757"/>
                  <a:pt x="1042" y="750"/>
                  <a:pt x="1041" y="743"/>
                </a:cubicBezTo>
                <a:close/>
                <a:moveTo>
                  <a:pt x="765" y="529"/>
                </a:moveTo>
                <a:cubicBezTo>
                  <a:pt x="765" y="525"/>
                  <a:pt x="761" y="522"/>
                  <a:pt x="757" y="522"/>
                </a:cubicBezTo>
                <a:cubicBezTo>
                  <a:pt x="321" y="522"/>
                  <a:pt x="321" y="522"/>
                  <a:pt x="321" y="522"/>
                </a:cubicBezTo>
                <a:cubicBezTo>
                  <a:pt x="316" y="522"/>
                  <a:pt x="313" y="525"/>
                  <a:pt x="313" y="529"/>
                </a:cubicBezTo>
                <a:cubicBezTo>
                  <a:pt x="313" y="548"/>
                  <a:pt x="313" y="548"/>
                  <a:pt x="313" y="548"/>
                </a:cubicBezTo>
                <a:cubicBezTo>
                  <a:pt x="313" y="553"/>
                  <a:pt x="316" y="556"/>
                  <a:pt x="321" y="556"/>
                </a:cubicBezTo>
                <a:cubicBezTo>
                  <a:pt x="757" y="556"/>
                  <a:pt x="757" y="556"/>
                  <a:pt x="757" y="556"/>
                </a:cubicBezTo>
                <a:cubicBezTo>
                  <a:pt x="761" y="556"/>
                  <a:pt x="765" y="553"/>
                  <a:pt x="765" y="548"/>
                </a:cubicBezTo>
                <a:lnTo>
                  <a:pt x="765" y="529"/>
                </a:lnTo>
                <a:close/>
                <a:moveTo>
                  <a:pt x="765" y="460"/>
                </a:moveTo>
                <a:cubicBezTo>
                  <a:pt x="765" y="456"/>
                  <a:pt x="761" y="452"/>
                  <a:pt x="757" y="452"/>
                </a:cubicBezTo>
                <a:cubicBezTo>
                  <a:pt x="321" y="452"/>
                  <a:pt x="321" y="452"/>
                  <a:pt x="321" y="452"/>
                </a:cubicBezTo>
                <a:cubicBezTo>
                  <a:pt x="316" y="452"/>
                  <a:pt x="313" y="456"/>
                  <a:pt x="313" y="460"/>
                </a:cubicBezTo>
                <a:cubicBezTo>
                  <a:pt x="313" y="479"/>
                  <a:pt x="313" y="479"/>
                  <a:pt x="313" y="479"/>
                </a:cubicBezTo>
                <a:cubicBezTo>
                  <a:pt x="313" y="483"/>
                  <a:pt x="316" y="487"/>
                  <a:pt x="321" y="487"/>
                </a:cubicBezTo>
                <a:cubicBezTo>
                  <a:pt x="757" y="487"/>
                  <a:pt x="757" y="487"/>
                  <a:pt x="757" y="487"/>
                </a:cubicBezTo>
                <a:cubicBezTo>
                  <a:pt x="761" y="487"/>
                  <a:pt x="765" y="483"/>
                  <a:pt x="765" y="479"/>
                </a:cubicBezTo>
                <a:lnTo>
                  <a:pt x="765" y="460"/>
                </a:lnTo>
                <a:close/>
                <a:moveTo>
                  <a:pt x="765" y="599"/>
                </a:moveTo>
                <a:cubicBezTo>
                  <a:pt x="765" y="618"/>
                  <a:pt x="765" y="618"/>
                  <a:pt x="765" y="618"/>
                </a:cubicBezTo>
                <a:cubicBezTo>
                  <a:pt x="765" y="622"/>
                  <a:pt x="761" y="626"/>
                  <a:pt x="757" y="626"/>
                </a:cubicBezTo>
                <a:cubicBezTo>
                  <a:pt x="321" y="626"/>
                  <a:pt x="321" y="626"/>
                  <a:pt x="321" y="626"/>
                </a:cubicBezTo>
                <a:cubicBezTo>
                  <a:pt x="316" y="626"/>
                  <a:pt x="313" y="622"/>
                  <a:pt x="313" y="618"/>
                </a:cubicBezTo>
                <a:cubicBezTo>
                  <a:pt x="313" y="599"/>
                  <a:pt x="313" y="599"/>
                  <a:pt x="313" y="599"/>
                </a:cubicBezTo>
                <a:cubicBezTo>
                  <a:pt x="313" y="595"/>
                  <a:pt x="316" y="591"/>
                  <a:pt x="321" y="591"/>
                </a:cubicBezTo>
                <a:cubicBezTo>
                  <a:pt x="757" y="591"/>
                  <a:pt x="757" y="591"/>
                  <a:pt x="757" y="591"/>
                </a:cubicBezTo>
                <a:cubicBezTo>
                  <a:pt x="761" y="591"/>
                  <a:pt x="765" y="595"/>
                  <a:pt x="765" y="5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08089D4-3DE0-479C-B70A-0F468A73E86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870644" y="2340801"/>
            <a:ext cx="182832" cy="231961"/>
            <a:chOff x="849313" y="-539751"/>
            <a:chExt cx="8375650" cy="10623551"/>
          </a:xfrm>
          <a:solidFill>
            <a:schemeClr val="bg1"/>
          </a:solidFill>
        </p:grpSpPr>
        <p:sp>
          <p:nvSpPr>
            <p:cNvPr id="52" name="Freeform 41">
              <a:extLst>
                <a:ext uri="{FF2B5EF4-FFF2-40B4-BE49-F238E27FC236}">
                  <a16:creationId xmlns:a16="http://schemas.microsoft.com/office/drawing/2014/main" id="{2C327F40-275D-4762-A3BE-79A9E724291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3" y="2670175"/>
              <a:ext cx="8375650" cy="7413625"/>
            </a:xfrm>
            <a:custGeom>
              <a:avLst/>
              <a:gdLst>
                <a:gd name="T0" fmla="*/ 116 w 741"/>
                <a:gd name="T1" fmla="*/ 656 h 656"/>
                <a:gd name="T2" fmla="*/ 165 w 741"/>
                <a:gd name="T3" fmla="*/ 561 h 656"/>
                <a:gd name="T4" fmla="*/ 92 w 741"/>
                <a:gd name="T5" fmla="*/ 506 h 656"/>
                <a:gd name="T6" fmla="*/ 0 w 741"/>
                <a:gd name="T7" fmla="*/ 284 h 656"/>
                <a:gd name="T8" fmla="*/ 181 w 741"/>
                <a:gd name="T9" fmla="*/ 0 h 656"/>
                <a:gd name="T10" fmla="*/ 210 w 741"/>
                <a:gd name="T11" fmla="*/ 118 h 656"/>
                <a:gd name="T12" fmla="*/ 118 w 741"/>
                <a:gd name="T13" fmla="*/ 275 h 656"/>
                <a:gd name="T14" fmla="*/ 347 w 741"/>
                <a:gd name="T15" fmla="*/ 437 h 656"/>
                <a:gd name="T16" fmla="*/ 663 w 741"/>
                <a:gd name="T17" fmla="*/ 353 h 656"/>
                <a:gd name="T18" fmla="*/ 699 w 741"/>
                <a:gd name="T19" fmla="*/ 374 h 656"/>
                <a:gd name="T20" fmla="*/ 678 w 741"/>
                <a:gd name="T21" fmla="*/ 410 h 656"/>
                <a:gd name="T22" fmla="*/ 373 w 741"/>
                <a:gd name="T23" fmla="*/ 491 h 656"/>
                <a:gd name="T24" fmla="*/ 386 w 741"/>
                <a:gd name="T25" fmla="*/ 539 h 656"/>
                <a:gd name="T26" fmla="*/ 623 w 741"/>
                <a:gd name="T27" fmla="*/ 539 h 656"/>
                <a:gd name="T28" fmla="*/ 741 w 741"/>
                <a:gd name="T29" fmla="*/ 656 h 656"/>
                <a:gd name="T30" fmla="*/ 116 w 741"/>
                <a:gd name="T31" fmla="*/ 656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1" h="656">
                  <a:moveTo>
                    <a:pt x="116" y="656"/>
                  </a:moveTo>
                  <a:cubicBezTo>
                    <a:pt x="116" y="617"/>
                    <a:pt x="136" y="582"/>
                    <a:pt x="165" y="561"/>
                  </a:cubicBezTo>
                  <a:cubicBezTo>
                    <a:pt x="138" y="546"/>
                    <a:pt x="113" y="528"/>
                    <a:pt x="92" y="506"/>
                  </a:cubicBezTo>
                  <a:cubicBezTo>
                    <a:pt x="35" y="449"/>
                    <a:pt x="0" y="371"/>
                    <a:pt x="0" y="284"/>
                  </a:cubicBezTo>
                  <a:cubicBezTo>
                    <a:pt x="0" y="162"/>
                    <a:pt x="71" y="52"/>
                    <a:pt x="181" y="0"/>
                  </a:cubicBezTo>
                  <a:cubicBezTo>
                    <a:pt x="171" y="41"/>
                    <a:pt x="182" y="86"/>
                    <a:pt x="210" y="118"/>
                  </a:cubicBezTo>
                  <a:cubicBezTo>
                    <a:pt x="156" y="151"/>
                    <a:pt x="120" y="210"/>
                    <a:pt x="118" y="275"/>
                  </a:cubicBezTo>
                  <a:cubicBezTo>
                    <a:pt x="114" y="385"/>
                    <a:pt x="226" y="466"/>
                    <a:pt x="347" y="437"/>
                  </a:cubicBezTo>
                  <a:cubicBezTo>
                    <a:pt x="663" y="353"/>
                    <a:pt x="663" y="353"/>
                    <a:pt x="663" y="353"/>
                  </a:cubicBezTo>
                  <a:cubicBezTo>
                    <a:pt x="678" y="349"/>
                    <a:pt x="694" y="358"/>
                    <a:pt x="699" y="374"/>
                  </a:cubicBezTo>
                  <a:cubicBezTo>
                    <a:pt x="703" y="389"/>
                    <a:pt x="693" y="406"/>
                    <a:pt x="678" y="410"/>
                  </a:cubicBezTo>
                  <a:cubicBezTo>
                    <a:pt x="373" y="491"/>
                    <a:pt x="373" y="491"/>
                    <a:pt x="373" y="491"/>
                  </a:cubicBezTo>
                  <a:cubicBezTo>
                    <a:pt x="386" y="539"/>
                    <a:pt x="386" y="539"/>
                    <a:pt x="386" y="539"/>
                  </a:cubicBezTo>
                  <a:cubicBezTo>
                    <a:pt x="623" y="539"/>
                    <a:pt x="623" y="539"/>
                    <a:pt x="623" y="539"/>
                  </a:cubicBezTo>
                  <a:cubicBezTo>
                    <a:pt x="688" y="539"/>
                    <a:pt x="741" y="591"/>
                    <a:pt x="741" y="656"/>
                  </a:cubicBezTo>
                  <a:lnTo>
                    <a:pt x="116" y="6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3" name="Freeform 42">
              <a:extLst>
                <a:ext uri="{FF2B5EF4-FFF2-40B4-BE49-F238E27FC236}">
                  <a16:creationId xmlns:a16="http://schemas.microsoft.com/office/drawing/2014/main" id="{F05552FF-384C-4462-B9A4-274DB7B7A97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1" y="5043487"/>
              <a:ext cx="2587625" cy="1231900"/>
            </a:xfrm>
            <a:custGeom>
              <a:avLst/>
              <a:gdLst>
                <a:gd name="T0" fmla="*/ 40 w 229"/>
                <a:gd name="T1" fmla="*/ 104 h 109"/>
                <a:gd name="T2" fmla="*/ 4 w 229"/>
                <a:gd name="T3" fmla="*/ 84 h 109"/>
                <a:gd name="T4" fmla="*/ 25 w 229"/>
                <a:gd name="T5" fmla="*/ 48 h 109"/>
                <a:gd name="T6" fmla="*/ 188 w 229"/>
                <a:gd name="T7" fmla="*/ 4 h 109"/>
                <a:gd name="T8" fmla="*/ 224 w 229"/>
                <a:gd name="T9" fmla="*/ 25 h 109"/>
                <a:gd name="T10" fmla="*/ 204 w 229"/>
                <a:gd name="T11" fmla="*/ 61 h 109"/>
                <a:gd name="T12" fmla="*/ 40 w 229"/>
                <a:gd name="T13" fmla="*/ 10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109">
                  <a:moveTo>
                    <a:pt x="40" y="104"/>
                  </a:moveTo>
                  <a:cubicBezTo>
                    <a:pt x="25" y="109"/>
                    <a:pt x="9" y="99"/>
                    <a:pt x="4" y="84"/>
                  </a:cubicBezTo>
                  <a:cubicBezTo>
                    <a:pt x="0" y="68"/>
                    <a:pt x="10" y="52"/>
                    <a:pt x="25" y="48"/>
                  </a:cubicBezTo>
                  <a:cubicBezTo>
                    <a:pt x="188" y="4"/>
                    <a:pt x="188" y="4"/>
                    <a:pt x="188" y="4"/>
                  </a:cubicBezTo>
                  <a:cubicBezTo>
                    <a:pt x="204" y="0"/>
                    <a:pt x="220" y="9"/>
                    <a:pt x="224" y="25"/>
                  </a:cubicBezTo>
                  <a:cubicBezTo>
                    <a:pt x="229" y="40"/>
                    <a:pt x="219" y="57"/>
                    <a:pt x="204" y="61"/>
                  </a:cubicBezTo>
                  <a:lnTo>
                    <a:pt x="4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4" name="Freeform 43">
              <a:extLst>
                <a:ext uri="{FF2B5EF4-FFF2-40B4-BE49-F238E27FC236}">
                  <a16:creationId xmlns:a16="http://schemas.microsoft.com/office/drawing/2014/main" id="{2EC774D9-B666-4231-9A70-E3FD86FD05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4851" y="-539751"/>
              <a:ext cx="4092575" cy="5910263"/>
            </a:xfrm>
            <a:custGeom>
              <a:avLst/>
              <a:gdLst>
                <a:gd name="T0" fmla="*/ 105 w 362"/>
                <a:gd name="T1" fmla="*/ 348 h 523"/>
                <a:gd name="T2" fmla="*/ 69 w 362"/>
                <a:gd name="T3" fmla="*/ 327 h 523"/>
                <a:gd name="T4" fmla="*/ 90 w 362"/>
                <a:gd name="T5" fmla="*/ 291 h 523"/>
                <a:gd name="T6" fmla="*/ 126 w 362"/>
                <a:gd name="T7" fmla="*/ 312 h 523"/>
                <a:gd name="T8" fmla="*/ 105 w 362"/>
                <a:gd name="T9" fmla="*/ 348 h 523"/>
                <a:gd name="T10" fmla="*/ 358 w 362"/>
                <a:gd name="T11" fmla="*/ 441 h 523"/>
                <a:gd name="T12" fmla="*/ 271 w 362"/>
                <a:gd name="T13" fmla="*/ 115 h 523"/>
                <a:gd name="T14" fmla="*/ 233 w 362"/>
                <a:gd name="T15" fmla="*/ 93 h 523"/>
                <a:gd name="T16" fmla="*/ 206 w 362"/>
                <a:gd name="T17" fmla="*/ 101 h 523"/>
                <a:gd name="T18" fmla="*/ 182 w 362"/>
                <a:gd name="T19" fmla="*/ 12 h 523"/>
                <a:gd name="T20" fmla="*/ 164 w 362"/>
                <a:gd name="T21" fmla="*/ 2 h 523"/>
                <a:gd name="T22" fmla="*/ 93 w 362"/>
                <a:gd name="T23" fmla="*/ 21 h 523"/>
                <a:gd name="T24" fmla="*/ 83 w 362"/>
                <a:gd name="T25" fmla="*/ 39 h 523"/>
                <a:gd name="T26" fmla="*/ 107 w 362"/>
                <a:gd name="T27" fmla="*/ 127 h 523"/>
                <a:gd name="T28" fmla="*/ 80 w 362"/>
                <a:gd name="T29" fmla="*/ 135 h 523"/>
                <a:gd name="T30" fmla="*/ 58 w 362"/>
                <a:gd name="T31" fmla="*/ 172 h 523"/>
                <a:gd name="T32" fmla="*/ 75 w 362"/>
                <a:gd name="T33" fmla="*/ 235 h 523"/>
                <a:gd name="T34" fmla="*/ 12 w 362"/>
                <a:gd name="T35" fmla="*/ 342 h 523"/>
                <a:gd name="T36" fmla="*/ 120 w 362"/>
                <a:gd name="T37" fmla="*/ 405 h 523"/>
                <a:gd name="T38" fmla="*/ 120 w 362"/>
                <a:gd name="T39" fmla="*/ 405 h 523"/>
                <a:gd name="T40" fmla="*/ 145 w 362"/>
                <a:gd name="T41" fmla="*/ 498 h 523"/>
                <a:gd name="T42" fmla="*/ 181 w 362"/>
                <a:gd name="T43" fmla="*/ 518 h 523"/>
                <a:gd name="T44" fmla="*/ 337 w 362"/>
                <a:gd name="T45" fmla="*/ 477 h 523"/>
                <a:gd name="T46" fmla="*/ 358 w 362"/>
                <a:gd name="T47" fmla="*/ 441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2" h="523">
                  <a:moveTo>
                    <a:pt x="105" y="348"/>
                  </a:moveTo>
                  <a:cubicBezTo>
                    <a:pt x="89" y="352"/>
                    <a:pt x="73" y="343"/>
                    <a:pt x="69" y="327"/>
                  </a:cubicBezTo>
                  <a:cubicBezTo>
                    <a:pt x="65" y="311"/>
                    <a:pt x="74" y="295"/>
                    <a:pt x="90" y="291"/>
                  </a:cubicBezTo>
                  <a:cubicBezTo>
                    <a:pt x="106" y="287"/>
                    <a:pt x="122" y="296"/>
                    <a:pt x="126" y="312"/>
                  </a:cubicBezTo>
                  <a:cubicBezTo>
                    <a:pt x="130" y="328"/>
                    <a:pt x="121" y="344"/>
                    <a:pt x="105" y="348"/>
                  </a:cubicBezTo>
                  <a:close/>
                  <a:moveTo>
                    <a:pt x="358" y="441"/>
                  </a:moveTo>
                  <a:cubicBezTo>
                    <a:pt x="271" y="115"/>
                    <a:pt x="271" y="115"/>
                    <a:pt x="271" y="115"/>
                  </a:cubicBezTo>
                  <a:cubicBezTo>
                    <a:pt x="266" y="99"/>
                    <a:pt x="250" y="89"/>
                    <a:pt x="233" y="93"/>
                  </a:cubicBezTo>
                  <a:cubicBezTo>
                    <a:pt x="206" y="101"/>
                    <a:pt x="206" y="101"/>
                    <a:pt x="206" y="101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0" y="4"/>
                    <a:pt x="172" y="0"/>
                    <a:pt x="164" y="2"/>
                  </a:cubicBezTo>
                  <a:cubicBezTo>
                    <a:pt x="93" y="21"/>
                    <a:pt x="93" y="21"/>
                    <a:pt x="93" y="21"/>
                  </a:cubicBezTo>
                  <a:cubicBezTo>
                    <a:pt x="86" y="23"/>
                    <a:pt x="81" y="31"/>
                    <a:pt x="83" y="39"/>
                  </a:cubicBezTo>
                  <a:cubicBezTo>
                    <a:pt x="107" y="127"/>
                    <a:pt x="107" y="127"/>
                    <a:pt x="107" y="127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63" y="139"/>
                    <a:pt x="54" y="156"/>
                    <a:pt x="58" y="172"/>
                  </a:cubicBezTo>
                  <a:cubicBezTo>
                    <a:pt x="75" y="235"/>
                    <a:pt x="75" y="235"/>
                    <a:pt x="75" y="235"/>
                  </a:cubicBezTo>
                  <a:cubicBezTo>
                    <a:pt x="28" y="247"/>
                    <a:pt x="0" y="295"/>
                    <a:pt x="12" y="342"/>
                  </a:cubicBezTo>
                  <a:cubicBezTo>
                    <a:pt x="25" y="389"/>
                    <a:pt x="73" y="417"/>
                    <a:pt x="120" y="405"/>
                  </a:cubicBezTo>
                  <a:cubicBezTo>
                    <a:pt x="120" y="405"/>
                    <a:pt x="120" y="405"/>
                    <a:pt x="120" y="405"/>
                  </a:cubicBezTo>
                  <a:cubicBezTo>
                    <a:pt x="145" y="498"/>
                    <a:pt x="145" y="498"/>
                    <a:pt x="145" y="498"/>
                  </a:cubicBezTo>
                  <a:cubicBezTo>
                    <a:pt x="150" y="513"/>
                    <a:pt x="166" y="523"/>
                    <a:pt x="181" y="518"/>
                  </a:cubicBezTo>
                  <a:cubicBezTo>
                    <a:pt x="337" y="477"/>
                    <a:pt x="337" y="477"/>
                    <a:pt x="337" y="477"/>
                  </a:cubicBezTo>
                  <a:cubicBezTo>
                    <a:pt x="353" y="472"/>
                    <a:pt x="362" y="456"/>
                    <a:pt x="358" y="4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55" name="Freeform 47">
            <a:extLst>
              <a:ext uri="{FF2B5EF4-FFF2-40B4-BE49-F238E27FC236}">
                <a16:creationId xmlns:a16="http://schemas.microsoft.com/office/drawing/2014/main" id="{3A82EE88-EFCB-412C-B193-8FB2351C9D0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74781" y="3268800"/>
            <a:ext cx="201116" cy="201139"/>
          </a:xfrm>
          <a:custGeom>
            <a:avLst/>
            <a:gdLst>
              <a:gd name="T0" fmla="*/ 951 w 981"/>
              <a:gd name="T1" fmla="*/ 842 h 981"/>
              <a:gd name="T2" fmla="*/ 711 w 981"/>
              <a:gd name="T3" fmla="*/ 603 h 981"/>
              <a:gd name="T4" fmla="*/ 603 w 981"/>
              <a:gd name="T5" fmla="*/ 107 h 981"/>
              <a:gd name="T6" fmla="*/ 107 w 981"/>
              <a:gd name="T7" fmla="*/ 216 h 981"/>
              <a:gd name="T8" fmla="*/ 216 w 981"/>
              <a:gd name="T9" fmla="*/ 712 h 981"/>
              <a:gd name="T10" fmla="*/ 603 w 981"/>
              <a:gd name="T11" fmla="*/ 712 h 981"/>
              <a:gd name="T12" fmla="*/ 842 w 981"/>
              <a:gd name="T13" fmla="*/ 951 h 981"/>
              <a:gd name="T14" fmla="*/ 951 w 981"/>
              <a:gd name="T15" fmla="*/ 951 h 981"/>
              <a:gd name="T16" fmla="*/ 951 w 981"/>
              <a:gd name="T17" fmla="*/ 843 h 981"/>
              <a:gd name="T18" fmla="*/ 951 w 981"/>
              <a:gd name="T19" fmla="*/ 842 h 981"/>
              <a:gd name="T20" fmla="*/ 153 w 981"/>
              <a:gd name="T21" fmla="*/ 410 h 981"/>
              <a:gd name="T22" fmla="*/ 410 w 981"/>
              <a:gd name="T23" fmla="*/ 153 h 981"/>
              <a:gd name="T24" fmla="*/ 666 w 981"/>
              <a:gd name="T25" fmla="*/ 410 h 981"/>
              <a:gd name="T26" fmla="*/ 410 w 981"/>
              <a:gd name="T27" fmla="*/ 666 h 981"/>
              <a:gd name="T28" fmla="*/ 153 w 981"/>
              <a:gd name="T29" fmla="*/ 410 h 9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81" h="981">
                <a:moveTo>
                  <a:pt x="951" y="842"/>
                </a:moveTo>
                <a:cubicBezTo>
                  <a:pt x="711" y="603"/>
                  <a:pt x="711" y="603"/>
                  <a:pt x="711" y="603"/>
                </a:cubicBezTo>
                <a:cubicBezTo>
                  <a:pt x="818" y="436"/>
                  <a:pt x="770" y="214"/>
                  <a:pt x="603" y="107"/>
                </a:cubicBezTo>
                <a:cubicBezTo>
                  <a:pt x="436" y="0"/>
                  <a:pt x="214" y="49"/>
                  <a:pt x="107" y="216"/>
                </a:cubicBezTo>
                <a:cubicBezTo>
                  <a:pt x="0" y="383"/>
                  <a:pt x="49" y="605"/>
                  <a:pt x="216" y="712"/>
                </a:cubicBezTo>
                <a:cubicBezTo>
                  <a:pt x="334" y="787"/>
                  <a:pt x="485" y="787"/>
                  <a:pt x="603" y="712"/>
                </a:cubicBezTo>
                <a:cubicBezTo>
                  <a:pt x="842" y="951"/>
                  <a:pt x="842" y="951"/>
                  <a:pt x="842" y="951"/>
                </a:cubicBezTo>
                <a:cubicBezTo>
                  <a:pt x="872" y="981"/>
                  <a:pt x="921" y="981"/>
                  <a:pt x="951" y="951"/>
                </a:cubicBezTo>
                <a:cubicBezTo>
                  <a:pt x="981" y="921"/>
                  <a:pt x="981" y="873"/>
                  <a:pt x="951" y="843"/>
                </a:cubicBezTo>
                <a:cubicBezTo>
                  <a:pt x="951" y="843"/>
                  <a:pt x="951" y="842"/>
                  <a:pt x="951" y="842"/>
                </a:cubicBezTo>
                <a:close/>
                <a:moveTo>
                  <a:pt x="153" y="410"/>
                </a:moveTo>
                <a:cubicBezTo>
                  <a:pt x="153" y="268"/>
                  <a:pt x="268" y="153"/>
                  <a:pt x="410" y="153"/>
                </a:cubicBezTo>
                <a:cubicBezTo>
                  <a:pt x="551" y="153"/>
                  <a:pt x="666" y="268"/>
                  <a:pt x="666" y="410"/>
                </a:cubicBezTo>
                <a:cubicBezTo>
                  <a:pt x="666" y="551"/>
                  <a:pt x="551" y="666"/>
                  <a:pt x="410" y="666"/>
                </a:cubicBezTo>
                <a:cubicBezTo>
                  <a:pt x="268" y="666"/>
                  <a:pt x="153" y="551"/>
                  <a:pt x="153" y="41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CF9EA8B1-0111-43D7-AEF0-D85EF3A4469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84359" y="2786642"/>
            <a:ext cx="219317" cy="283896"/>
            <a:chOff x="10758416" y="1419641"/>
            <a:chExt cx="3297184" cy="4266944"/>
          </a:xfrm>
          <a:solidFill>
            <a:schemeClr val="bg1">
              <a:alpha val="80000"/>
            </a:schemeClr>
          </a:solidFill>
        </p:grpSpPr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D15D6B4-DBF1-45CF-9775-14A09C2E6D8F}"/>
                </a:ext>
              </a:extLst>
            </p:cNvPr>
            <p:cNvSpPr/>
            <p:nvPr/>
          </p:nvSpPr>
          <p:spPr>
            <a:xfrm>
              <a:off x="10758416" y="1419641"/>
              <a:ext cx="3297184" cy="4266944"/>
            </a:xfrm>
            <a:custGeom>
              <a:avLst/>
              <a:gdLst>
                <a:gd name="connsiteX0" fmla="*/ 2763817 w 3297184"/>
                <a:gd name="connsiteY0" fmla="*/ 1939520 h 4266944"/>
                <a:gd name="connsiteX1" fmla="*/ 2424401 w 3297184"/>
                <a:gd name="connsiteY1" fmla="*/ 1600104 h 4266944"/>
                <a:gd name="connsiteX2" fmla="*/ 2763817 w 3297184"/>
                <a:gd name="connsiteY2" fmla="*/ 1260688 h 4266944"/>
                <a:gd name="connsiteX3" fmla="*/ 3103233 w 3297184"/>
                <a:gd name="connsiteY3" fmla="*/ 1600104 h 4266944"/>
                <a:gd name="connsiteX4" fmla="*/ 2763817 w 3297184"/>
                <a:gd name="connsiteY4" fmla="*/ 1939520 h 4266944"/>
                <a:gd name="connsiteX5" fmla="*/ 3297185 w 3297184"/>
                <a:gd name="connsiteY5" fmla="*/ 1600104 h 4266944"/>
                <a:gd name="connsiteX6" fmla="*/ 2763817 w 3297184"/>
                <a:gd name="connsiteY6" fmla="*/ 1066736 h 4266944"/>
                <a:gd name="connsiteX7" fmla="*/ 2230449 w 3297184"/>
                <a:gd name="connsiteY7" fmla="*/ 1600104 h 4266944"/>
                <a:gd name="connsiteX8" fmla="*/ 2618353 w 3297184"/>
                <a:gd name="connsiteY8" fmla="*/ 2114077 h 4266944"/>
                <a:gd name="connsiteX9" fmla="*/ 2618353 w 3297184"/>
                <a:gd name="connsiteY9" fmla="*/ 3248697 h 4266944"/>
                <a:gd name="connsiteX10" fmla="*/ 1891032 w 3297184"/>
                <a:gd name="connsiteY10" fmla="*/ 3976017 h 4266944"/>
                <a:gd name="connsiteX11" fmla="*/ 1163712 w 3297184"/>
                <a:gd name="connsiteY11" fmla="*/ 3248697 h 4266944"/>
                <a:gd name="connsiteX12" fmla="*/ 1163712 w 3297184"/>
                <a:gd name="connsiteY12" fmla="*/ 2754119 h 4266944"/>
                <a:gd name="connsiteX13" fmla="*/ 2036496 w 3297184"/>
                <a:gd name="connsiteY13" fmla="*/ 1745568 h 4266944"/>
                <a:gd name="connsiteX14" fmla="*/ 1939520 w 3297184"/>
                <a:gd name="connsiteY14" fmla="*/ 1580709 h 4266944"/>
                <a:gd name="connsiteX15" fmla="*/ 1939520 w 3297184"/>
                <a:gd name="connsiteY15" fmla="*/ 387904 h 4266944"/>
                <a:gd name="connsiteX16" fmla="*/ 1687383 w 3297184"/>
                <a:gd name="connsiteY16" fmla="*/ 101825 h 4266944"/>
                <a:gd name="connsiteX17" fmla="*/ 1551616 w 3297184"/>
                <a:gd name="connsiteY17" fmla="*/ 0 h 4266944"/>
                <a:gd name="connsiteX18" fmla="*/ 1503128 w 3297184"/>
                <a:gd name="connsiteY18" fmla="*/ 0 h 4266944"/>
                <a:gd name="connsiteX19" fmla="*/ 1309176 w 3297184"/>
                <a:gd name="connsiteY19" fmla="*/ 193952 h 4266944"/>
                <a:gd name="connsiteX20" fmla="*/ 1503128 w 3297184"/>
                <a:gd name="connsiteY20" fmla="*/ 387904 h 4266944"/>
                <a:gd name="connsiteX21" fmla="*/ 1551616 w 3297184"/>
                <a:gd name="connsiteY21" fmla="*/ 387904 h 4266944"/>
                <a:gd name="connsiteX22" fmla="*/ 1687383 w 3297184"/>
                <a:gd name="connsiteY22" fmla="*/ 300626 h 4266944"/>
                <a:gd name="connsiteX23" fmla="*/ 1745568 w 3297184"/>
                <a:gd name="connsiteY23" fmla="*/ 387904 h 4266944"/>
                <a:gd name="connsiteX24" fmla="*/ 1745568 w 3297184"/>
                <a:gd name="connsiteY24" fmla="*/ 1580709 h 4266944"/>
                <a:gd name="connsiteX25" fmla="*/ 1648592 w 3297184"/>
                <a:gd name="connsiteY25" fmla="*/ 1745568 h 4266944"/>
                <a:gd name="connsiteX26" fmla="*/ 1018248 w 3297184"/>
                <a:gd name="connsiteY26" fmla="*/ 2375913 h 4266944"/>
                <a:gd name="connsiteX27" fmla="*/ 387904 w 3297184"/>
                <a:gd name="connsiteY27" fmla="*/ 1745568 h 4266944"/>
                <a:gd name="connsiteX28" fmla="*/ 290928 w 3297184"/>
                <a:gd name="connsiteY28" fmla="*/ 1580709 h 4266944"/>
                <a:gd name="connsiteX29" fmla="*/ 290928 w 3297184"/>
                <a:gd name="connsiteY29" fmla="*/ 387904 h 4266944"/>
                <a:gd name="connsiteX30" fmla="*/ 349114 w 3297184"/>
                <a:gd name="connsiteY30" fmla="*/ 300626 h 4266944"/>
                <a:gd name="connsiteX31" fmla="*/ 484880 w 3297184"/>
                <a:gd name="connsiteY31" fmla="*/ 387904 h 4266944"/>
                <a:gd name="connsiteX32" fmla="*/ 533368 w 3297184"/>
                <a:gd name="connsiteY32" fmla="*/ 387904 h 4266944"/>
                <a:gd name="connsiteX33" fmla="*/ 727320 w 3297184"/>
                <a:gd name="connsiteY33" fmla="*/ 193952 h 4266944"/>
                <a:gd name="connsiteX34" fmla="*/ 533368 w 3297184"/>
                <a:gd name="connsiteY34" fmla="*/ 0 h 4266944"/>
                <a:gd name="connsiteX35" fmla="*/ 484880 w 3297184"/>
                <a:gd name="connsiteY35" fmla="*/ 0 h 4266944"/>
                <a:gd name="connsiteX36" fmla="*/ 349114 w 3297184"/>
                <a:gd name="connsiteY36" fmla="*/ 101825 h 4266944"/>
                <a:gd name="connsiteX37" fmla="*/ 96976 w 3297184"/>
                <a:gd name="connsiteY37" fmla="*/ 387904 h 4266944"/>
                <a:gd name="connsiteX38" fmla="*/ 96976 w 3297184"/>
                <a:gd name="connsiteY38" fmla="*/ 1580709 h 4266944"/>
                <a:gd name="connsiteX39" fmla="*/ 0 w 3297184"/>
                <a:gd name="connsiteY39" fmla="*/ 1745568 h 4266944"/>
                <a:gd name="connsiteX40" fmla="*/ 872784 w 3297184"/>
                <a:gd name="connsiteY40" fmla="*/ 2754119 h 4266944"/>
                <a:gd name="connsiteX41" fmla="*/ 872784 w 3297184"/>
                <a:gd name="connsiteY41" fmla="*/ 3248697 h 4266944"/>
                <a:gd name="connsiteX42" fmla="*/ 1891032 w 3297184"/>
                <a:gd name="connsiteY42" fmla="*/ 4266945 h 4266944"/>
                <a:gd name="connsiteX43" fmla="*/ 2909281 w 3297184"/>
                <a:gd name="connsiteY43" fmla="*/ 3248697 h 4266944"/>
                <a:gd name="connsiteX44" fmla="*/ 2909281 w 3297184"/>
                <a:gd name="connsiteY44" fmla="*/ 2114077 h 4266944"/>
                <a:gd name="connsiteX45" fmla="*/ 3297185 w 3297184"/>
                <a:gd name="connsiteY45" fmla="*/ 1600104 h 4266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3297184" h="4266944">
                  <a:moveTo>
                    <a:pt x="2763817" y="1939520"/>
                  </a:moveTo>
                  <a:cubicBezTo>
                    <a:pt x="2574713" y="1939520"/>
                    <a:pt x="2424401" y="1789208"/>
                    <a:pt x="2424401" y="1600104"/>
                  </a:cubicBezTo>
                  <a:cubicBezTo>
                    <a:pt x="2424401" y="1411001"/>
                    <a:pt x="2574713" y="1260688"/>
                    <a:pt x="2763817" y="1260688"/>
                  </a:cubicBezTo>
                  <a:cubicBezTo>
                    <a:pt x="2952920" y="1260688"/>
                    <a:pt x="3103233" y="1411001"/>
                    <a:pt x="3103233" y="1600104"/>
                  </a:cubicBezTo>
                  <a:cubicBezTo>
                    <a:pt x="3103233" y="1789208"/>
                    <a:pt x="2952920" y="1939520"/>
                    <a:pt x="2763817" y="1939520"/>
                  </a:cubicBezTo>
                  <a:close/>
                  <a:moveTo>
                    <a:pt x="3297185" y="1600104"/>
                  </a:moveTo>
                  <a:cubicBezTo>
                    <a:pt x="3297185" y="1304328"/>
                    <a:pt x="3059594" y="1066736"/>
                    <a:pt x="2763817" y="1066736"/>
                  </a:cubicBezTo>
                  <a:cubicBezTo>
                    <a:pt x="2468040" y="1066736"/>
                    <a:pt x="2230449" y="1304328"/>
                    <a:pt x="2230449" y="1600104"/>
                  </a:cubicBezTo>
                  <a:cubicBezTo>
                    <a:pt x="2230449" y="1842544"/>
                    <a:pt x="2395308" y="2051043"/>
                    <a:pt x="2618353" y="2114077"/>
                  </a:cubicBezTo>
                  <a:lnTo>
                    <a:pt x="2618353" y="3248697"/>
                  </a:lnTo>
                  <a:cubicBezTo>
                    <a:pt x="2618353" y="3651147"/>
                    <a:pt x="2293483" y="3976017"/>
                    <a:pt x="1891032" y="3976017"/>
                  </a:cubicBezTo>
                  <a:cubicBezTo>
                    <a:pt x="1488582" y="3976017"/>
                    <a:pt x="1163712" y="3651147"/>
                    <a:pt x="1163712" y="3248697"/>
                  </a:cubicBezTo>
                  <a:lnTo>
                    <a:pt x="1163712" y="2754119"/>
                  </a:lnTo>
                  <a:cubicBezTo>
                    <a:pt x="1658290" y="2681387"/>
                    <a:pt x="2036496" y="2259541"/>
                    <a:pt x="2036496" y="1745568"/>
                  </a:cubicBezTo>
                  <a:cubicBezTo>
                    <a:pt x="2036496" y="1672836"/>
                    <a:pt x="1997706" y="1609802"/>
                    <a:pt x="1939520" y="1580709"/>
                  </a:cubicBezTo>
                  <a:lnTo>
                    <a:pt x="1939520" y="387904"/>
                  </a:lnTo>
                  <a:cubicBezTo>
                    <a:pt x="1939520" y="242440"/>
                    <a:pt x="1827998" y="121220"/>
                    <a:pt x="1687383" y="101825"/>
                  </a:cubicBezTo>
                  <a:cubicBezTo>
                    <a:pt x="1667988" y="43639"/>
                    <a:pt x="1614651" y="0"/>
                    <a:pt x="1551616" y="0"/>
                  </a:cubicBezTo>
                  <a:lnTo>
                    <a:pt x="1503128" y="0"/>
                  </a:lnTo>
                  <a:cubicBezTo>
                    <a:pt x="1396455" y="0"/>
                    <a:pt x="1309176" y="87278"/>
                    <a:pt x="1309176" y="193952"/>
                  </a:cubicBezTo>
                  <a:cubicBezTo>
                    <a:pt x="1309176" y="300626"/>
                    <a:pt x="1396455" y="387904"/>
                    <a:pt x="1503128" y="387904"/>
                  </a:cubicBezTo>
                  <a:lnTo>
                    <a:pt x="1551616" y="387904"/>
                  </a:lnTo>
                  <a:cubicBezTo>
                    <a:pt x="1609802" y="387904"/>
                    <a:pt x="1663139" y="349114"/>
                    <a:pt x="1687383" y="300626"/>
                  </a:cubicBezTo>
                  <a:cubicBezTo>
                    <a:pt x="1721324" y="315172"/>
                    <a:pt x="1745568" y="349114"/>
                    <a:pt x="1745568" y="387904"/>
                  </a:cubicBezTo>
                  <a:lnTo>
                    <a:pt x="1745568" y="1580709"/>
                  </a:lnTo>
                  <a:cubicBezTo>
                    <a:pt x="1687383" y="1614651"/>
                    <a:pt x="1648592" y="1677685"/>
                    <a:pt x="1648592" y="1745568"/>
                  </a:cubicBezTo>
                  <a:cubicBezTo>
                    <a:pt x="1648592" y="2094682"/>
                    <a:pt x="1367362" y="2375913"/>
                    <a:pt x="1018248" y="2375913"/>
                  </a:cubicBezTo>
                  <a:cubicBezTo>
                    <a:pt x="669135" y="2375913"/>
                    <a:pt x="387904" y="2094682"/>
                    <a:pt x="387904" y="1745568"/>
                  </a:cubicBezTo>
                  <a:cubicBezTo>
                    <a:pt x="387904" y="1672836"/>
                    <a:pt x="349114" y="1609802"/>
                    <a:pt x="290928" y="1580709"/>
                  </a:cubicBezTo>
                  <a:lnTo>
                    <a:pt x="290928" y="387904"/>
                  </a:lnTo>
                  <a:cubicBezTo>
                    <a:pt x="290928" y="349114"/>
                    <a:pt x="315172" y="315172"/>
                    <a:pt x="349114" y="300626"/>
                  </a:cubicBezTo>
                  <a:cubicBezTo>
                    <a:pt x="373358" y="353963"/>
                    <a:pt x="421846" y="387904"/>
                    <a:pt x="484880" y="387904"/>
                  </a:cubicBezTo>
                  <a:lnTo>
                    <a:pt x="533368" y="387904"/>
                  </a:lnTo>
                  <a:cubicBezTo>
                    <a:pt x="640042" y="387904"/>
                    <a:pt x="727320" y="300626"/>
                    <a:pt x="727320" y="193952"/>
                  </a:cubicBezTo>
                  <a:cubicBezTo>
                    <a:pt x="727320" y="87278"/>
                    <a:pt x="640042" y="0"/>
                    <a:pt x="533368" y="0"/>
                  </a:cubicBezTo>
                  <a:lnTo>
                    <a:pt x="484880" y="0"/>
                  </a:lnTo>
                  <a:cubicBezTo>
                    <a:pt x="421846" y="0"/>
                    <a:pt x="368509" y="43639"/>
                    <a:pt x="349114" y="101825"/>
                  </a:cubicBezTo>
                  <a:cubicBezTo>
                    <a:pt x="208498" y="121220"/>
                    <a:pt x="96976" y="242440"/>
                    <a:pt x="96976" y="387904"/>
                  </a:cubicBezTo>
                  <a:lnTo>
                    <a:pt x="96976" y="1580709"/>
                  </a:lnTo>
                  <a:cubicBezTo>
                    <a:pt x="38790" y="1614651"/>
                    <a:pt x="0" y="1677685"/>
                    <a:pt x="0" y="1745568"/>
                  </a:cubicBezTo>
                  <a:cubicBezTo>
                    <a:pt x="0" y="2259541"/>
                    <a:pt x="378206" y="2681387"/>
                    <a:pt x="872784" y="2754119"/>
                  </a:cubicBezTo>
                  <a:lnTo>
                    <a:pt x="872784" y="3248697"/>
                  </a:lnTo>
                  <a:cubicBezTo>
                    <a:pt x="872784" y="3811158"/>
                    <a:pt x="1328572" y="4266945"/>
                    <a:pt x="1891032" y="4266945"/>
                  </a:cubicBezTo>
                  <a:cubicBezTo>
                    <a:pt x="2453493" y="4266945"/>
                    <a:pt x="2909281" y="3811158"/>
                    <a:pt x="2909281" y="3248697"/>
                  </a:cubicBezTo>
                  <a:lnTo>
                    <a:pt x="2909281" y="2114077"/>
                  </a:lnTo>
                  <a:cubicBezTo>
                    <a:pt x="3132326" y="2051043"/>
                    <a:pt x="3297185" y="1842544"/>
                    <a:pt x="3297185" y="1600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1BA93C91-7CD2-46D5-95E9-66E59FF5259F}"/>
                </a:ext>
              </a:extLst>
            </p:cNvPr>
            <p:cNvSpPr/>
            <p:nvPr/>
          </p:nvSpPr>
          <p:spPr>
            <a:xfrm>
              <a:off x="13279792" y="2777305"/>
              <a:ext cx="484880" cy="484880"/>
            </a:xfrm>
            <a:custGeom>
              <a:avLst/>
              <a:gdLst>
                <a:gd name="connsiteX0" fmla="*/ 484880 w 484880"/>
                <a:gd name="connsiteY0" fmla="*/ 242440 h 484880"/>
                <a:gd name="connsiteX1" fmla="*/ 242440 w 484880"/>
                <a:gd name="connsiteY1" fmla="*/ 484880 h 484880"/>
                <a:gd name="connsiteX2" fmla="*/ 0 w 484880"/>
                <a:gd name="connsiteY2" fmla="*/ 242440 h 484880"/>
                <a:gd name="connsiteX3" fmla="*/ 242440 w 484880"/>
                <a:gd name="connsiteY3" fmla="*/ 0 h 484880"/>
                <a:gd name="connsiteX4" fmla="*/ 484880 w 484880"/>
                <a:gd name="connsiteY4" fmla="*/ 242440 h 484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880" h="484880">
                  <a:moveTo>
                    <a:pt x="484880" y="242440"/>
                  </a:moveTo>
                  <a:cubicBezTo>
                    <a:pt x="484880" y="376336"/>
                    <a:pt x="376336" y="484880"/>
                    <a:pt x="242440" y="484880"/>
                  </a:cubicBezTo>
                  <a:cubicBezTo>
                    <a:pt x="108544" y="484880"/>
                    <a:pt x="0" y="376336"/>
                    <a:pt x="0" y="242440"/>
                  </a:cubicBezTo>
                  <a:cubicBezTo>
                    <a:pt x="0" y="108544"/>
                    <a:pt x="108544" y="0"/>
                    <a:pt x="242440" y="0"/>
                  </a:cubicBezTo>
                  <a:cubicBezTo>
                    <a:pt x="376336" y="0"/>
                    <a:pt x="484880" y="108544"/>
                    <a:pt x="484880" y="2424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BE495CF7-5030-4016-B702-86E5A25C7B9A}"/>
              </a:ext>
            </a:extLst>
          </p:cNvPr>
          <p:cNvGrpSpPr/>
          <p:nvPr userDrawn="1"/>
        </p:nvGrpSpPr>
        <p:grpSpPr>
          <a:xfrm>
            <a:off x="11169212" y="3702633"/>
            <a:ext cx="229989" cy="225311"/>
            <a:chOff x="2634853" y="3844528"/>
            <a:chExt cx="261938" cy="268319"/>
          </a:xfrm>
          <a:solidFill>
            <a:schemeClr val="bg1">
              <a:alpha val="80000"/>
            </a:schemeClr>
          </a:solidFill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FBC83CC9-C55E-45DB-BDD9-50510C32D76A}"/>
                </a:ext>
              </a:extLst>
            </p:cNvPr>
            <p:cNvSpPr/>
            <p:nvPr/>
          </p:nvSpPr>
          <p:spPr>
            <a:xfrm>
              <a:off x="2634853" y="3965972"/>
              <a:ext cx="34366" cy="108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44F73997-2493-4C21-A1CE-755B0A59F049}"/>
                </a:ext>
              </a:extLst>
            </p:cNvPr>
            <p:cNvSpPr/>
            <p:nvPr/>
          </p:nvSpPr>
          <p:spPr>
            <a:xfrm>
              <a:off x="2691746" y="3894534"/>
              <a:ext cx="34366" cy="18024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1CC828B3-52DB-4072-9E15-7037E725AA47}"/>
                </a:ext>
              </a:extLst>
            </p:cNvPr>
            <p:cNvSpPr/>
            <p:nvPr/>
          </p:nvSpPr>
          <p:spPr>
            <a:xfrm>
              <a:off x="2748639" y="3992166"/>
              <a:ext cx="34366" cy="826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EED33D43-407F-44E3-9962-79648249DDBE}"/>
                </a:ext>
              </a:extLst>
            </p:cNvPr>
            <p:cNvSpPr/>
            <p:nvPr/>
          </p:nvSpPr>
          <p:spPr>
            <a:xfrm>
              <a:off x="2805532" y="3942160"/>
              <a:ext cx="34366" cy="13261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7B653602-56E9-49AB-A977-A2EA4A59B2A6}"/>
                </a:ext>
              </a:extLst>
            </p:cNvPr>
            <p:cNvSpPr/>
            <p:nvPr/>
          </p:nvSpPr>
          <p:spPr>
            <a:xfrm>
              <a:off x="2862425" y="3844528"/>
              <a:ext cx="34366" cy="2302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236FE2A8-A4F9-43A1-AB41-BD9EF0969048}"/>
                </a:ext>
              </a:extLst>
            </p:cNvPr>
            <p:cNvSpPr/>
            <p:nvPr/>
          </p:nvSpPr>
          <p:spPr>
            <a:xfrm>
              <a:off x="2634853" y="4094559"/>
              <a:ext cx="261938" cy="1828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76C529B5-EB70-4A59-83DE-33364233EA8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43494" y="4609169"/>
            <a:ext cx="247314" cy="241130"/>
            <a:chOff x="2578100" y="0"/>
            <a:chExt cx="11628438" cy="11334750"/>
          </a:xfrm>
          <a:solidFill>
            <a:schemeClr val="bg1">
              <a:alpha val="80000"/>
            </a:schemeClr>
          </a:solidFill>
        </p:grpSpPr>
        <p:sp>
          <p:nvSpPr>
            <p:cNvPr id="48" name="Freeform 15">
              <a:extLst>
                <a:ext uri="{FF2B5EF4-FFF2-40B4-BE49-F238E27FC236}">
                  <a16:creationId xmlns:a16="http://schemas.microsoft.com/office/drawing/2014/main" id="{9F287BC4-2CE1-44A9-8779-58DD78AF21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2263" y="0"/>
              <a:ext cx="4994275" cy="5073650"/>
            </a:xfrm>
            <a:custGeom>
              <a:avLst/>
              <a:gdLst>
                <a:gd name="T0" fmla="*/ 211 w 442"/>
                <a:gd name="T1" fmla="*/ 137 h 449"/>
                <a:gd name="T2" fmla="*/ 308 w 442"/>
                <a:gd name="T3" fmla="*/ 215 h 449"/>
                <a:gd name="T4" fmla="*/ 231 w 442"/>
                <a:gd name="T5" fmla="*/ 312 h 449"/>
                <a:gd name="T6" fmla="*/ 133 w 442"/>
                <a:gd name="T7" fmla="*/ 235 h 449"/>
                <a:gd name="T8" fmla="*/ 211 w 442"/>
                <a:gd name="T9" fmla="*/ 137 h 449"/>
                <a:gd name="T10" fmla="*/ 65 w 442"/>
                <a:gd name="T11" fmla="*/ 283 h 449"/>
                <a:gd name="T12" fmla="*/ 16 w 442"/>
                <a:gd name="T13" fmla="*/ 320 h 449"/>
                <a:gd name="T14" fmla="*/ 71 w 442"/>
                <a:gd name="T15" fmla="*/ 394 h 449"/>
                <a:gd name="T16" fmla="*/ 121 w 442"/>
                <a:gd name="T17" fmla="*/ 357 h 449"/>
                <a:gd name="T18" fmla="*/ 194 w 442"/>
                <a:gd name="T19" fmla="*/ 389 h 449"/>
                <a:gd name="T20" fmla="*/ 201 w 442"/>
                <a:gd name="T21" fmla="*/ 449 h 449"/>
                <a:gd name="T22" fmla="*/ 292 w 442"/>
                <a:gd name="T23" fmla="*/ 439 h 449"/>
                <a:gd name="T24" fmla="*/ 285 w 442"/>
                <a:gd name="T25" fmla="*/ 378 h 449"/>
                <a:gd name="T26" fmla="*/ 349 w 442"/>
                <a:gd name="T27" fmla="*/ 330 h 449"/>
                <a:gd name="T28" fmla="*/ 405 w 442"/>
                <a:gd name="T29" fmla="*/ 354 h 449"/>
                <a:gd name="T30" fmla="*/ 442 w 442"/>
                <a:gd name="T31" fmla="*/ 270 h 449"/>
                <a:gd name="T32" fmla="*/ 385 w 442"/>
                <a:gd name="T33" fmla="*/ 246 h 449"/>
                <a:gd name="T34" fmla="*/ 376 w 442"/>
                <a:gd name="T35" fmla="*/ 166 h 449"/>
                <a:gd name="T36" fmla="*/ 425 w 442"/>
                <a:gd name="T37" fmla="*/ 130 h 449"/>
                <a:gd name="T38" fmla="*/ 370 w 442"/>
                <a:gd name="T39" fmla="*/ 56 h 449"/>
                <a:gd name="T40" fmla="*/ 321 w 442"/>
                <a:gd name="T41" fmla="*/ 93 h 449"/>
                <a:gd name="T42" fmla="*/ 248 w 442"/>
                <a:gd name="T43" fmla="*/ 61 h 449"/>
                <a:gd name="T44" fmla="*/ 241 w 442"/>
                <a:gd name="T45" fmla="*/ 0 h 449"/>
                <a:gd name="T46" fmla="*/ 149 w 442"/>
                <a:gd name="T47" fmla="*/ 11 h 449"/>
                <a:gd name="T48" fmla="*/ 156 w 442"/>
                <a:gd name="T49" fmla="*/ 72 h 449"/>
                <a:gd name="T50" fmla="*/ 93 w 442"/>
                <a:gd name="T51" fmla="*/ 119 h 449"/>
                <a:gd name="T52" fmla="*/ 36 w 442"/>
                <a:gd name="T53" fmla="*/ 95 h 449"/>
                <a:gd name="T54" fmla="*/ 0 w 442"/>
                <a:gd name="T55" fmla="*/ 180 h 449"/>
                <a:gd name="T56" fmla="*/ 56 w 442"/>
                <a:gd name="T57" fmla="*/ 204 h 449"/>
                <a:gd name="T58" fmla="*/ 65 w 442"/>
                <a:gd name="T59" fmla="*/ 283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2" h="449">
                  <a:moveTo>
                    <a:pt x="211" y="137"/>
                  </a:moveTo>
                  <a:cubicBezTo>
                    <a:pt x="259" y="132"/>
                    <a:pt x="303" y="166"/>
                    <a:pt x="308" y="215"/>
                  </a:cubicBezTo>
                  <a:cubicBezTo>
                    <a:pt x="314" y="263"/>
                    <a:pt x="279" y="307"/>
                    <a:pt x="231" y="312"/>
                  </a:cubicBezTo>
                  <a:cubicBezTo>
                    <a:pt x="183" y="318"/>
                    <a:pt x="139" y="283"/>
                    <a:pt x="133" y="235"/>
                  </a:cubicBezTo>
                  <a:cubicBezTo>
                    <a:pt x="128" y="187"/>
                    <a:pt x="162" y="143"/>
                    <a:pt x="211" y="137"/>
                  </a:cubicBezTo>
                  <a:close/>
                  <a:moveTo>
                    <a:pt x="65" y="283"/>
                  </a:moveTo>
                  <a:cubicBezTo>
                    <a:pt x="16" y="320"/>
                    <a:pt x="16" y="320"/>
                    <a:pt x="16" y="320"/>
                  </a:cubicBezTo>
                  <a:cubicBezTo>
                    <a:pt x="71" y="394"/>
                    <a:pt x="71" y="394"/>
                    <a:pt x="71" y="394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94" y="389"/>
                    <a:pt x="194" y="389"/>
                    <a:pt x="194" y="389"/>
                  </a:cubicBezTo>
                  <a:cubicBezTo>
                    <a:pt x="201" y="449"/>
                    <a:pt x="201" y="449"/>
                    <a:pt x="201" y="449"/>
                  </a:cubicBezTo>
                  <a:cubicBezTo>
                    <a:pt x="292" y="439"/>
                    <a:pt x="292" y="439"/>
                    <a:pt x="292" y="439"/>
                  </a:cubicBezTo>
                  <a:cubicBezTo>
                    <a:pt x="285" y="378"/>
                    <a:pt x="285" y="378"/>
                    <a:pt x="285" y="378"/>
                  </a:cubicBezTo>
                  <a:cubicBezTo>
                    <a:pt x="349" y="330"/>
                    <a:pt x="349" y="330"/>
                    <a:pt x="349" y="330"/>
                  </a:cubicBezTo>
                  <a:cubicBezTo>
                    <a:pt x="405" y="354"/>
                    <a:pt x="405" y="354"/>
                    <a:pt x="405" y="354"/>
                  </a:cubicBezTo>
                  <a:cubicBezTo>
                    <a:pt x="442" y="270"/>
                    <a:pt x="442" y="270"/>
                    <a:pt x="442" y="270"/>
                  </a:cubicBezTo>
                  <a:cubicBezTo>
                    <a:pt x="385" y="246"/>
                    <a:pt x="385" y="246"/>
                    <a:pt x="385" y="246"/>
                  </a:cubicBezTo>
                  <a:cubicBezTo>
                    <a:pt x="376" y="166"/>
                    <a:pt x="376" y="166"/>
                    <a:pt x="376" y="166"/>
                  </a:cubicBezTo>
                  <a:cubicBezTo>
                    <a:pt x="425" y="130"/>
                    <a:pt x="425" y="130"/>
                    <a:pt x="425" y="130"/>
                  </a:cubicBezTo>
                  <a:cubicBezTo>
                    <a:pt x="370" y="56"/>
                    <a:pt x="370" y="56"/>
                    <a:pt x="370" y="56"/>
                  </a:cubicBezTo>
                  <a:cubicBezTo>
                    <a:pt x="321" y="93"/>
                    <a:pt x="321" y="93"/>
                    <a:pt x="321" y="93"/>
                  </a:cubicBezTo>
                  <a:cubicBezTo>
                    <a:pt x="248" y="61"/>
                    <a:pt x="248" y="61"/>
                    <a:pt x="248" y="61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56" y="72"/>
                    <a:pt x="156" y="72"/>
                    <a:pt x="156" y="72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36" y="95"/>
                    <a:pt x="36" y="95"/>
                    <a:pt x="36" y="95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56" y="204"/>
                    <a:pt x="56" y="204"/>
                    <a:pt x="56" y="204"/>
                  </a:cubicBezTo>
                  <a:lnTo>
                    <a:pt x="65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6" name="Freeform 16">
              <a:extLst>
                <a:ext uri="{FF2B5EF4-FFF2-40B4-BE49-F238E27FC236}">
                  <a16:creationId xmlns:a16="http://schemas.microsoft.com/office/drawing/2014/main" id="{9EA44515-F5D3-49B0-9AB7-F3115CF248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0313" y="6340475"/>
              <a:ext cx="5073650" cy="4994275"/>
            </a:xfrm>
            <a:custGeom>
              <a:avLst/>
              <a:gdLst>
                <a:gd name="T0" fmla="*/ 306 w 449"/>
                <a:gd name="T1" fmla="*/ 256 h 442"/>
                <a:gd name="T2" fmla="*/ 190 w 449"/>
                <a:gd name="T3" fmla="*/ 302 h 442"/>
                <a:gd name="T4" fmla="*/ 144 w 449"/>
                <a:gd name="T5" fmla="*/ 186 h 442"/>
                <a:gd name="T6" fmla="*/ 259 w 449"/>
                <a:gd name="T7" fmla="*/ 140 h 442"/>
                <a:gd name="T8" fmla="*/ 306 w 449"/>
                <a:gd name="T9" fmla="*/ 256 h 442"/>
                <a:gd name="T10" fmla="*/ 449 w 449"/>
                <a:gd name="T11" fmla="*/ 240 h 442"/>
                <a:gd name="T12" fmla="*/ 438 w 449"/>
                <a:gd name="T13" fmla="*/ 149 h 442"/>
                <a:gd name="T14" fmla="*/ 377 w 449"/>
                <a:gd name="T15" fmla="*/ 156 h 442"/>
                <a:gd name="T16" fmla="*/ 330 w 449"/>
                <a:gd name="T17" fmla="*/ 92 h 442"/>
                <a:gd name="T18" fmla="*/ 354 w 449"/>
                <a:gd name="T19" fmla="*/ 36 h 442"/>
                <a:gd name="T20" fmla="*/ 269 w 449"/>
                <a:gd name="T21" fmla="*/ 0 h 442"/>
                <a:gd name="T22" fmla="*/ 245 w 449"/>
                <a:gd name="T23" fmla="*/ 56 h 442"/>
                <a:gd name="T24" fmla="*/ 166 w 449"/>
                <a:gd name="T25" fmla="*/ 66 h 442"/>
                <a:gd name="T26" fmla="*/ 129 w 449"/>
                <a:gd name="T27" fmla="*/ 17 h 442"/>
                <a:gd name="T28" fmla="*/ 55 w 449"/>
                <a:gd name="T29" fmla="*/ 72 h 442"/>
                <a:gd name="T30" fmla="*/ 92 w 449"/>
                <a:gd name="T31" fmla="*/ 121 h 442"/>
                <a:gd name="T32" fmla="*/ 61 w 449"/>
                <a:gd name="T33" fmla="*/ 194 h 442"/>
                <a:gd name="T34" fmla="*/ 0 w 449"/>
                <a:gd name="T35" fmla="*/ 202 h 442"/>
                <a:gd name="T36" fmla="*/ 11 w 449"/>
                <a:gd name="T37" fmla="*/ 293 h 442"/>
                <a:gd name="T38" fmla="*/ 72 w 449"/>
                <a:gd name="T39" fmla="*/ 286 h 442"/>
                <a:gd name="T40" fmla="*/ 120 w 449"/>
                <a:gd name="T41" fmla="*/ 350 h 442"/>
                <a:gd name="T42" fmla="*/ 96 w 449"/>
                <a:gd name="T43" fmla="*/ 406 h 442"/>
                <a:gd name="T44" fmla="*/ 180 w 449"/>
                <a:gd name="T45" fmla="*/ 442 h 442"/>
                <a:gd name="T46" fmla="*/ 205 w 449"/>
                <a:gd name="T47" fmla="*/ 386 h 442"/>
                <a:gd name="T48" fmla="*/ 284 w 449"/>
                <a:gd name="T49" fmla="*/ 376 h 442"/>
                <a:gd name="T50" fmla="*/ 320 w 449"/>
                <a:gd name="T51" fmla="*/ 425 h 442"/>
                <a:gd name="T52" fmla="*/ 394 w 449"/>
                <a:gd name="T53" fmla="*/ 370 h 442"/>
                <a:gd name="T54" fmla="*/ 357 w 449"/>
                <a:gd name="T55" fmla="*/ 321 h 442"/>
                <a:gd name="T56" fmla="*/ 389 w 449"/>
                <a:gd name="T57" fmla="*/ 248 h 442"/>
                <a:gd name="T58" fmla="*/ 449 w 449"/>
                <a:gd name="T59" fmla="*/ 24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9" h="442">
                  <a:moveTo>
                    <a:pt x="306" y="256"/>
                  </a:moveTo>
                  <a:cubicBezTo>
                    <a:pt x="287" y="300"/>
                    <a:pt x="235" y="321"/>
                    <a:pt x="190" y="302"/>
                  </a:cubicBezTo>
                  <a:cubicBezTo>
                    <a:pt x="145" y="283"/>
                    <a:pt x="125" y="231"/>
                    <a:pt x="144" y="186"/>
                  </a:cubicBezTo>
                  <a:cubicBezTo>
                    <a:pt x="163" y="142"/>
                    <a:pt x="215" y="121"/>
                    <a:pt x="259" y="140"/>
                  </a:cubicBezTo>
                  <a:cubicBezTo>
                    <a:pt x="304" y="159"/>
                    <a:pt x="325" y="211"/>
                    <a:pt x="306" y="256"/>
                  </a:cubicBezTo>
                  <a:close/>
                  <a:moveTo>
                    <a:pt x="449" y="240"/>
                  </a:moveTo>
                  <a:cubicBezTo>
                    <a:pt x="438" y="149"/>
                    <a:pt x="438" y="149"/>
                    <a:pt x="438" y="149"/>
                  </a:cubicBezTo>
                  <a:cubicBezTo>
                    <a:pt x="377" y="156"/>
                    <a:pt x="377" y="156"/>
                    <a:pt x="377" y="156"/>
                  </a:cubicBezTo>
                  <a:cubicBezTo>
                    <a:pt x="330" y="92"/>
                    <a:pt x="330" y="92"/>
                    <a:pt x="330" y="92"/>
                  </a:cubicBezTo>
                  <a:cubicBezTo>
                    <a:pt x="354" y="36"/>
                    <a:pt x="354" y="36"/>
                    <a:pt x="354" y="36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245" y="56"/>
                    <a:pt x="245" y="56"/>
                    <a:pt x="245" y="56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92" y="121"/>
                    <a:pt x="92" y="121"/>
                    <a:pt x="92" y="121"/>
                  </a:cubicBezTo>
                  <a:cubicBezTo>
                    <a:pt x="61" y="194"/>
                    <a:pt x="61" y="194"/>
                    <a:pt x="61" y="194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11" y="293"/>
                    <a:pt x="11" y="293"/>
                    <a:pt x="11" y="293"/>
                  </a:cubicBezTo>
                  <a:cubicBezTo>
                    <a:pt x="72" y="286"/>
                    <a:pt x="72" y="286"/>
                    <a:pt x="72" y="286"/>
                  </a:cubicBezTo>
                  <a:cubicBezTo>
                    <a:pt x="120" y="350"/>
                    <a:pt x="120" y="350"/>
                    <a:pt x="120" y="350"/>
                  </a:cubicBezTo>
                  <a:cubicBezTo>
                    <a:pt x="96" y="406"/>
                    <a:pt x="96" y="406"/>
                    <a:pt x="96" y="406"/>
                  </a:cubicBezTo>
                  <a:cubicBezTo>
                    <a:pt x="180" y="442"/>
                    <a:pt x="180" y="442"/>
                    <a:pt x="180" y="442"/>
                  </a:cubicBezTo>
                  <a:cubicBezTo>
                    <a:pt x="205" y="386"/>
                    <a:pt x="205" y="386"/>
                    <a:pt x="205" y="386"/>
                  </a:cubicBezTo>
                  <a:cubicBezTo>
                    <a:pt x="284" y="376"/>
                    <a:pt x="284" y="376"/>
                    <a:pt x="284" y="376"/>
                  </a:cubicBezTo>
                  <a:cubicBezTo>
                    <a:pt x="320" y="425"/>
                    <a:pt x="320" y="425"/>
                    <a:pt x="320" y="425"/>
                  </a:cubicBezTo>
                  <a:cubicBezTo>
                    <a:pt x="394" y="370"/>
                    <a:pt x="394" y="370"/>
                    <a:pt x="394" y="370"/>
                  </a:cubicBezTo>
                  <a:cubicBezTo>
                    <a:pt x="357" y="321"/>
                    <a:pt x="357" y="321"/>
                    <a:pt x="357" y="321"/>
                  </a:cubicBezTo>
                  <a:cubicBezTo>
                    <a:pt x="389" y="248"/>
                    <a:pt x="389" y="248"/>
                    <a:pt x="389" y="248"/>
                  </a:cubicBezTo>
                  <a:lnTo>
                    <a:pt x="449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7" name="Freeform 17">
              <a:extLst>
                <a:ext uri="{FF2B5EF4-FFF2-40B4-BE49-F238E27FC236}">
                  <a16:creationId xmlns:a16="http://schemas.microsoft.com/office/drawing/2014/main" id="{B920F19A-7A02-4A96-AD87-024E923E88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8100" y="1638300"/>
              <a:ext cx="7627938" cy="7616825"/>
            </a:xfrm>
            <a:custGeom>
              <a:avLst/>
              <a:gdLst>
                <a:gd name="T0" fmla="*/ 337 w 675"/>
                <a:gd name="T1" fmla="*/ 485 h 674"/>
                <a:gd name="T2" fmla="*/ 189 w 675"/>
                <a:gd name="T3" fmla="*/ 337 h 674"/>
                <a:gd name="T4" fmla="*/ 337 w 675"/>
                <a:gd name="T5" fmla="*/ 189 h 674"/>
                <a:gd name="T6" fmla="*/ 486 w 675"/>
                <a:gd name="T7" fmla="*/ 337 h 674"/>
                <a:gd name="T8" fmla="*/ 337 w 675"/>
                <a:gd name="T9" fmla="*/ 485 h 674"/>
                <a:gd name="T10" fmla="*/ 571 w 675"/>
                <a:gd name="T11" fmla="*/ 479 h 674"/>
                <a:gd name="T12" fmla="*/ 602 w 675"/>
                <a:gd name="T13" fmla="*/ 401 h 674"/>
                <a:gd name="T14" fmla="*/ 675 w 675"/>
                <a:gd name="T15" fmla="*/ 395 h 674"/>
                <a:gd name="T16" fmla="*/ 675 w 675"/>
                <a:gd name="T17" fmla="*/ 279 h 674"/>
                <a:gd name="T18" fmla="*/ 602 w 675"/>
                <a:gd name="T19" fmla="*/ 272 h 674"/>
                <a:gd name="T20" fmla="*/ 571 w 675"/>
                <a:gd name="T21" fmla="*/ 195 h 674"/>
                <a:gd name="T22" fmla="*/ 617 w 675"/>
                <a:gd name="T23" fmla="*/ 139 h 674"/>
                <a:gd name="T24" fmla="*/ 535 w 675"/>
                <a:gd name="T25" fmla="*/ 57 h 674"/>
                <a:gd name="T26" fmla="*/ 479 w 675"/>
                <a:gd name="T27" fmla="*/ 104 h 674"/>
                <a:gd name="T28" fmla="*/ 402 w 675"/>
                <a:gd name="T29" fmla="*/ 72 h 674"/>
                <a:gd name="T30" fmla="*/ 395 w 675"/>
                <a:gd name="T31" fmla="*/ 0 h 674"/>
                <a:gd name="T32" fmla="*/ 279 w 675"/>
                <a:gd name="T33" fmla="*/ 0 h 674"/>
                <a:gd name="T34" fmla="*/ 273 w 675"/>
                <a:gd name="T35" fmla="*/ 72 h 674"/>
                <a:gd name="T36" fmla="*/ 195 w 675"/>
                <a:gd name="T37" fmla="*/ 103 h 674"/>
                <a:gd name="T38" fmla="*/ 140 w 675"/>
                <a:gd name="T39" fmla="*/ 57 h 674"/>
                <a:gd name="T40" fmla="*/ 58 w 675"/>
                <a:gd name="T41" fmla="*/ 139 h 674"/>
                <a:gd name="T42" fmla="*/ 104 w 675"/>
                <a:gd name="T43" fmla="*/ 195 h 674"/>
                <a:gd name="T44" fmla="*/ 72 w 675"/>
                <a:gd name="T45" fmla="*/ 272 h 674"/>
                <a:gd name="T46" fmla="*/ 0 w 675"/>
                <a:gd name="T47" fmla="*/ 279 h 674"/>
                <a:gd name="T48" fmla="*/ 0 w 675"/>
                <a:gd name="T49" fmla="*/ 395 h 674"/>
                <a:gd name="T50" fmla="*/ 72 w 675"/>
                <a:gd name="T51" fmla="*/ 401 h 674"/>
                <a:gd name="T52" fmla="*/ 104 w 675"/>
                <a:gd name="T53" fmla="*/ 479 h 674"/>
                <a:gd name="T54" fmla="*/ 58 w 675"/>
                <a:gd name="T55" fmla="*/ 534 h 674"/>
                <a:gd name="T56" fmla="*/ 140 w 675"/>
                <a:gd name="T57" fmla="*/ 616 h 674"/>
                <a:gd name="T58" fmla="*/ 195 w 675"/>
                <a:gd name="T59" fmla="*/ 570 h 674"/>
                <a:gd name="T60" fmla="*/ 273 w 675"/>
                <a:gd name="T61" fmla="*/ 602 h 674"/>
                <a:gd name="T62" fmla="*/ 279 w 675"/>
                <a:gd name="T63" fmla="*/ 674 h 674"/>
                <a:gd name="T64" fmla="*/ 395 w 675"/>
                <a:gd name="T65" fmla="*/ 674 h 674"/>
                <a:gd name="T66" fmla="*/ 402 w 675"/>
                <a:gd name="T67" fmla="*/ 602 h 674"/>
                <a:gd name="T68" fmla="*/ 479 w 675"/>
                <a:gd name="T69" fmla="*/ 570 h 674"/>
                <a:gd name="T70" fmla="*/ 535 w 675"/>
                <a:gd name="T71" fmla="*/ 616 h 674"/>
                <a:gd name="T72" fmla="*/ 617 w 675"/>
                <a:gd name="T73" fmla="*/ 534 h 674"/>
                <a:gd name="T74" fmla="*/ 571 w 675"/>
                <a:gd name="T75" fmla="*/ 479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5" h="674">
                  <a:moveTo>
                    <a:pt x="337" y="485"/>
                  </a:moveTo>
                  <a:cubicBezTo>
                    <a:pt x="255" y="485"/>
                    <a:pt x="189" y="419"/>
                    <a:pt x="189" y="337"/>
                  </a:cubicBezTo>
                  <a:cubicBezTo>
                    <a:pt x="189" y="255"/>
                    <a:pt x="255" y="189"/>
                    <a:pt x="337" y="189"/>
                  </a:cubicBezTo>
                  <a:cubicBezTo>
                    <a:pt x="419" y="189"/>
                    <a:pt x="486" y="255"/>
                    <a:pt x="486" y="337"/>
                  </a:cubicBezTo>
                  <a:cubicBezTo>
                    <a:pt x="486" y="419"/>
                    <a:pt x="419" y="485"/>
                    <a:pt x="337" y="485"/>
                  </a:cubicBezTo>
                  <a:close/>
                  <a:moveTo>
                    <a:pt x="571" y="479"/>
                  </a:moveTo>
                  <a:cubicBezTo>
                    <a:pt x="602" y="401"/>
                    <a:pt x="602" y="401"/>
                    <a:pt x="602" y="401"/>
                  </a:cubicBezTo>
                  <a:cubicBezTo>
                    <a:pt x="675" y="395"/>
                    <a:pt x="675" y="395"/>
                    <a:pt x="675" y="395"/>
                  </a:cubicBezTo>
                  <a:cubicBezTo>
                    <a:pt x="675" y="279"/>
                    <a:pt x="675" y="279"/>
                    <a:pt x="675" y="279"/>
                  </a:cubicBezTo>
                  <a:cubicBezTo>
                    <a:pt x="602" y="272"/>
                    <a:pt x="602" y="272"/>
                    <a:pt x="602" y="272"/>
                  </a:cubicBezTo>
                  <a:cubicBezTo>
                    <a:pt x="571" y="195"/>
                    <a:pt x="571" y="195"/>
                    <a:pt x="571" y="195"/>
                  </a:cubicBezTo>
                  <a:cubicBezTo>
                    <a:pt x="617" y="139"/>
                    <a:pt x="617" y="139"/>
                    <a:pt x="617" y="139"/>
                  </a:cubicBezTo>
                  <a:cubicBezTo>
                    <a:pt x="535" y="57"/>
                    <a:pt x="535" y="57"/>
                    <a:pt x="535" y="57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02" y="72"/>
                    <a:pt x="402" y="72"/>
                    <a:pt x="402" y="72"/>
                  </a:cubicBezTo>
                  <a:cubicBezTo>
                    <a:pt x="395" y="0"/>
                    <a:pt x="395" y="0"/>
                    <a:pt x="395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3" y="72"/>
                    <a:pt x="273" y="72"/>
                    <a:pt x="273" y="72"/>
                  </a:cubicBezTo>
                  <a:cubicBezTo>
                    <a:pt x="195" y="103"/>
                    <a:pt x="195" y="103"/>
                    <a:pt x="195" y="103"/>
                  </a:cubicBezTo>
                  <a:cubicBezTo>
                    <a:pt x="140" y="57"/>
                    <a:pt x="140" y="57"/>
                    <a:pt x="140" y="57"/>
                  </a:cubicBezTo>
                  <a:cubicBezTo>
                    <a:pt x="58" y="139"/>
                    <a:pt x="58" y="139"/>
                    <a:pt x="58" y="139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72" y="272"/>
                    <a:pt x="72" y="272"/>
                    <a:pt x="72" y="272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0" y="395"/>
                    <a:pt x="0" y="395"/>
                    <a:pt x="0" y="395"/>
                  </a:cubicBezTo>
                  <a:cubicBezTo>
                    <a:pt x="72" y="401"/>
                    <a:pt x="72" y="401"/>
                    <a:pt x="72" y="401"/>
                  </a:cubicBezTo>
                  <a:cubicBezTo>
                    <a:pt x="104" y="479"/>
                    <a:pt x="104" y="479"/>
                    <a:pt x="104" y="479"/>
                  </a:cubicBezTo>
                  <a:cubicBezTo>
                    <a:pt x="58" y="534"/>
                    <a:pt x="58" y="534"/>
                    <a:pt x="58" y="534"/>
                  </a:cubicBezTo>
                  <a:cubicBezTo>
                    <a:pt x="140" y="616"/>
                    <a:pt x="140" y="616"/>
                    <a:pt x="140" y="616"/>
                  </a:cubicBezTo>
                  <a:cubicBezTo>
                    <a:pt x="195" y="570"/>
                    <a:pt x="195" y="570"/>
                    <a:pt x="195" y="570"/>
                  </a:cubicBezTo>
                  <a:cubicBezTo>
                    <a:pt x="273" y="602"/>
                    <a:pt x="273" y="602"/>
                    <a:pt x="273" y="602"/>
                  </a:cubicBezTo>
                  <a:cubicBezTo>
                    <a:pt x="279" y="674"/>
                    <a:pt x="279" y="674"/>
                    <a:pt x="279" y="674"/>
                  </a:cubicBezTo>
                  <a:cubicBezTo>
                    <a:pt x="395" y="674"/>
                    <a:pt x="395" y="674"/>
                    <a:pt x="395" y="674"/>
                  </a:cubicBezTo>
                  <a:cubicBezTo>
                    <a:pt x="402" y="602"/>
                    <a:pt x="402" y="602"/>
                    <a:pt x="402" y="602"/>
                  </a:cubicBezTo>
                  <a:cubicBezTo>
                    <a:pt x="479" y="570"/>
                    <a:pt x="479" y="570"/>
                    <a:pt x="479" y="570"/>
                  </a:cubicBezTo>
                  <a:cubicBezTo>
                    <a:pt x="535" y="616"/>
                    <a:pt x="535" y="616"/>
                    <a:pt x="535" y="616"/>
                  </a:cubicBezTo>
                  <a:cubicBezTo>
                    <a:pt x="617" y="534"/>
                    <a:pt x="617" y="534"/>
                    <a:pt x="617" y="534"/>
                  </a:cubicBezTo>
                  <a:lnTo>
                    <a:pt x="571" y="4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CAF2253D-B9BF-48F3-BD6A-E1B7CA5A5ADE}"/>
              </a:ext>
            </a:extLst>
          </p:cNvPr>
          <p:cNvGrpSpPr/>
          <p:nvPr userDrawn="1"/>
        </p:nvGrpSpPr>
        <p:grpSpPr>
          <a:xfrm>
            <a:off x="11217797" y="1860685"/>
            <a:ext cx="192111" cy="290045"/>
            <a:chOff x="-3947158" y="1719597"/>
            <a:chExt cx="3385092" cy="5109416"/>
          </a:xfrm>
          <a:solidFill>
            <a:schemeClr val="bg1">
              <a:alpha val="80000"/>
            </a:schemeClr>
          </a:solidFill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AFFDF02C-DF58-4168-BE28-A851760D383A}"/>
                </a:ext>
              </a:extLst>
            </p:cNvPr>
            <p:cNvSpPr/>
            <p:nvPr/>
          </p:nvSpPr>
          <p:spPr>
            <a:xfrm>
              <a:off x="-3624517" y="2322583"/>
              <a:ext cx="3062451" cy="218046"/>
            </a:xfrm>
            <a:prstGeom prst="rect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5CDEB8D5-1067-4BE8-BD2F-655D1F493224}"/>
                </a:ext>
              </a:extLst>
            </p:cNvPr>
            <p:cNvSpPr/>
            <p:nvPr/>
          </p:nvSpPr>
          <p:spPr>
            <a:xfrm>
              <a:off x="-3947158" y="3738067"/>
              <a:ext cx="1988090" cy="3089947"/>
            </a:xfrm>
            <a:custGeom>
              <a:avLst/>
              <a:gdLst>
                <a:gd name="connsiteX0" fmla="*/ 1536585 w 1988090"/>
                <a:gd name="connsiteY0" fmla="*/ 279 h 3089947"/>
                <a:gd name="connsiteX1" fmla="*/ 1493799 w 1988090"/>
                <a:gd name="connsiteY1" fmla="*/ 6084 h 3089947"/>
                <a:gd name="connsiteX2" fmla="*/ 994045 w 1988090"/>
                <a:gd name="connsiteY2" fmla="*/ 201257 h 3089947"/>
                <a:gd name="connsiteX3" fmla="*/ 494330 w 1988090"/>
                <a:gd name="connsiteY3" fmla="*/ 6122 h 3089947"/>
                <a:gd name="connsiteX4" fmla="*/ 451390 w 1988090"/>
                <a:gd name="connsiteY4" fmla="*/ 317 h 3089947"/>
                <a:gd name="connsiteX5" fmla="*/ 362549 w 1988090"/>
                <a:gd name="connsiteY5" fmla="*/ 12004 h 3089947"/>
                <a:gd name="connsiteX6" fmla="*/ 126819 w 1988090"/>
                <a:gd name="connsiteY6" fmla="*/ 305590 h 3089947"/>
                <a:gd name="connsiteX7" fmla="*/ 36 w 1988090"/>
                <a:gd name="connsiteY7" fmla="*/ 1551706 h 3089947"/>
                <a:gd name="connsiteX8" fmla="*/ 56470 w 1988090"/>
                <a:gd name="connsiteY8" fmla="*/ 1695481 h 3089947"/>
                <a:gd name="connsiteX9" fmla="*/ 198053 w 1988090"/>
                <a:gd name="connsiteY9" fmla="*/ 1757220 h 3089947"/>
                <a:gd name="connsiteX10" fmla="*/ 199975 w 1988090"/>
                <a:gd name="connsiteY10" fmla="*/ 1757258 h 3089947"/>
                <a:gd name="connsiteX11" fmla="*/ 201898 w 1988090"/>
                <a:gd name="connsiteY11" fmla="*/ 1757258 h 3089947"/>
                <a:gd name="connsiteX12" fmla="*/ 290969 w 1988090"/>
                <a:gd name="connsiteY12" fmla="*/ 1736154 h 3089947"/>
                <a:gd name="connsiteX13" fmla="*/ 359743 w 1988090"/>
                <a:gd name="connsiteY13" fmla="*/ 1679873 h 3089947"/>
                <a:gd name="connsiteX14" fmla="*/ 359743 w 1988090"/>
                <a:gd name="connsiteY14" fmla="*/ 2240751 h 3089947"/>
                <a:gd name="connsiteX15" fmla="*/ 359743 w 1988090"/>
                <a:gd name="connsiteY15" fmla="*/ 2801628 h 3089947"/>
                <a:gd name="connsiteX16" fmla="*/ 444201 w 1988090"/>
                <a:gd name="connsiteY16" fmla="*/ 3005489 h 3089947"/>
                <a:gd name="connsiteX17" fmla="*/ 648062 w 1988090"/>
                <a:gd name="connsiteY17" fmla="*/ 3089947 h 3089947"/>
                <a:gd name="connsiteX18" fmla="*/ 851923 w 1988090"/>
                <a:gd name="connsiteY18" fmla="*/ 3005489 h 3089947"/>
                <a:gd name="connsiteX19" fmla="*/ 936382 w 1988090"/>
                <a:gd name="connsiteY19" fmla="*/ 2801628 h 3089947"/>
                <a:gd name="connsiteX20" fmla="*/ 936382 w 1988090"/>
                <a:gd name="connsiteY20" fmla="*/ 2340317 h 3089947"/>
                <a:gd name="connsiteX21" fmla="*/ 936382 w 1988090"/>
                <a:gd name="connsiteY21" fmla="*/ 1879006 h 3089947"/>
                <a:gd name="connsiteX22" fmla="*/ 994045 w 1988090"/>
                <a:gd name="connsiteY22" fmla="*/ 1879006 h 3089947"/>
                <a:gd name="connsiteX23" fmla="*/ 1051709 w 1988090"/>
                <a:gd name="connsiteY23" fmla="*/ 1879006 h 3089947"/>
                <a:gd name="connsiteX24" fmla="*/ 1051709 w 1988090"/>
                <a:gd name="connsiteY24" fmla="*/ 2340317 h 3089947"/>
                <a:gd name="connsiteX25" fmla="*/ 1051709 w 1988090"/>
                <a:gd name="connsiteY25" fmla="*/ 2801628 h 3089947"/>
                <a:gd name="connsiteX26" fmla="*/ 1136167 w 1988090"/>
                <a:gd name="connsiteY26" fmla="*/ 3005489 h 3089947"/>
                <a:gd name="connsiteX27" fmla="*/ 1340029 w 1988090"/>
                <a:gd name="connsiteY27" fmla="*/ 3089947 h 3089947"/>
                <a:gd name="connsiteX28" fmla="*/ 1543889 w 1988090"/>
                <a:gd name="connsiteY28" fmla="*/ 3005489 h 3089947"/>
                <a:gd name="connsiteX29" fmla="*/ 1628348 w 1988090"/>
                <a:gd name="connsiteY29" fmla="*/ 2801628 h 3089947"/>
                <a:gd name="connsiteX30" fmla="*/ 1628348 w 1988090"/>
                <a:gd name="connsiteY30" fmla="*/ 2263432 h 3089947"/>
                <a:gd name="connsiteX31" fmla="*/ 1628348 w 1988090"/>
                <a:gd name="connsiteY31" fmla="*/ 1725313 h 3089947"/>
                <a:gd name="connsiteX32" fmla="*/ 1628348 w 1988090"/>
                <a:gd name="connsiteY32" fmla="*/ 1725236 h 3089947"/>
                <a:gd name="connsiteX33" fmla="*/ 1628348 w 1988090"/>
                <a:gd name="connsiteY33" fmla="*/ 1725159 h 3089947"/>
                <a:gd name="connsiteX34" fmla="*/ 1628348 w 1988090"/>
                <a:gd name="connsiteY34" fmla="*/ 1702478 h 3089947"/>
                <a:gd name="connsiteX35" fmla="*/ 1628348 w 1988090"/>
                <a:gd name="connsiteY35" fmla="*/ 1679797 h 3089947"/>
                <a:gd name="connsiteX36" fmla="*/ 1697122 w 1988090"/>
                <a:gd name="connsiteY36" fmla="*/ 1736115 h 3089947"/>
                <a:gd name="connsiteX37" fmla="*/ 1786193 w 1988090"/>
                <a:gd name="connsiteY37" fmla="*/ 1757220 h 3089947"/>
                <a:gd name="connsiteX38" fmla="*/ 1788115 w 1988090"/>
                <a:gd name="connsiteY38" fmla="*/ 1757220 h 3089947"/>
                <a:gd name="connsiteX39" fmla="*/ 1790037 w 1988090"/>
                <a:gd name="connsiteY39" fmla="*/ 1757182 h 3089947"/>
                <a:gd name="connsiteX40" fmla="*/ 1931621 w 1988090"/>
                <a:gd name="connsiteY40" fmla="*/ 1695443 h 3089947"/>
                <a:gd name="connsiteX41" fmla="*/ 1988055 w 1988090"/>
                <a:gd name="connsiteY41" fmla="*/ 1551668 h 3089947"/>
                <a:gd name="connsiteX42" fmla="*/ 1861233 w 1988090"/>
                <a:gd name="connsiteY42" fmla="*/ 305552 h 3089947"/>
                <a:gd name="connsiteX43" fmla="*/ 1625465 w 1988090"/>
                <a:gd name="connsiteY43" fmla="*/ 11966 h 3089947"/>
                <a:gd name="connsiteX44" fmla="*/ 1536585 w 1988090"/>
                <a:gd name="connsiteY44" fmla="*/ 279 h 308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988090" h="3089947">
                  <a:moveTo>
                    <a:pt x="1536585" y="279"/>
                  </a:moveTo>
                  <a:cubicBezTo>
                    <a:pt x="1521939" y="971"/>
                    <a:pt x="1507676" y="3008"/>
                    <a:pt x="1493799" y="6084"/>
                  </a:cubicBezTo>
                  <a:cubicBezTo>
                    <a:pt x="1361787" y="126870"/>
                    <a:pt x="1186643" y="201257"/>
                    <a:pt x="994045" y="201257"/>
                  </a:cubicBezTo>
                  <a:cubicBezTo>
                    <a:pt x="801448" y="201257"/>
                    <a:pt x="626342" y="126870"/>
                    <a:pt x="494330" y="6122"/>
                  </a:cubicBezTo>
                  <a:cubicBezTo>
                    <a:pt x="480414" y="3047"/>
                    <a:pt x="466075" y="1009"/>
                    <a:pt x="451390" y="317"/>
                  </a:cubicBezTo>
                  <a:cubicBezTo>
                    <a:pt x="422827" y="-1028"/>
                    <a:pt x="392996" y="2432"/>
                    <a:pt x="362549" y="12004"/>
                  </a:cubicBezTo>
                  <a:cubicBezTo>
                    <a:pt x="277591" y="38683"/>
                    <a:pt x="193133" y="92772"/>
                    <a:pt x="126819" y="305590"/>
                  </a:cubicBezTo>
                  <a:cubicBezTo>
                    <a:pt x="60506" y="518408"/>
                    <a:pt x="12337" y="889994"/>
                    <a:pt x="36" y="1551706"/>
                  </a:cubicBezTo>
                  <a:cubicBezTo>
                    <a:pt x="-1002" y="1607409"/>
                    <a:pt x="20641" y="1658308"/>
                    <a:pt x="56470" y="1695481"/>
                  </a:cubicBezTo>
                  <a:cubicBezTo>
                    <a:pt x="92298" y="1732655"/>
                    <a:pt x="142312" y="1756221"/>
                    <a:pt x="198053" y="1757220"/>
                  </a:cubicBezTo>
                  <a:cubicBezTo>
                    <a:pt x="198707" y="1757220"/>
                    <a:pt x="199322" y="1757220"/>
                    <a:pt x="199975" y="1757258"/>
                  </a:cubicBezTo>
                  <a:cubicBezTo>
                    <a:pt x="200629" y="1757297"/>
                    <a:pt x="201244" y="1757258"/>
                    <a:pt x="201898" y="1757258"/>
                  </a:cubicBezTo>
                  <a:cubicBezTo>
                    <a:pt x="233920" y="1757258"/>
                    <a:pt x="264136" y="1749647"/>
                    <a:pt x="290969" y="1736154"/>
                  </a:cubicBezTo>
                  <a:cubicBezTo>
                    <a:pt x="317802" y="1722660"/>
                    <a:pt x="341214" y="1703323"/>
                    <a:pt x="359743" y="1679873"/>
                  </a:cubicBezTo>
                  <a:lnTo>
                    <a:pt x="359743" y="2240751"/>
                  </a:lnTo>
                  <a:lnTo>
                    <a:pt x="359743" y="2801628"/>
                  </a:lnTo>
                  <a:cubicBezTo>
                    <a:pt x="359743" y="2881243"/>
                    <a:pt x="391996" y="2953323"/>
                    <a:pt x="444201" y="3005489"/>
                  </a:cubicBezTo>
                  <a:cubicBezTo>
                    <a:pt x="496406" y="3057656"/>
                    <a:pt x="568447" y="3089947"/>
                    <a:pt x="648062" y="3089947"/>
                  </a:cubicBezTo>
                  <a:cubicBezTo>
                    <a:pt x="727677" y="3089947"/>
                    <a:pt x="799757" y="3057694"/>
                    <a:pt x="851923" y="3005489"/>
                  </a:cubicBezTo>
                  <a:cubicBezTo>
                    <a:pt x="904090" y="2953284"/>
                    <a:pt x="936382" y="2881243"/>
                    <a:pt x="936382" y="2801628"/>
                  </a:cubicBezTo>
                  <a:lnTo>
                    <a:pt x="936382" y="2340317"/>
                  </a:lnTo>
                  <a:lnTo>
                    <a:pt x="936382" y="1879006"/>
                  </a:lnTo>
                  <a:lnTo>
                    <a:pt x="994045" y="1879006"/>
                  </a:lnTo>
                  <a:lnTo>
                    <a:pt x="1051709" y="1879006"/>
                  </a:lnTo>
                  <a:lnTo>
                    <a:pt x="1051709" y="2340317"/>
                  </a:lnTo>
                  <a:lnTo>
                    <a:pt x="1051709" y="2801628"/>
                  </a:lnTo>
                  <a:cubicBezTo>
                    <a:pt x="1051709" y="2881243"/>
                    <a:pt x="1083962" y="2953323"/>
                    <a:pt x="1136167" y="3005489"/>
                  </a:cubicBezTo>
                  <a:cubicBezTo>
                    <a:pt x="1188372" y="3057656"/>
                    <a:pt x="1260414" y="3089947"/>
                    <a:pt x="1340029" y="3089947"/>
                  </a:cubicBezTo>
                  <a:cubicBezTo>
                    <a:pt x="1419643" y="3089947"/>
                    <a:pt x="1491723" y="3057694"/>
                    <a:pt x="1543889" y="3005489"/>
                  </a:cubicBezTo>
                  <a:cubicBezTo>
                    <a:pt x="1596056" y="2953284"/>
                    <a:pt x="1628348" y="2881243"/>
                    <a:pt x="1628348" y="2801628"/>
                  </a:cubicBezTo>
                  <a:lnTo>
                    <a:pt x="1628348" y="2263432"/>
                  </a:lnTo>
                  <a:lnTo>
                    <a:pt x="1628348" y="1725313"/>
                  </a:lnTo>
                  <a:cubicBezTo>
                    <a:pt x="1628348" y="1725274"/>
                    <a:pt x="1628348" y="1725274"/>
                    <a:pt x="1628348" y="1725236"/>
                  </a:cubicBezTo>
                  <a:cubicBezTo>
                    <a:pt x="1628348" y="1725197"/>
                    <a:pt x="1628348" y="1725197"/>
                    <a:pt x="1628348" y="1725159"/>
                  </a:cubicBezTo>
                  <a:lnTo>
                    <a:pt x="1628348" y="1702478"/>
                  </a:lnTo>
                  <a:lnTo>
                    <a:pt x="1628348" y="1679797"/>
                  </a:lnTo>
                  <a:cubicBezTo>
                    <a:pt x="1646839" y="1703247"/>
                    <a:pt x="1670289" y="1722622"/>
                    <a:pt x="1697122" y="1736115"/>
                  </a:cubicBezTo>
                  <a:cubicBezTo>
                    <a:pt x="1723955" y="1749609"/>
                    <a:pt x="1754170" y="1757220"/>
                    <a:pt x="1786193" y="1757220"/>
                  </a:cubicBezTo>
                  <a:cubicBezTo>
                    <a:pt x="1786847" y="1757220"/>
                    <a:pt x="1787461" y="1757220"/>
                    <a:pt x="1788115" y="1757220"/>
                  </a:cubicBezTo>
                  <a:cubicBezTo>
                    <a:pt x="1788769" y="1757220"/>
                    <a:pt x="1789384" y="1757220"/>
                    <a:pt x="1790037" y="1757182"/>
                  </a:cubicBezTo>
                  <a:cubicBezTo>
                    <a:pt x="1845779" y="1756144"/>
                    <a:pt x="1895793" y="1732617"/>
                    <a:pt x="1931621" y="1695443"/>
                  </a:cubicBezTo>
                  <a:cubicBezTo>
                    <a:pt x="1967450" y="1658269"/>
                    <a:pt x="1989093" y="1607371"/>
                    <a:pt x="1988055" y="1551668"/>
                  </a:cubicBezTo>
                  <a:cubicBezTo>
                    <a:pt x="1975715" y="889955"/>
                    <a:pt x="1927585" y="518370"/>
                    <a:pt x="1861233" y="305552"/>
                  </a:cubicBezTo>
                  <a:cubicBezTo>
                    <a:pt x="1794881" y="92733"/>
                    <a:pt x="1710423" y="38683"/>
                    <a:pt x="1625465" y="11966"/>
                  </a:cubicBezTo>
                  <a:cubicBezTo>
                    <a:pt x="1594980" y="2393"/>
                    <a:pt x="1565148" y="-1066"/>
                    <a:pt x="1536585" y="27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757C9D5C-BBFF-43F0-BF50-A5F99932B36D}"/>
                </a:ext>
              </a:extLst>
            </p:cNvPr>
            <p:cNvSpPr/>
            <p:nvPr/>
          </p:nvSpPr>
          <p:spPr>
            <a:xfrm>
              <a:off x="-3541246" y="2609288"/>
              <a:ext cx="1176265" cy="1176265"/>
            </a:xfrm>
            <a:custGeom>
              <a:avLst/>
              <a:gdLst>
                <a:gd name="connsiteX0" fmla="*/ 1176266 w 1176265"/>
                <a:gd name="connsiteY0" fmla="*/ 588133 h 1176265"/>
                <a:gd name="connsiteX1" fmla="*/ 588133 w 1176265"/>
                <a:gd name="connsiteY1" fmla="*/ 1176266 h 1176265"/>
                <a:gd name="connsiteX2" fmla="*/ 0 w 1176265"/>
                <a:gd name="connsiteY2" fmla="*/ 588133 h 1176265"/>
                <a:gd name="connsiteX3" fmla="*/ 588133 w 1176265"/>
                <a:gd name="connsiteY3" fmla="*/ 0 h 1176265"/>
                <a:gd name="connsiteX4" fmla="*/ 1176266 w 1176265"/>
                <a:gd name="connsiteY4" fmla="*/ 588133 h 117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6265" h="1176265">
                  <a:moveTo>
                    <a:pt x="1176266" y="588133"/>
                  </a:moveTo>
                  <a:cubicBezTo>
                    <a:pt x="1176266" y="912950"/>
                    <a:pt x="912950" y="1176266"/>
                    <a:pt x="588133" y="1176266"/>
                  </a:cubicBezTo>
                  <a:cubicBezTo>
                    <a:pt x="263316" y="1176266"/>
                    <a:pt x="0" y="912950"/>
                    <a:pt x="0" y="588133"/>
                  </a:cubicBezTo>
                  <a:cubicBezTo>
                    <a:pt x="0" y="263316"/>
                    <a:pt x="263316" y="0"/>
                    <a:pt x="588133" y="0"/>
                  </a:cubicBezTo>
                  <a:cubicBezTo>
                    <a:pt x="912950" y="0"/>
                    <a:pt x="1176266" y="263316"/>
                    <a:pt x="1176266" y="5881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BAF641D7-0446-4C63-9E73-2F3F563CECE8}"/>
                </a:ext>
              </a:extLst>
            </p:cNvPr>
            <p:cNvSpPr/>
            <p:nvPr/>
          </p:nvSpPr>
          <p:spPr>
            <a:xfrm>
              <a:off x="-1697617" y="2605328"/>
              <a:ext cx="956528" cy="4223685"/>
            </a:xfrm>
            <a:custGeom>
              <a:avLst/>
              <a:gdLst>
                <a:gd name="connsiteX0" fmla="*/ 956528 w 956528"/>
                <a:gd name="connsiteY0" fmla="*/ 4223686 h 4223685"/>
                <a:gd name="connsiteX1" fmla="*/ 956528 w 956528"/>
                <a:gd name="connsiteY1" fmla="*/ 0 h 4223685"/>
                <a:gd name="connsiteX2" fmla="*/ 900248 w 956528"/>
                <a:gd name="connsiteY2" fmla="*/ 0 h 4223685"/>
                <a:gd name="connsiteX3" fmla="*/ 900248 w 956528"/>
                <a:gd name="connsiteY3" fmla="*/ 4167445 h 4223685"/>
                <a:gd name="connsiteX4" fmla="*/ 56280 w 956528"/>
                <a:gd name="connsiteY4" fmla="*/ 4167445 h 4223685"/>
                <a:gd name="connsiteX5" fmla="*/ 56280 w 956528"/>
                <a:gd name="connsiteY5" fmla="*/ 3998643 h 4223685"/>
                <a:gd name="connsiteX6" fmla="*/ 337603 w 956528"/>
                <a:gd name="connsiteY6" fmla="*/ 3998643 h 4223685"/>
                <a:gd name="connsiteX7" fmla="*/ 337603 w 956528"/>
                <a:gd name="connsiteY7" fmla="*/ 3942363 h 4223685"/>
                <a:gd name="connsiteX8" fmla="*/ 56280 w 956528"/>
                <a:gd name="connsiteY8" fmla="*/ 3942363 h 4223685"/>
                <a:gd name="connsiteX9" fmla="*/ 56280 w 956528"/>
                <a:gd name="connsiteY9" fmla="*/ 3773562 h 4223685"/>
                <a:gd name="connsiteX10" fmla="*/ 337603 w 956528"/>
                <a:gd name="connsiteY10" fmla="*/ 3773562 h 4223685"/>
                <a:gd name="connsiteX11" fmla="*/ 337603 w 956528"/>
                <a:gd name="connsiteY11" fmla="*/ 3717321 h 4223685"/>
                <a:gd name="connsiteX12" fmla="*/ 56280 w 956528"/>
                <a:gd name="connsiteY12" fmla="*/ 3717321 h 4223685"/>
                <a:gd name="connsiteX13" fmla="*/ 56280 w 956528"/>
                <a:gd name="connsiteY13" fmla="*/ 3548519 h 4223685"/>
                <a:gd name="connsiteX14" fmla="*/ 337603 w 956528"/>
                <a:gd name="connsiteY14" fmla="*/ 3548519 h 4223685"/>
                <a:gd name="connsiteX15" fmla="*/ 337603 w 956528"/>
                <a:gd name="connsiteY15" fmla="*/ 3492239 h 4223685"/>
                <a:gd name="connsiteX16" fmla="*/ 56280 w 956528"/>
                <a:gd name="connsiteY16" fmla="*/ 3492239 h 4223685"/>
                <a:gd name="connsiteX17" fmla="*/ 56280 w 956528"/>
                <a:gd name="connsiteY17" fmla="*/ 3323438 h 4223685"/>
                <a:gd name="connsiteX18" fmla="*/ 675205 w 956528"/>
                <a:gd name="connsiteY18" fmla="*/ 3323438 h 4223685"/>
                <a:gd name="connsiteX19" fmla="*/ 675205 w 956528"/>
                <a:gd name="connsiteY19" fmla="*/ 3267158 h 4223685"/>
                <a:gd name="connsiteX20" fmla="*/ 56280 w 956528"/>
                <a:gd name="connsiteY20" fmla="*/ 3267158 h 4223685"/>
                <a:gd name="connsiteX21" fmla="*/ 56280 w 956528"/>
                <a:gd name="connsiteY21" fmla="*/ 3098395 h 4223685"/>
                <a:gd name="connsiteX22" fmla="*/ 337603 w 956528"/>
                <a:gd name="connsiteY22" fmla="*/ 3098395 h 4223685"/>
                <a:gd name="connsiteX23" fmla="*/ 337603 w 956528"/>
                <a:gd name="connsiteY23" fmla="*/ 3042115 h 4223685"/>
                <a:gd name="connsiteX24" fmla="*/ 56280 w 956528"/>
                <a:gd name="connsiteY24" fmla="*/ 3042115 h 4223685"/>
                <a:gd name="connsiteX25" fmla="*/ 56280 w 956528"/>
                <a:gd name="connsiteY25" fmla="*/ 2873314 h 4223685"/>
                <a:gd name="connsiteX26" fmla="*/ 337603 w 956528"/>
                <a:gd name="connsiteY26" fmla="*/ 2873314 h 4223685"/>
                <a:gd name="connsiteX27" fmla="*/ 337603 w 956528"/>
                <a:gd name="connsiteY27" fmla="*/ 2817034 h 4223685"/>
                <a:gd name="connsiteX28" fmla="*/ 56280 w 956528"/>
                <a:gd name="connsiteY28" fmla="*/ 2817034 h 4223685"/>
                <a:gd name="connsiteX29" fmla="*/ 56280 w 956528"/>
                <a:gd name="connsiteY29" fmla="*/ 2648233 h 4223685"/>
                <a:gd name="connsiteX30" fmla="*/ 337603 w 956528"/>
                <a:gd name="connsiteY30" fmla="*/ 2648233 h 4223685"/>
                <a:gd name="connsiteX31" fmla="*/ 337603 w 956528"/>
                <a:gd name="connsiteY31" fmla="*/ 2591991 h 4223685"/>
                <a:gd name="connsiteX32" fmla="*/ 56280 w 956528"/>
                <a:gd name="connsiteY32" fmla="*/ 2591991 h 4223685"/>
                <a:gd name="connsiteX33" fmla="*/ 56280 w 956528"/>
                <a:gd name="connsiteY33" fmla="*/ 2423190 h 4223685"/>
                <a:gd name="connsiteX34" fmla="*/ 675205 w 956528"/>
                <a:gd name="connsiteY34" fmla="*/ 2423190 h 4223685"/>
                <a:gd name="connsiteX35" fmla="*/ 675205 w 956528"/>
                <a:gd name="connsiteY35" fmla="*/ 2366909 h 4223685"/>
                <a:gd name="connsiteX36" fmla="*/ 56280 w 956528"/>
                <a:gd name="connsiteY36" fmla="*/ 2366909 h 4223685"/>
                <a:gd name="connsiteX37" fmla="*/ 56280 w 956528"/>
                <a:gd name="connsiteY37" fmla="*/ 2198108 h 4223685"/>
                <a:gd name="connsiteX38" fmla="*/ 337603 w 956528"/>
                <a:gd name="connsiteY38" fmla="*/ 2198108 h 4223685"/>
                <a:gd name="connsiteX39" fmla="*/ 337603 w 956528"/>
                <a:gd name="connsiteY39" fmla="*/ 2141867 h 4223685"/>
                <a:gd name="connsiteX40" fmla="*/ 56280 w 956528"/>
                <a:gd name="connsiteY40" fmla="*/ 2141867 h 4223685"/>
                <a:gd name="connsiteX41" fmla="*/ 56280 w 956528"/>
                <a:gd name="connsiteY41" fmla="*/ 1973065 h 4223685"/>
                <a:gd name="connsiteX42" fmla="*/ 337603 w 956528"/>
                <a:gd name="connsiteY42" fmla="*/ 1973065 h 4223685"/>
                <a:gd name="connsiteX43" fmla="*/ 337603 w 956528"/>
                <a:gd name="connsiteY43" fmla="*/ 1916785 h 4223685"/>
                <a:gd name="connsiteX44" fmla="*/ 56280 w 956528"/>
                <a:gd name="connsiteY44" fmla="*/ 1916785 h 4223685"/>
                <a:gd name="connsiteX45" fmla="*/ 56280 w 956528"/>
                <a:gd name="connsiteY45" fmla="*/ 1747984 h 4223685"/>
                <a:gd name="connsiteX46" fmla="*/ 337603 w 956528"/>
                <a:gd name="connsiteY46" fmla="*/ 1747984 h 4223685"/>
                <a:gd name="connsiteX47" fmla="*/ 337603 w 956528"/>
                <a:gd name="connsiteY47" fmla="*/ 1691704 h 4223685"/>
                <a:gd name="connsiteX48" fmla="*/ 56280 w 956528"/>
                <a:gd name="connsiteY48" fmla="*/ 1691704 h 4223685"/>
                <a:gd name="connsiteX49" fmla="*/ 56280 w 956528"/>
                <a:gd name="connsiteY49" fmla="*/ 1522941 h 4223685"/>
                <a:gd name="connsiteX50" fmla="*/ 675205 w 956528"/>
                <a:gd name="connsiteY50" fmla="*/ 1522941 h 4223685"/>
                <a:gd name="connsiteX51" fmla="*/ 675205 w 956528"/>
                <a:gd name="connsiteY51" fmla="*/ 1466661 h 4223685"/>
                <a:gd name="connsiteX52" fmla="*/ 56280 w 956528"/>
                <a:gd name="connsiteY52" fmla="*/ 1466661 h 4223685"/>
                <a:gd name="connsiteX53" fmla="*/ 56280 w 956528"/>
                <a:gd name="connsiteY53" fmla="*/ 1297860 h 4223685"/>
                <a:gd name="connsiteX54" fmla="*/ 337603 w 956528"/>
                <a:gd name="connsiteY54" fmla="*/ 1297860 h 4223685"/>
                <a:gd name="connsiteX55" fmla="*/ 337603 w 956528"/>
                <a:gd name="connsiteY55" fmla="*/ 1241580 h 4223685"/>
                <a:gd name="connsiteX56" fmla="*/ 56280 w 956528"/>
                <a:gd name="connsiteY56" fmla="*/ 1241580 h 4223685"/>
                <a:gd name="connsiteX57" fmla="*/ 56280 w 956528"/>
                <a:gd name="connsiteY57" fmla="*/ 1072779 h 4223685"/>
                <a:gd name="connsiteX58" fmla="*/ 337603 w 956528"/>
                <a:gd name="connsiteY58" fmla="*/ 1072779 h 4223685"/>
                <a:gd name="connsiteX59" fmla="*/ 337603 w 956528"/>
                <a:gd name="connsiteY59" fmla="*/ 1016537 h 4223685"/>
                <a:gd name="connsiteX60" fmla="*/ 56280 w 956528"/>
                <a:gd name="connsiteY60" fmla="*/ 1016537 h 4223685"/>
                <a:gd name="connsiteX61" fmla="*/ 56280 w 956528"/>
                <a:gd name="connsiteY61" fmla="*/ 847736 h 4223685"/>
                <a:gd name="connsiteX62" fmla="*/ 337603 w 956528"/>
                <a:gd name="connsiteY62" fmla="*/ 847736 h 4223685"/>
                <a:gd name="connsiteX63" fmla="*/ 337603 w 956528"/>
                <a:gd name="connsiteY63" fmla="*/ 791456 h 4223685"/>
                <a:gd name="connsiteX64" fmla="*/ 56280 w 956528"/>
                <a:gd name="connsiteY64" fmla="*/ 791456 h 4223685"/>
                <a:gd name="connsiteX65" fmla="*/ 56280 w 956528"/>
                <a:gd name="connsiteY65" fmla="*/ 622654 h 4223685"/>
                <a:gd name="connsiteX66" fmla="*/ 675205 w 956528"/>
                <a:gd name="connsiteY66" fmla="*/ 622654 h 4223685"/>
                <a:gd name="connsiteX67" fmla="*/ 675205 w 956528"/>
                <a:gd name="connsiteY67" fmla="*/ 566413 h 4223685"/>
                <a:gd name="connsiteX68" fmla="*/ 56280 w 956528"/>
                <a:gd name="connsiteY68" fmla="*/ 566413 h 4223685"/>
                <a:gd name="connsiteX69" fmla="*/ 56280 w 956528"/>
                <a:gd name="connsiteY69" fmla="*/ 397612 h 4223685"/>
                <a:gd name="connsiteX70" fmla="*/ 337603 w 956528"/>
                <a:gd name="connsiteY70" fmla="*/ 397612 h 4223685"/>
                <a:gd name="connsiteX71" fmla="*/ 337603 w 956528"/>
                <a:gd name="connsiteY71" fmla="*/ 341332 h 4223685"/>
                <a:gd name="connsiteX72" fmla="*/ 56280 w 956528"/>
                <a:gd name="connsiteY72" fmla="*/ 341332 h 4223685"/>
                <a:gd name="connsiteX73" fmla="*/ 56280 w 956528"/>
                <a:gd name="connsiteY73" fmla="*/ 172530 h 4223685"/>
                <a:gd name="connsiteX74" fmla="*/ 337603 w 956528"/>
                <a:gd name="connsiteY74" fmla="*/ 172530 h 4223685"/>
                <a:gd name="connsiteX75" fmla="*/ 337603 w 956528"/>
                <a:gd name="connsiteY75" fmla="*/ 116250 h 4223685"/>
                <a:gd name="connsiteX76" fmla="*/ 56280 w 956528"/>
                <a:gd name="connsiteY76" fmla="*/ 116250 h 4223685"/>
                <a:gd name="connsiteX77" fmla="*/ 56280 w 956528"/>
                <a:gd name="connsiteY77" fmla="*/ 0 h 4223685"/>
                <a:gd name="connsiteX78" fmla="*/ 0 w 956528"/>
                <a:gd name="connsiteY78" fmla="*/ 0 h 4223685"/>
                <a:gd name="connsiteX79" fmla="*/ 0 w 956528"/>
                <a:gd name="connsiteY79" fmla="*/ 4223686 h 4223685"/>
                <a:gd name="connsiteX80" fmla="*/ 56280 w 956528"/>
                <a:gd name="connsiteY80" fmla="*/ 4223686 h 4223685"/>
                <a:gd name="connsiteX81" fmla="*/ 900248 w 956528"/>
                <a:gd name="connsiteY81" fmla="*/ 4223686 h 422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956528" h="4223685">
                  <a:moveTo>
                    <a:pt x="956528" y="4223686"/>
                  </a:moveTo>
                  <a:lnTo>
                    <a:pt x="956528" y="0"/>
                  </a:lnTo>
                  <a:lnTo>
                    <a:pt x="900248" y="0"/>
                  </a:lnTo>
                  <a:lnTo>
                    <a:pt x="900248" y="4167445"/>
                  </a:lnTo>
                  <a:lnTo>
                    <a:pt x="56280" y="4167445"/>
                  </a:lnTo>
                  <a:lnTo>
                    <a:pt x="56280" y="3998643"/>
                  </a:lnTo>
                  <a:lnTo>
                    <a:pt x="337603" y="3998643"/>
                  </a:lnTo>
                  <a:lnTo>
                    <a:pt x="337603" y="3942363"/>
                  </a:lnTo>
                  <a:lnTo>
                    <a:pt x="56280" y="3942363"/>
                  </a:lnTo>
                  <a:lnTo>
                    <a:pt x="56280" y="3773562"/>
                  </a:lnTo>
                  <a:lnTo>
                    <a:pt x="337603" y="3773562"/>
                  </a:lnTo>
                  <a:lnTo>
                    <a:pt x="337603" y="3717321"/>
                  </a:lnTo>
                  <a:lnTo>
                    <a:pt x="56280" y="3717321"/>
                  </a:lnTo>
                  <a:lnTo>
                    <a:pt x="56280" y="3548519"/>
                  </a:lnTo>
                  <a:lnTo>
                    <a:pt x="337603" y="3548519"/>
                  </a:lnTo>
                  <a:lnTo>
                    <a:pt x="337603" y="3492239"/>
                  </a:lnTo>
                  <a:lnTo>
                    <a:pt x="56280" y="3492239"/>
                  </a:lnTo>
                  <a:lnTo>
                    <a:pt x="56280" y="3323438"/>
                  </a:lnTo>
                  <a:lnTo>
                    <a:pt x="675205" y="3323438"/>
                  </a:lnTo>
                  <a:lnTo>
                    <a:pt x="675205" y="3267158"/>
                  </a:lnTo>
                  <a:lnTo>
                    <a:pt x="56280" y="3267158"/>
                  </a:lnTo>
                  <a:lnTo>
                    <a:pt x="56280" y="3098395"/>
                  </a:lnTo>
                  <a:lnTo>
                    <a:pt x="337603" y="3098395"/>
                  </a:lnTo>
                  <a:lnTo>
                    <a:pt x="337603" y="3042115"/>
                  </a:lnTo>
                  <a:lnTo>
                    <a:pt x="56280" y="3042115"/>
                  </a:lnTo>
                  <a:lnTo>
                    <a:pt x="56280" y="2873314"/>
                  </a:lnTo>
                  <a:lnTo>
                    <a:pt x="337603" y="2873314"/>
                  </a:lnTo>
                  <a:lnTo>
                    <a:pt x="337603" y="2817034"/>
                  </a:lnTo>
                  <a:lnTo>
                    <a:pt x="56280" y="2817034"/>
                  </a:lnTo>
                  <a:lnTo>
                    <a:pt x="56280" y="2648233"/>
                  </a:lnTo>
                  <a:lnTo>
                    <a:pt x="337603" y="2648233"/>
                  </a:lnTo>
                  <a:lnTo>
                    <a:pt x="337603" y="2591991"/>
                  </a:lnTo>
                  <a:lnTo>
                    <a:pt x="56280" y="2591991"/>
                  </a:lnTo>
                  <a:lnTo>
                    <a:pt x="56280" y="2423190"/>
                  </a:lnTo>
                  <a:lnTo>
                    <a:pt x="675205" y="2423190"/>
                  </a:lnTo>
                  <a:lnTo>
                    <a:pt x="675205" y="2366909"/>
                  </a:lnTo>
                  <a:lnTo>
                    <a:pt x="56280" y="2366909"/>
                  </a:lnTo>
                  <a:lnTo>
                    <a:pt x="56280" y="2198108"/>
                  </a:lnTo>
                  <a:lnTo>
                    <a:pt x="337603" y="2198108"/>
                  </a:lnTo>
                  <a:lnTo>
                    <a:pt x="337603" y="2141867"/>
                  </a:lnTo>
                  <a:lnTo>
                    <a:pt x="56280" y="2141867"/>
                  </a:lnTo>
                  <a:lnTo>
                    <a:pt x="56280" y="1973065"/>
                  </a:lnTo>
                  <a:lnTo>
                    <a:pt x="337603" y="1973065"/>
                  </a:lnTo>
                  <a:lnTo>
                    <a:pt x="337603" y="1916785"/>
                  </a:lnTo>
                  <a:lnTo>
                    <a:pt x="56280" y="1916785"/>
                  </a:lnTo>
                  <a:lnTo>
                    <a:pt x="56280" y="1747984"/>
                  </a:lnTo>
                  <a:lnTo>
                    <a:pt x="337603" y="1747984"/>
                  </a:lnTo>
                  <a:lnTo>
                    <a:pt x="337603" y="1691704"/>
                  </a:lnTo>
                  <a:lnTo>
                    <a:pt x="56280" y="1691704"/>
                  </a:lnTo>
                  <a:lnTo>
                    <a:pt x="56280" y="1522941"/>
                  </a:lnTo>
                  <a:lnTo>
                    <a:pt x="675205" y="1522941"/>
                  </a:lnTo>
                  <a:lnTo>
                    <a:pt x="675205" y="1466661"/>
                  </a:lnTo>
                  <a:lnTo>
                    <a:pt x="56280" y="1466661"/>
                  </a:lnTo>
                  <a:lnTo>
                    <a:pt x="56280" y="1297860"/>
                  </a:lnTo>
                  <a:lnTo>
                    <a:pt x="337603" y="1297860"/>
                  </a:lnTo>
                  <a:lnTo>
                    <a:pt x="337603" y="1241580"/>
                  </a:lnTo>
                  <a:lnTo>
                    <a:pt x="56280" y="1241580"/>
                  </a:lnTo>
                  <a:lnTo>
                    <a:pt x="56280" y="1072779"/>
                  </a:lnTo>
                  <a:lnTo>
                    <a:pt x="337603" y="1072779"/>
                  </a:lnTo>
                  <a:lnTo>
                    <a:pt x="337603" y="1016537"/>
                  </a:lnTo>
                  <a:lnTo>
                    <a:pt x="56280" y="1016537"/>
                  </a:lnTo>
                  <a:lnTo>
                    <a:pt x="56280" y="847736"/>
                  </a:lnTo>
                  <a:lnTo>
                    <a:pt x="337603" y="847736"/>
                  </a:lnTo>
                  <a:lnTo>
                    <a:pt x="337603" y="791456"/>
                  </a:lnTo>
                  <a:lnTo>
                    <a:pt x="56280" y="791456"/>
                  </a:lnTo>
                  <a:lnTo>
                    <a:pt x="56280" y="622654"/>
                  </a:lnTo>
                  <a:lnTo>
                    <a:pt x="675205" y="622654"/>
                  </a:lnTo>
                  <a:lnTo>
                    <a:pt x="675205" y="566413"/>
                  </a:lnTo>
                  <a:lnTo>
                    <a:pt x="56280" y="566413"/>
                  </a:lnTo>
                  <a:lnTo>
                    <a:pt x="56280" y="397612"/>
                  </a:lnTo>
                  <a:lnTo>
                    <a:pt x="337603" y="397612"/>
                  </a:lnTo>
                  <a:lnTo>
                    <a:pt x="337603" y="341332"/>
                  </a:lnTo>
                  <a:lnTo>
                    <a:pt x="56280" y="341332"/>
                  </a:lnTo>
                  <a:lnTo>
                    <a:pt x="56280" y="172530"/>
                  </a:lnTo>
                  <a:lnTo>
                    <a:pt x="337603" y="172530"/>
                  </a:lnTo>
                  <a:lnTo>
                    <a:pt x="337603" y="116250"/>
                  </a:lnTo>
                  <a:lnTo>
                    <a:pt x="56280" y="116250"/>
                  </a:lnTo>
                  <a:lnTo>
                    <a:pt x="56280" y="0"/>
                  </a:lnTo>
                  <a:lnTo>
                    <a:pt x="0" y="0"/>
                  </a:lnTo>
                  <a:lnTo>
                    <a:pt x="0" y="4223686"/>
                  </a:lnTo>
                  <a:lnTo>
                    <a:pt x="56280" y="4223686"/>
                  </a:lnTo>
                  <a:lnTo>
                    <a:pt x="900248" y="42236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B2DF6521-0068-4FF9-8FA0-93F51F778B2D}"/>
                </a:ext>
              </a:extLst>
            </p:cNvPr>
            <p:cNvSpPr/>
            <p:nvPr/>
          </p:nvSpPr>
          <p:spPr>
            <a:xfrm>
              <a:off x="-1697617" y="1719597"/>
              <a:ext cx="337603" cy="538326"/>
            </a:xfrm>
            <a:custGeom>
              <a:avLst/>
              <a:gdLst>
                <a:gd name="connsiteX0" fmla="*/ 0 w 337603"/>
                <a:gd name="connsiteY0" fmla="*/ 0 h 538326"/>
                <a:gd name="connsiteX1" fmla="*/ 56280 w 337603"/>
                <a:gd name="connsiteY1" fmla="*/ 0 h 538326"/>
                <a:gd name="connsiteX2" fmla="*/ 56280 w 337603"/>
                <a:gd name="connsiteY2" fmla="*/ 101734 h 538326"/>
                <a:gd name="connsiteX3" fmla="*/ 337603 w 337603"/>
                <a:gd name="connsiteY3" fmla="*/ 101734 h 538326"/>
                <a:gd name="connsiteX4" fmla="*/ 337603 w 337603"/>
                <a:gd name="connsiteY4" fmla="*/ 158014 h 538326"/>
                <a:gd name="connsiteX5" fmla="*/ 56280 w 337603"/>
                <a:gd name="connsiteY5" fmla="*/ 158014 h 538326"/>
                <a:gd name="connsiteX6" fmla="*/ 56280 w 337603"/>
                <a:gd name="connsiteY6" fmla="*/ 326815 h 538326"/>
                <a:gd name="connsiteX7" fmla="*/ 337603 w 337603"/>
                <a:gd name="connsiteY7" fmla="*/ 326815 h 538326"/>
                <a:gd name="connsiteX8" fmla="*/ 337603 w 337603"/>
                <a:gd name="connsiteY8" fmla="*/ 383056 h 538326"/>
                <a:gd name="connsiteX9" fmla="*/ 56280 w 337603"/>
                <a:gd name="connsiteY9" fmla="*/ 383056 h 538326"/>
                <a:gd name="connsiteX10" fmla="*/ 56280 w 337603"/>
                <a:gd name="connsiteY10" fmla="*/ 538326 h 538326"/>
                <a:gd name="connsiteX11" fmla="*/ 0 w 337603"/>
                <a:gd name="connsiteY11" fmla="*/ 538326 h 538326"/>
                <a:gd name="connsiteX12" fmla="*/ 0 w 337603"/>
                <a:gd name="connsiteY12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7603" h="538326">
                  <a:moveTo>
                    <a:pt x="0" y="0"/>
                  </a:moveTo>
                  <a:lnTo>
                    <a:pt x="56280" y="0"/>
                  </a:lnTo>
                  <a:lnTo>
                    <a:pt x="56280" y="101734"/>
                  </a:lnTo>
                  <a:lnTo>
                    <a:pt x="337603" y="101734"/>
                  </a:lnTo>
                  <a:lnTo>
                    <a:pt x="337603" y="158014"/>
                  </a:lnTo>
                  <a:lnTo>
                    <a:pt x="56280" y="158014"/>
                  </a:lnTo>
                  <a:lnTo>
                    <a:pt x="56280" y="326815"/>
                  </a:lnTo>
                  <a:lnTo>
                    <a:pt x="337603" y="326815"/>
                  </a:lnTo>
                  <a:lnTo>
                    <a:pt x="337603" y="383056"/>
                  </a:lnTo>
                  <a:lnTo>
                    <a:pt x="56280" y="383056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54D7A8E7-2AF7-4A88-8FDE-2FC4151EF3DF}"/>
                </a:ext>
              </a:extLst>
            </p:cNvPr>
            <p:cNvSpPr/>
            <p:nvPr/>
          </p:nvSpPr>
          <p:spPr>
            <a:xfrm>
              <a:off x="-797368" y="1719597"/>
              <a:ext cx="56280" cy="538326"/>
            </a:xfrm>
            <a:custGeom>
              <a:avLst/>
              <a:gdLst>
                <a:gd name="connsiteX0" fmla="*/ 0 w 56280"/>
                <a:gd name="connsiteY0" fmla="*/ 0 h 538326"/>
                <a:gd name="connsiteX1" fmla="*/ 56280 w 56280"/>
                <a:gd name="connsiteY1" fmla="*/ 0 h 538326"/>
                <a:gd name="connsiteX2" fmla="*/ 56280 w 56280"/>
                <a:gd name="connsiteY2" fmla="*/ 538326 h 538326"/>
                <a:gd name="connsiteX3" fmla="*/ 0 w 56280"/>
                <a:gd name="connsiteY3" fmla="*/ 538326 h 538326"/>
                <a:gd name="connsiteX4" fmla="*/ 0 w 56280"/>
                <a:gd name="connsiteY4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80" h="538326">
                  <a:moveTo>
                    <a:pt x="0" y="0"/>
                  </a:moveTo>
                  <a:lnTo>
                    <a:pt x="56280" y="0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</p:grpSp>
      <p:sp>
        <p:nvSpPr>
          <p:cNvPr id="58" name="Round Same-side Corner of Rectangle 79">
            <a:extLst>
              <a:ext uri="{FF2B5EF4-FFF2-40B4-BE49-F238E27FC236}">
                <a16:creationId xmlns:a16="http://schemas.microsoft.com/office/drawing/2014/main" id="{058FDACB-8AEE-446B-95D1-EE54F55E579D}"/>
              </a:ext>
            </a:extLst>
          </p:cNvPr>
          <p:cNvSpPr/>
          <p:nvPr userDrawn="1"/>
        </p:nvSpPr>
        <p:spPr>
          <a:xfrm rot="5400000">
            <a:off x="10613117" y="550943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9" name="TextBox 58">
            <a:hlinkClick r:id="" action="ppaction://noaction"/>
            <a:extLst>
              <a:ext uri="{FF2B5EF4-FFF2-40B4-BE49-F238E27FC236}">
                <a16:creationId xmlns:a16="http://schemas.microsoft.com/office/drawing/2014/main" id="{A3BD00AC-C018-4D2E-A539-79CE47E61716}"/>
              </a:ext>
            </a:extLst>
          </p:cNvPr>
          <p:cNvSpPr txBox="1"/>
          <p:nvPr userDrawn="1"/>
        </p:nvSpPr>
        <p:spPr>
          <a:xfrm>
            <a:off x="10870644" y="555078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60" name="Round Same-side Corner of Rectangle 79">
            <a:extLst>
              <a:ext uri="{FF2B5EF4-FFF2-40B4-BE49-F238E27FC236}">
                <a16:creationId xmlns:a16="http://schemas.microsoft.com/office/drawing/2014/main" id="{5D53C858-7688-4B7F-832E-4A1EF935FDB8}"/>
              </a:ext>
            </a:extLst>
          </p:cNvPr>
          <p:cNvSpPr/>
          <p:nvPr userDrawn="1"/>
        </p:nvSpPr>
        <p:spPr>
          <a:xfrm rot="5400000">
            <a:off x="10613117" y="5784862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1" name="TextBox 60">
            <a:hlinkClick r:id="" action="ppaction://noaction"/>
            <a:extLst>
              <a:ext uri="{FF2B5EF4-FFF2-40B4-BE49-F238E27FC236}">
                <a16:creationId xmlns:a16="http://schemas.microsoft.com/office/drawing/2014/main" id="{0EA4F919-54F4-467A-9590-05EC2A19368D}"/>
              </a:ext>
            </a:extLst>
          </p:cNvPr>
          <p:cNvSpPr txBox="1"/>
          <p:nvPr userDrawn="1"/>
        </p:nvSpPr>
        <p:spPr>
          <a:xfrm>
            <a:off x="10870644" y="5826211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72" name="Freeform 25">
            <a:extLst>
              <a:ext uri="{FF2B5EF4-FFF2-40B4-BE49-F238E27FC236}">
                <a16:creationId xmlns:a16="http://schemas.microsoft.com/office/drawing/2014/main" id="{F6AA9EF8-DA72-4E18-939A-C8F25189BB80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5549100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73" name="Round Same-side Corner of Rectangle 79">
            <a:extLst>
              <a:ext uri="{FF2B5EF4-FFF2-40B4-BE49-F238E27FC236}">
                <a16:creationId xmlns:a16="http://schemas.microsoft.com/office/drawing/2014/main" id="{0E250FB8-D698-421B-9AF7-D0D8D4235A7A}"/>
              </a:ext>
            </a:extLst>
          </p:cNvPr>
          <p:cNvSpPr/>
          <p:nvPr userDrawn="1"/>
        </p:nvSpPr>
        <p:spPr>
          <a:xfrm rot="5400000">
            <a:off x="10615976" y="606635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74" name="TextBox 73">
            <a:hlinkClick r:id="" action="ppaction://noaction"/>
            <a:extLst>
              <a:ext uri="{FF2B5EF4-FFF2-40B4-BE49-F238E27FC236}">
                <a16:creationId xmlns:a16="http://schemas.microsoft.com/office/drawing/2014/main" id="{A695CB45-1455-43ED-8BD4-E24BBE2561C9}"/>
              </a:ext>
            </a:extLst>
          </p:cNvPr>
          <p:cNvSpPr txBox="1"/>
          <p:nvPr userDrawn="1"/>
        </p:nvSpPr>
        <p:spPr>
          <a:xfrm>
            <a:off x="10873503" y="6107704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75" name="Freeform 21">
            <a:extLst>
              <a:ext uri="{FF2B5EF4-FFF2-40B4-BE49-F238E27FC236}">
                <a16:creationId xmlns:a16="http://schemas.microsoft.com/office/drawing/2014/main" id="{D755632A-FA27-436E-825D-AB9EA69CF11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6115929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76" name="Graphic 28" descr="List">
            <a:extLst>
              <a:ext uri="{FF2B5EF4-FFF2-40B4-BE49-F238E27FC236}">
                <a16:creationId xmlns:a16="http://schemas.microsoft.com/office/drawing/2014/main" id="{CB9EDCFA-4CDB-45D0-8379-FA13222D58B3}"/>
              </a:ext>
            </a:extLst>
          </p:cNvPr>
          <p:cNvGrpSpPr/>
          <p:nvPr userDrawn="1"/>
        </p:nvGrpSpPr>
        <p:grpSpPr>
          <a:xfrm>
            <a:off x="10657446" y="5818069"/>
            <a:ext cx="103548" cy="146640"/>
            <a:chOff x="981871" y="1231905"/>
            <a:chExt cx="246063" cy="317501"/>
          </a:xfrm>
        </p:grpSpPr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DCD150AD-F588-4B6A-B24A-FCE885EA0122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F8D840E6-EE07-4977-A71B-9CD79C780AE3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C0B7DF32-6EF3-4BDA-8CE7-99A0D0BFA1E1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7215A66D-9329-4625-B47E-06622351D384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9678015F-876E-436B-972B-A8B9AEA0DFCC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A4D7A1F4-3420-4DEC-B588-95E3834C360E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C052556A-524E-4CD2-9223-34EE2E0DCE55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9CAFFE1-7FD7-4DDE-A5F4-552FF770C762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4470043B-08C8-47AC-B0F2-662F66A78E6B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80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5A14CFC8-51D3-4E91-9338-8358BAE5F02E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2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DC3390DE-F766-4815-B3CE-1125EC325CBD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84A56DA1-3FD6-4CC0-A33C-ACB80C6AC528}"/>
              </a:ext>
            </a:extLst>
          </p:cNvPr>
          <p:cNvSpPr/>
          <p:nvPr userDrawn="1"/>
        </p:nvSpPr>
        <p:spPr>
          <a:xfrm rot="5400000">
            <a:off x="11280167" y="4840571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36F15241-1A4B-4169-B67F-B11A6800AAF5}"/>
              </a:ext>
            </a:extLst>
          </p:cNvPr>
          <p:cNvSpPr/>
          <p:nvPr userDrawn="1"/>
        </p:nvSpPr>
        <p:spPr>
          <a:xfrm rot="5400000">
            <a:off x="11280167" y="5116475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6F455ABD-3535-4691-BE12-11C5EA8DADA8}"/>
              </a:ext>
            </a:extLst>
          </p:cNvPr>
          <p:cNvSpPr/>
          <p:nvPr userDrawn="1"/>
        </p:nvSpPr>
        <p:spPr>
          <a:xfrm rot="5400000">
            <a:off x="11280167" y="5392379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7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DE6280DC-7C55-44B2-B7D9-180F2E81D1D0}"/>
              </a:ext>
            </a:extLst>
          </p:cNvPr>
          <p:cNvSpPr/>
          <p:nvPr userDrawn="1"/>
        </p:nvSpPr>
        <p:spPr>
          <a:xfrm rot="5400000">
            <a:off x="11473096" y="1472755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9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206AA4F4-8FF1-437C-8D66-E94BEF527784}"/>
              </a:ext>
            </a:extLst>
          </p:cNvPr>
          <p:cNvSpPr/>
          <p:nvPr userDrawn="1"/>
        </p:nvSpPr>
        <p:spPr>
          <a:xfrm rot="5400000">
            <a:off x="11290966" y="1746076"/>
            <a:ext cx="349171" cy="1446546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0" name="Round Same-side Corner of Rectangle 79">
            <a:hlinkClick r:id="rId5" action="ppaction://hlinksldjump"/>
            <a:extLst>
              <a:ext uri="{FF2B5EF4-FFF2-40B4-BE49-F238E27FC236}">
                <a16:creationId xmlns:a16="http://schemas.microsoft.com/office/drawing/2014/main" id="{ED8D1FC8-7E6F-4C7A-96EA-96A64828403D}"/>
              </a:ext>
            </a:extLst>
          </p:cNvPr>
          <p:cNvSpPr/>
          <p:nvPr userDrawn="1"/>
        </p:nvSpPr>
        <p:spPr>
          <a:xfrm rot="5400000">
            <a:off x="11473096" y="2380734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1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6A0E055D-5575-437A-9C0D-E4EE9B628842}"/>
              </a:ext>
            </a:extLst>
          </p:cNvPr>
          <p:cNvSpPr/>
          <p:nvPr userDrawn="1"/>
        </p:nvSpPr>
        <p:spPr>
          <a:xfrm rot="5400000">
            <a:off x="11473096" y="2833262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2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83D69A50-4FE0-43AC-B281-274172F9069A}"/>
              </a:ext>
            </a:extLst>
          </p:cNvPr>
          <p:cNvSpPr/>
          <p:nvPr userDrawn="1"/>
        </p:nvSpPr>
        <p:spPr>
          <a:xfrm rot="5400000">
            <a:off x="11473096" y="3285790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34CF9FC9-CD7A-4BAA-9A3B-375230E6FBF3}"/>
              </a:ext>
            </a:extLst>
          </p:cNvPr>
          <p:cNvSpPr/>
          <p:nvPr userDrawn="1"/>
        </p:nvSpPr>
        <p:spPr>
          <a:xfrm rot="5400000">
            <a:off x="11473096" y="3738318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2BC8ACC2-86D9-4148-B601-7012155C5CCE}"/>
              </a:ext>
            </a:extLst>
          </p:cNvPr>
          <p:cNvSpPr/>
          <p:nvPr userDrawn="1"/>
        </p:nvSpPr>
        <p:spPr>
          <a:xfrm rot="5400000">
            <a:off x="11473096" y="419084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D05FC9B3-391B-4404-BE72-9C5A4A6FC095}"/>
              </a:ext>
            </a:extLst>
          </p:cNvPr>
          <p:cNvSpPr/>
          <p:nvPr userDrawn="1"/>
        </p:nvSpPr>
        <p:spPr>
          <a:xfrm rot="5400000">
            <a:off x="11473096" y="464337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022110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Pilla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person, indoor, computer, people&#10;&#10;Description automatically generated">
            <a:extLst>
              <a:ext uri="{FF2B5EF4-FFF2-40B4-BE49-F238E27FC236}">
                <a16:creationId xmlns:a16="http://schemas.microsoft.com/office/drawing/2014/main" id="{1A3DCB80-7F74-4A0A-BA1A-7954F35DF4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769030" y="0"/>
            <a:ext cx="10284321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52DACC8-F68A-4E7E-B68C-7F1399D9114E}"/>
              </a:ext>
            </a:extLst>
          </p:cNvPr>
          <p:cNvSpPr/>
          <p:nvPr userDrawn="1"/>
        </p:nvSpPr>
        <p:spPr>
          <a:xfrm>
            <a:off x="2072100" y="6705600"/>
            <a:ext cx="8044625" cy="15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800">
                <a:solidFill>
                  <a:schemeClr val="bg1"/>
                </a:solidFill>
                <a:ea typeface="MS PGothic" pitchFamily="34" charset="-128"/>
              </a:rPr>
              <a:t>Pfizer Confidential – Internal Use Only, Not for Further Distribution</a:t>
            </a:r>
            <a:endParaRPr lang="en-US" sz="800">
              <a:solidFill>
                <a:schemeClr val="bg1"/>
              </a:solidFill>
              <a:ea typeface="MS PGothic" pitchFamily="34" charset="-128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C514C5-2143-4E16-837F-CF028230C903}"/>
              </a:ext>
            </a:extLst>
          </p:cNvPr>
          <p:cNvSpPr/>
          <p:nvPr userDrawn="1"/>
        </p:nvSpPr>
        <p:spPr>
          <a:xfrm>
            <a:off x="0" y="0"/>
            <a:ext cx="2011157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E1FD921-B9B9-4E01-8593-A27B37592D89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27281B-F7F1-4E3B-B238-0D64683B763A}"/>
              </a:ext>
            </a:extLst>
          </p:cNvPr>
          <p:cNvSpPr/>
          <p:nvPr userDrawn="1"/>
        </p:nvSpPr>
        <p:spPr>
          <a:xfrm>
            <a:off x="1897132" y="0"/>
            <a:ext cx="138452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3941344-CBA3-46F5-9801-595985401D8A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D2612D66-723A-4927-9CE6-16C13A003646}"/>
              </a:ext>
            </a:extLst>
          </p:cNvPr>
          <p:cNvSpPr/>
          <p:nvPr/>
        </p:nvSpPr>
        <p:spPr>
          <a:xfrm>
            <a:off x="0" y="141677"/>
            <a:ext cx="324007" cy="6853150"/>
          </a:xfrm>
          <a:custGeom>
            <a:avLst/>
            <a:gdLst>
              <a:gd name="connsiteX0" fmla="*/ 0 w 324091"/>
              <a:gd name="connsiteY0" fmla="*/ 6807430 h 6853150"/>
              <a:gd name="connsiteX1" fmla="*/ 81776 w 324091"/>
              <a:gd name="connsiteY1" fmla="*/ 6807430 h 6853150"/>
              <a:gd name="connsiteX2" fmla="*/ 104636 w 324091"/>
              <a:gd name="connsiteY2" fmla="*/ 6830290 h 6853150"/>
              <a:gd name="connsiteX3" fmla="*/ 104635 w 324091"/>
              <a:gd name="connsiteY3" fmla="*/ 6830290 h 6853150"/>
              <a:gd name="connsiteX4" fmla="*/ 81775 w 324091"/>
              <a:gd name="connsiteY4" fmla="*/ 6853150 h 6853150"/>
              <a:gd name="connsiteX5" fmla="*/ 0 w 324091"/>
              <a:gd name="connsiteY5" fmla="*/ 6853150 h 6853150"/>
              <a:gd name="connsiteX6" fmla="*/ 0 w 324091"/>
              <a:gd name="connsiteY6" fmla="*/ 6653902 h 6853150"/>
              <a:gd name="connsiteX7" fmla="*/ 173216 w 324091"/>
              <a:gd name="connsiteY7" fmla="*/ 6653902 h 6853150"/>
              <a:gd name="connsiteX8" fmla="*/ 196076 w 324091"/>
              <a:gd name="connsiteY8" fmla="*/ 6676762 h 6853150"/>
              <a:gd name="connsiteX9" fmla="*/ 196075 w 324091"/>
              <a:gd name="connsiteY9" fmla="*/ 6676762 h 6853150"/>
              <a:gd name="connsiteX10" fmla="*/ 173215 w 324091"/>
              <a:gd name="connsiteY10" fmla="*/ 6699622 h 6853150"/>
              <a:gd name="connsiteX11" fmla="*/ 0 w 324091"/>
              <a:gd name="connsiteY11" fmla="*/ 6699622 h 6853150"/>
              <a:gd name="connsiteX12" fmla="*/ 0 w 324091"/>
              <a:gd name="connsiteY12" fmla="*/ 6500374 h 6853150"/>
              <a:gd name="connsiteX13" fmla="*/ 81776 w 324091"/>
              <a:gd name="connsiteY13" fmla="*/ 6500374 h 6853150"/>
              <a:gd name="connsiteX14" fmla="*/ 104636 w 324091"/>
              <a:gd name="connsiteY14" fmla="*/ 6523234 h 6853150"/>
              <a:gd name="connsiteX15" fmla="*/ 104635 w 324091"/>
              <a:gd name="connsiteY15" fmla="*/ 6523234 h 6853150"/>
              <a:gd name="connsiteX16" fmla="*/ 81775 w 324091"/>
              <a:gd name="connsiteY16" fmla="*/ 6546094 h 6853150"/>
              <a:gd name="connsiteX17" fmla="*/ 0 w 324091"/>
              <a:gd name="connsiteY17" fmla="*/ 6546094 h 6853150"/>
              <a:gd name="connsiteX18" fmla="*/ 0 w 324091"/>
              <a:gd name="connsiteY18" fmla="*/ 6302591 h 6853150"/>
              <a:gd name="connsiteX19" fmla="*/ 279104 w 324091"/>
              <a:gd name="connsiteY19" fmla="*/ 6302591 h 6853150"/>
              <a:gd name="connsiteX20" fmla="*/ 324091 w 324091"/>
              <a:gd name="connsiteY20" fmla="*/ 6347578 h 6853150"/>
              <a:gd name="connsiteX21" fmla="*/ 279104 w 324091"/>
              <a:gd name="connsiteY21" fmla="*/ 6392565 h 6853150"/>
              <a:gd name="connsiteX22" fmla="*/ 0 w 324091"/>
              <a:gd name="connsiteY22" fmla="*/ 6392565 h 6853150"/>
              <a:gd name="connsiteX23" fmla="*/ 0 w 324091"/>
              <a:gd name="connsiteY23" fmla="*/ 6124755 h 6853150"/>
              <a:gd name="connsiteX24" fmla="*/ 81776 w 324091"/>
              <a:gd name="connsiteY24" fmla="*/ 6124755 h 6853150"/>
              <a:gd name="connsiteX25" fmla="*/ 104636 w 324091"/>
              <a:gd name="connsiteY25" fmla="*/ 6147615 h 6853150"/>
              <a:gd name="connsiteX26" fmla="*/ 104635 w 324091"/>
              <a:gd name="connsiteY26" fmla="*/ 6147615 h 6853150"/>
              <a:gd name="connsiteX27" fmla="*/ 81775 w 324091"/>
              <a:gd name="connsiteY27" fmla="*/ 6170475 h 6853150"/>
              <a:gd name="connsiteX28" fmla="*/ 0 w 324091"/>
              <a:gd name="connsiteY28" fmla="*/ 6170475 h 6853150"/>
              <a:gd name="connsiteX29" fmla="*/ 0 w 324091"/>
              <a:gd name="connsiteY29" fmla="*/ 5971227 h 6853150"/>
              <a:gd name="connsiteX30" fmla="*/ 173216 w 324091"/>
              <a:gd name="connsiteY30" fmla="*/ 5971227 h 6853150"/>
              <a:gd name="connsiteX31" fmla="*/ 196076 w 324091"/>
              <a:gd name="connsiteY31" fmla="*/ 5994087 h 6853150"/>
              <a:gd name="connsiteX32" fmla="*/ 196075 w 324091"/>
              <a:gd name="connsiteY32" fmla="*/ 5994087 h 6853150"/>
              <a:gd name="connsiteX33" fmla="*/ 173215 w 324091"/>
              <a:gd name="connsiteY33" fmla="*/ 6016947 h 6853150"/>
              <a:gd name="connsiteX34" fmla="*/ 0 w 324091"/>
              <a:gd name="connsiteY34" fmla="*/ 6016947 h 6853150"/>
              <a:gd name="connsiteX35" fmla="*/ 0 w 324091"/>
              <a:gd name="connsiteY35" fmla="*/ 5817699 h 6853150"/>
              <a:gd name="connsiteX36" fmla="*/ 81776 w 324091"/>
              <a:gd name="connsiteY36" fmla="*/ 5817699 h 6853150"/>
              <a:gd name="connsiteX37" fmla="*/ 104636 w 324091"/>
              <a:gd name="connsiteY37" fmla="*/ 5840559 h 6853150"/>
              <a:gd name="connsiteX38" fmla="*/ 104635 w 324091"/>
              <a:gd name="connsiteY38" fmla="*/ 5840559 h 6853150"/>
              <a:gd name="connsiteX39" fmla="*/ 81775 w 324091"/>
              <a:gd name="connsiteY39" fmla="*/ 5863419 h 6853150"/>
              <a:gd name="connsiteX40" fmla="*/ 0 w 324091"/>
              <a:gd name="connsiteY40" fmla="*/ 5863419 h 6853150"/>
              <a:gd name="connsiteX41" fmla="*/ 0 w 324091"/>
              <a:gd name="connsiteY41" fmla="*/ 5619916 h 6853150"/>
              <a:gd name="connsiteX42" fmla="*/ 279104 w 324091"/>
              <a:gd name="connsiteY42" fmla="*/ 5619916 h 6853150"/>
              <a:gd name="connsiteX43" fmla="*/ 324091 w 324091"/>
              <a:gd name="connsiteY43" fmla="*/ 5664903 h 6853150"/>
              <a:gd name="connsiteX44" fmla="*/ 279104 w 324091"/>
              <a:gd name="connsiteY44" fmla="*/ 5709890 h 6853150"/>
              <a:gd name="connsiteX45" fmla="*/ 0 w 324091"/>
              <a:gd name="connsiteY45" fmla="*/ 5709890 h 6853150"/>
              <a:gd name="connsiteX46" fmla="*/ 0 w 324091"/>
              <a:gd name="connsiteY46" fmla="*/ 5442077 h 6853150"/>
              <a:gd name="connsiteX47" fmla="*/ 81776 w 324091"/>
              <a:gd name="connsiteY47" fmla="*/ 5442077 h 6853150"/>
              <a:gd name="connsiteX48" fmla="*/ 104636 w 324091"/>
              <a:gd name="connsiteY48" fmla="*/ 5464937 h 6853150"/>
              <a:gd name="connsiteX49" fmla="*/ 104635 w 324091"/>
              <a:gd name="connsiteY49" fmla="*/ 5464937 h 6853150"/>
              <a:gd name="connsiteX50" fmla="*/ 81775 w 324091"/>
              <a:gd name="connsiteY50" fmla="*/ 5487797 h 6853150"/>
              <a:gd name="connsiteX51" fmla="*/ 0 w 324091"/>
              <a:gd name="connsiteY51" fmla="*/ 5487797 h 6853150"/>
              <a:gd name="connsiteX52" fmla="*/ 0 w 324091"/>
              <a:gd name="connsiteY52" fmla="*/ 5288549 h 6853150"/>
              <a:gd name="connsiteX53" fmla="*/ 173216 w 324091"/>
              <a:gd name="connsiteY53" fmla="*/ 5288549 h 6853150"/>
              <a:gd name="connsiteX54" fmla="*/ 196076 w 324091"/>
              <a:gd name="connsiteY54" fmla="*/ 5311409 h 6853150"/>
              <a:gd name="connsiteX55" fmla="*/ 196075 w 324091"/>
              <a:gd name="connsiteY55" fmla="*/ 5311409 h 6853150"/>
              <a:gd name="connsiteX56" fmla="*/ 173215 w 324091"/>
              <a:gd name="connsiteY56" fmla="*/ 5334269 h 6853150"/>
              <a:gd name="connsiteX57" fmla="*/ 0 w 324091"/>
              <a:gd name="connsiteY57" fmla="*/ 5334269 h 6853150"/>
              <a:gd name="connsiteX58" fmla="*/ 0 w 324091"/>
              <a:gd name="connsiteY58" fmla="*/ 5135021 h 6853150"/>
              <a:gd name="connsiteX59" fmla="*/ 81776 w 324091"/>
              <a:gd name="connsiteY59" fmla="*/ 5135021 h 6853150"/>
              <a:gd name="connsiteX60" fmla="*/ 104636 w 324091"/>
              <a:gd name="connsiteY60" fmla="*/ 5157881 h 6853150"/>
              <a:gd name="connsiteX61" fmla="*/ 104635 w 324091"/>
              <a:gd name="connsiteY61" fmla="*/ 5157881 h 6853150"/>
              <a:gd name="connsiteX62" fmla="*/ 81775 w 324091"/>
              <a:gd name="connsiteY62" fmla="*/ 5180741 h 6853150"/>
              <a:gd name="connsiteX63" fmla="*/ 0 w 324091"/>
              <a:gd name="connsiteY63" fmla="*/ 5180741 h 6853150"/>
              <a:gd name="connsiteX64" fmla="*/ 0 w 324091"/>
              <a:gd name="connsiteY64" fmla="*/ 4937238 h 6853150"/>
              <a:gd name="connsiteX65" fmla="*/ 279104 w 324091"/>
              <a:gd name="connsiteY65" fmla="*/ 4937238 h 6853150"/>
              <a:gd name="connsiteX66" fmla="*/ 324091 w 324091"/>
              <a:gd name="connsiteY66" fmla="*/ 4982225 h 6853150"/>
              <a:gd name="connsiteX67" fmla="*/ 279104 w 324091"/>
              <a:gd name="connsiteY67" fmla="*/ 5027212 h 6853150"/>
              <a:gd name="connsiteX68" fmla="*/ 0 w 324091"/>
              <a:gd name="connsiteY68" fmla="*/ 5027212 h 6853150"/>
              <a:gd name="connsiteX69" fmla="*/ 0 w 324091"/>
              <a:gd name="connsiteY69" fmla="*/ 4759399 h 6853150"/>
              <a:gd name="connsiteX70" fmla="*/ 81776 w 324091"/>
              <a:gd name="connsiteY70" fmla="*/ 4759399 h 6853150"/>
              <a:gd name="connsiteX71" fmla="*/ 104636 w 324091"/>
              <a:gd name="connsiteY71" fmla="*/ 4782259 h 6853150"/>
              <a:gd name="connsiteX72" fmla="*/ 104635 w 324091"/>
              <a:gd name="connsiteY72" fmla="*/ 4782259 h 6853150"/>
              <a:gd name="connsiteX73" fmla="*/ 81775 w 324091"/>
              <a:gd name="connsiteY73" fmla="*/ 4805119 h 6853150"/>
              <a:gd name="connsiteX74" fmla="*/ 0 w 324091"/>
              <a:gd name="connsiteY74" fmla="*/ 4805119 h 6853150"/>
              <a:gd name="connsiteX75" fmla="*/ 0 w 324091"/>
              <a:gd name="connsiteY75" fmla="*/ 4605871 h 6853150"/>
              <a:gd name="connsiteX76" fmla="*/ 173216 w 324091"/>
              <a:gd name="connsiteY76" fmla="*/ 4605871 h 6853150"/>
              <a:gd name="connsiteX77" fmla="*/ 196076 w 324091"/>
              <a:gd name="connsiteY77" fmla="*/ 4628731 h 6853150"/>
              <a:gd name="connsiteX78" fmla="*/ 196075 w 324091"/>
              <a:gd name="connsiteY78" fmla="*/ 4628731 h 6853150"/>
              <a:gd name="connsiteX79" fmla="*/ 173215 w 324091"/>
              <a:gd name="connsiteY79" fmla="*/ 4651591 h 6853150"/>
              <a:gd name="connsiteX80" fmla="*/ 0 w 324091"/>
              <a:gd name="connsiteY80" fmla="*/ 4651591 h 6853150"/>
              <a:gd name="connsiteX81" fmla="*/ 0 w 324091"/>
              <a:gd name="connsiteY81" fmla="*/ 4452343 h 6853150"/>
              <a:gd name="connsiteX82" fmla="*/ 81776 w 324091"/>
              <a:gd name="connsiteY82" fmla="*/ 4452343 h 6853150"/>
              <a:gd name="connsiteX83" fmla="*/ 104636 w 324091"/>
              <a:gd name="connsiteY83" fmla="*/ 4475203 h 6853150"/>
              <a:gd name="connsiteX84" fmla="*/ 104635 w 324091"/>
              <a:gd name="connsiteY84" fmla="*/ 4475203 h 6853150"/>
              <a:gd name="connsiteX85" fmla="*/ 81775 w 324091"/>
              <a:gd name="connsiteY85" fmla="*/ 4498063 h 6853150"/>
              <a:gd name="connsiteX86" fmla="*/ 0 w 324091"/>
              <a:gd name="connsiteY86" fmla="*/ 4498063 h 6853150"/>
              <a:gd name="connsiteX87" fmla="*/ 0 w 324091"/>
              <a:gd name="connsiteY87" fmla="*/ 4254560 h 6853150"/>
              <a:gd name="connsiteX88" fmla="*/ 279104 w 324091"/>
              <a:gd name="connsiteY88" fmla="*/ 4254560 h 6853150"/>
              <a:gd name="connsiteX89" fmla="*/ 324091 w 324091"/>
              <a:gd name="connsiteY89" fmla="*/ 4299547 h 6853150"/>
              <a:gd name="connsiteX90" fmla="*/ 279104 w 324091"/>
              <a:gd name="connsiteY90" fmla="*/ 4344534 h 6853150"/>
              <a:gd name="connsiteX91" fmla="*/ 0 w 324091"/>
              <a:gd name="connsiteY91" fmla="*/ 4344534 h 6853150"/>
              <a:gd name="connsiteX92" fmla="*/ 0 w 324091"/>
              <a:gd name="connsiteY92" fmla="*/ 4076721 h 6853150"/>
              <a:gd name="connsiteX93" fmla="*/ 81776 w 324091"/>
              <a:gd name="connsiteY93" fmla="*/ 4076721 h 6853150"/>
              <a:gd name="connsiteX94" fmla="*/ 104636 w 324091"/>
              <a:gd name="connsiteY94" fmla="*/ 4099581 h 6853150"/>
              <a:gd name="connsiteX95" fmla="*/ 104635 w 324091"/>
              <a:gd name="connsiteY95" fmla="*/ 4099581 h 6853150"/>
              <a:gd name="connsiteX96" fmla="*/ 81775 w 324091"/>
              <a:gd name="connsiteY96" fmla="*/ 4122441 h 6853150"/>
              <a:gd name="connsiteX97" fmla="*/ 0 w 324091"/>
              <a:gd name="connsiteY97" fmla="*/ 4122441 h 6853150"/>
              <a:gd name="connsiteX98" fmla="*/ 0 w 324091"/>
              <a:gd name="connsiteY98" fmla="*/ 3923193 h 6853150"/>
              <a:gd name="connsiteX99" fmla="*/ 173216 w 324091"/>
              <a:gd name="connsiteY99" fmla="*/ 3923193 h 6853150"/>
              <a:gd name="connsiteX100" fmla="*/ 196076 w 324091"/>
              <a:gd name="connsiteY100" fmla="*/ 3946053 h 6853150"/>
              <a:gd name="connsiteX101" fmla="*/ 196075 w 324091"/>
              <a:gd name="connsiteY101" fmla="*/ 3946053 h 6853150"/>
              <a:gd name="connsiteX102" fmla="*/ 173215 w 324091"/>
              <a:gd name="connsiteY102" fmla="*/ 3968913 h 6853150"/>
              <a:gd name="connsiteX103" fmla="*/ 0 w 324091"/>
              <a:gd name="connsiteY103" fmla="*/ 3968913 h 6853150"/>
              <a:gd name="connsiteX104" fmla="*/ 0 w 324091"/>
              <a:gd name="connsiteY104" fmla="*/ 3769665 h 6853150"/>
              <a:gd name="connsiteX105" fmla="*/ 81776 w 324091"/>
              <a:gd name="connsiteY105" fmla="*/ 3769665 h 6853150"/>
              <a:gd name="connsiteX106" fmla="*/ 104636 w 324091"/>
              <a:gd name="connsiteY106" fmla="*/ 3792525 h 6853150"/>
              <a:gd name="connsiteX107" fmla="*/ 104635 w 324091"/>
              <a:gd name="connsiteY107" fmla="*/ 3792525 h 6853150"/>
              <a:gd name="connsiteX108" fmla="*/ 81775 w 324091"/>
              <a:gd name="connsiteY108" fmla="*/ 3815385 h 6853150"/>
              <a:gd name="connsiteX109" fmla="*/ 0 w 324091"/>
              <a:gd name="connsiteY109" fmla="*/ 3815385 h 6853150"/>
              <a:gd name="connsiteX110" fmla="*/ 0 w 324091"/>
              <a:gd name="connsiteY110" fmla="*/ 3571882 h 6853150"/>
              <a:gd name="connsiteX111" fmla="*/ 279104 w 324091"/>
              <a:gd name="connsiteY111" fmla="*/ 3571882 h 6853150"/>
              <a:gd name="connsiteX112" fmla="*/ 324091 w 324091"/>
              <a:gd name="connsiteY112" fmla="*/ 3616869 h 6853150"/>
              <a:gd name="connsiteX113" fmla="*/ 279104 w 324091"/>
              <a:gd name="connsiteY113" fmla="*/ 3661856 h 6853150"/>
              <a:gd name="connsiteX114" fmla="*/ 0 w 324091"/>
              <a:gd name="connsiteY114" fmla="*/ 3661856 h 6853150"/>
              <a:gd name="connsiteX115" fmla="*/ 0 w 324091"/>
              <a:gd name="connsiteY115" fmla="*/ 3394043 h 6853150"/>
              <a:gd name="connsiteX116" fmla="*/ 81776 w 324091"/>
              <a:gd name="connsiteY116" fmla="*/ 3394043 h 6853150"/>
              <a:gd name="connsiteX117" fmla="*/ 104636 w 324091"/>
              <a:gd name="connsiteY117" fmla="*/ 3416905 h 6853150"/>
              <a:gd name="connsiteX118" fmla="*/ 104635 w 324091"/>
              <a:gd name="connsiteY118" fmla="*/ 3416905 h 6853150"/>
              <a:gd name="connsiteX119" fmla="*/ 81775 w 324091"/>
              <a:gd name="connsiteY119" fmla="*/ 3439763 h 6853150"/>
              <a:gd name="connsiteX120" fmla="*/ 0 w 324091"/>
              <a:gd name="connsiteY120" fmla="*/ 3439763 h 6853150"/>
              <a:gd name="connsiteX121" fmla="*/ 0 w 324091"/>
              <a:gd name="connsiteY121" fmla="*/ 3240516 h 6853150"/>
              <a:gd name="connsiteX122" fmla="*/ 173216 w 324091"/>
              <a:gd name="connsiteY122" fmla="*/ 3240516 h 6853150"/>
              <a:gd name="connsiteX123" fmla="*/ 196076 w 324091"/>
              <a:gd name="connsiteY123" fmla="*/ 3263376 h 6853150"/>
              <a:gd name="connsiteX124" fmla="*/ 196075 w 324091"/>
              <a:gd name="connsiteY124" fmla="*/ 3263376 h 6853150"/>
              <a:gd name="connsiteX125" fmla="*/ 173215 w 324091"/>
              <a:gd name="connsiteY125" fmla="*/ 3286236 h 6853150"/>
              <a:gd name="connsiteX126" fmla="*/ 0 w 324091"/>
              <a:gd name="connsiteY126" fmla="*/ 3286236 h 6853150"/>
              <a:gd name="connsiteX127" fmla="*/ 0 w 324091"/>
              <a:gd name="connsiteY127" fmla="*/ 3086989 h 6853150"/>
              <a:gd name="connsiteX128" fmla="*/ 81776 w 324091"/>
              <a:gd name="connsiteY128" fmla="*/ 3086989 h 6853150"/>
              <a:gd name="connsiteX129" fmla="*/ 104636 w 324091"/>
              <a:gd name="connsiteY129" fmla="*/ 3109849 h 6853150"/>
              <a:gd name="connsiteX130" fmla="*/ 104635 w 324091"/>
              <a:gd name="connsiteY130" fmla="*/ 3109849 h 6853150"/>
              <a:gd name="connsiteX131" fmla="*/ 81775 w 324091"/>
              <a:gd name="connsiteY131" fmla="*/ 3132709 h 6853150"/>
              <a:gd name="connsiteX132" fmla="*/ 0 w 324091"/>
              <a:gd name="connsiteY132" fmla="*/ 3132709 h 6853150"/>
              <a:gd name="connsiteX133" fmla="*/ 0 w 324091"/>
              <a:gd name="connsiteY133" fmla="*/ 2889206 h 6853150"/>
              <a:gd name="connsiteX134" fmla="*/ 279104 w 324091"/>
              <a:gd name="connsiteY134" fmla="*/ 2889206 h 6853150"/>
              <a:gd name="connsiteX135" fmla="*/ 324091 w 324091"/>
              <a:gd name="connsiteY135" fmla="*/ 2934194 h 6853150"/>
              <a:gd name="connsiteX136" fmla="*/ 279104 w 324091"/>
              <a:gd name="connsiteY136" fmla="*/ 2979180 h 6853150"/>
              <a:gd name="connsiteX137" fmla="*/ 0 w 324091"/>
              <a:gd name="connsiteY137" fmla="*/ 2979180 h 6853150"/>
              <a:gd name="connsiteX138" fmla="*/ 0 w 324091"/>
              <a:gd name="connsiteY138" fmla="*/ 2711367 h 6853150"/>
              <a:gd name="connsiteX139" fmla="*/ 81776 w 324091"/>
              <a:gd name="connsiteY139" fmla="*/ 2711367 h 6853150"/>
              <a:gd name="connsiteX140" fmla="*/ 104636 w 324091"/>
              <a:gd name="connsiteY140" fmla="*/ 2734227 h 6853150"/>
              <a:gd name="connsiteX141" fmla="*/ 104635 w 324091"/>
              <a:gd name="connsiteY141" fmla="*/ 2734227 h 6853150"/>
              <a:gd name="connsiteX142" fmla="*/ 81775 w 324091"/>
              <a:gd name="connsiteY142" fmla="*/ 2757087 h 6853150"/>
              <a:gd name="connsiteX143" fmla="*/ 0 w 324091"/>
              <a:gd name="connsiteY143" fmla="*/ 2757087 h 6853150"/>
              <a:gd name="connsiteX144" fmla="*/ 0 w 324091"/>
              <a:gd name="connsiteY144" fmla="*/ 2557839 h 6853150"/>
              <a:gd name="connsiteX145" fmla="*/ 173216 w 324091"/>
              <a:gd name="connsiteY145" fmla="*/ 2557839 h 6853150"/>
              <a:gd name="connsiteX146" fmla="*/ 196076 w 324091"/>
              <a:gd name="connsiteY146" fmla="*/ 2580699 h 6853150"/>
              <a:gd name="connsiteX147" fmla="*/ 196075 w 324091"/>
              <a:gd name="connsiteY147" fmla="*/ 2580699 h 6853150"/>
              <a:gd name="connsiteX148" fmla="*/ 173215 w 324091"/>
              <a:gd name="connsiteY148" fmla="*/ 2603559 h 6853150"/>
              <a:gd name="connsiteX149" fmla="*/ 0 w 324091"/>
              <a:gd name="connsiteY149" fmla="*/ 2603559 h 6853150"/>
              <a:gd name="connsiteX150" fmla="*/ 0 w 324091"/>
              <a:gd name="connsiteY150" fmla="*/ 2404312 h 6853150"/>
              <a:gd name="connsiteX151" fmla="*/ 81776 w 324091"/>
              <a:gd name="connsiteY151" fmla="*/ 2404312 h 6853150"/>
              <a:gd name="connsiteX152" fmla="*/ 104636 w 324091"/>
              <a:gd name="connsiteY152" fmla="*/ 2427171 h 6853150"/>
              <a:gd name="connsiteX153" fmla="*/ 104635 w 324091"/>
              <a:gd name="connsiteY153" fmla="*/ 2427171 h 6853150"/>
              <a:gd name="connsiteX154" fmla="*/ 81775 w 324091"/>
              <a:gd name="connsiteY154" fmla="*/ 2450032 h 6853150"/>
              <a:gd name="connsiteX155" fmla="*/ 0 w 324091"/>
              <a:gd name="connsiteY155" fmla="*/ 2450032 h 6853150"/>
              <a:gd name="connsiteX156" fmla="*/ 0 w 324091"/>
              <a:gd name="connsiteY156" fmla="*/ 2206528 h 6853150"/>
              <a:gd name="connsiteX157" fmla="*/ 279104 w 324091"/>
              <a:gd name="connsiteY157" fmla="*/ 2206528 h 6853150"/>
              <a:gd name="connsiteX158" fmla="*/ 324091 w 324091"/>
              <a:gd name="connsiteY158" fmla="*/ 2251515 h 6853150"/>
              <a:gd name="connsiteX159" fmla="*/ 279104 w 324091"/>
              <a:gd name="connsiteY159" fmla="*/ 2296503 h 6853150"/>
              <a:gd name="connsiteX160" fmla="*/ 0 w 324091"/>
              <a:gd name="connsiteY160" fmla="*/ 2296503 h 6853150"/>
              <a:gd name="connsiteX161" fmla="*/ 0 w 324091"/>
              <a:gd name="connsiteY161" fmla="*/ 2028689 h 6853150"/>
              <a:gd name="connsiteX162" fmla="*/ 81776 w 324091"/>
              <a:gd name="connsiteY162" fmla="*/ 2028689 h 6853150"/>
              <a:gd name="connsiteX163" fmla="*/ 104636 w 324091"/>
              <a:gd name="connsiteY163" fmla="*/ 2051550 h 6853150"/>
              <a:gd name="connsiteX164" fmla="*/ 104635 w 324091"/>
              <a:gd name="connsiteY164" fmla="*/ 2051550 h 6853150"/>
              <a:gd name="connsiteX165" fmla="*/ 81775 w 324091"/>
              <a:gd name="connsiteY165" fmla="*/ 2074409 h 6853150"/>
              <a:gd name="connsiteX166" fmla="*/ 0 w 324091"/>
              <a:gd name="connsiteY166" fmla="*/ 2074409 h 6853150"/>
              <a:gd name="connsiteX167" fmla="*/ 0 w 324091"/>
              <a:gd name="connsiteY167" fmla="*/ 1875162 h 6853150"/>
              <a:gd name="connsiteX168" fmla="*/ 173216 w 324091"/>
              <a:gd name="connsiteY168" fmla="*/ 1875162 h 6853150"/>
              <a:gd name="connsiteX169" fmla="*/ 196076 w 324091"/>
              <a:gd name="connsiteY169" fmla="*/ 1898022 h 6853150"/>
              <a:gd name="connsiteX170" fmla="*/ 196075 w 324091"/>
              <a:gd name="connsiteY170" fmla="*/ 1898022 h 6853150"/>
              <a:gd name="connsiteX171" fmla="*/ 173215 w 324091"/>
              <a:gd name="connsiteY171" fmla="*/ 1920882 h 6853150"/>
              <a:gd name="connsiteX172" fmla="*/ 0 w 324091"/>
              <a:gd name="connsiteY172" fmla="*/ 1920882 h 6853150"/>
              <a:gd name="connsiteX173" fmla="*/ 0 w 324091"/>
              <a:gd name="connsiteY173" fmla="*/ 1721635 h 6853150"/>
              <a:gd name="connsiteX174" fmla="*/ 81776 w 324091"/>
              <a:gd name="connsiteY174" fmla="*/ 1721635 h 6853150"/>
              <a:gd name="connsiteX175" fmla="*/ 104636 w 324091"/>
              <a:gd name="connsiteY175" fmla="*/ 1744495 h 6853150"/>
              <a:gd name="connsiteX176" fmla="*/ 104635 w 324091"/>
              <a:gd name="connsiteY176" fmla="*/ 1744495 h 6853150"/>
              <a:gd name="connsiteX177" fmla="*/ 81775 w 324091"/>
              <a:gd name="connsiteY177" fmla="*/ 1767355 h 6853150"/>
              <a:gd name="connsiteX178" fmla="*/ 0 w 324091"/>
              <a:gd name="connsiteY178" fmla="*/ 1767355 h 6853150"/>
              <a:gd name="connsiteX179" fmla="*/ 0 w 324091"/>
              <a:gd name="connsiteY179" fmla="*/ 1523851 h 6853150"/>
              <a:gd name="connsiteX180" fmla="*/ 279104 w 324091"/>
              <a:gd name="connsiteY180" fmla="*/ 1523851 h 6853150"/>
              <a:gd name="connsiteX181" fmla="*/ 324091 w 324091"/>
              <a:gd name="connsiteY181" fmla="*/ 1568838 h 6853150"/>
              <a:gd name="connsiteX182" fmla="*/ 279104 w 324091"/>
              <a:gd name="connsiteY182" fmla="*/ 1613826 h 6853150"/>
              <a:gd name="connsiteX183" fmla="*/ 0 w 324091"/>
              <a:gd name="connsiteY183" fmla="*/ 1613826 h 6853150"/>
              <a:gd name="connsiteX184" fmla="*/ 0 w 324091"/>
              <a:gd name="connsiteY184" fmla="*/ 1346012 h 6853150"/>
              <a:gd name="connsiteX185" fmla="*/ 81776 w 324091"/>
              <a:gd name="connsiteY185" fmla="*/ 1346012 h 6853150"/>
              <a:gd name="connsiteX186" fmla="*/ 104636 w 324091"/>
              <a:gd name="connsiteY186" fmla="*/ 1368872 h 6853150"/>
              <a:gd name="connsiteX187" fmla="*/ 104635 w 324091"/>
              <a:gd name="connsiteY187" fmla="*/ 1368872 h 6853150"/>
              <a:gd name="connsiteX188" fmla="*/ 81775 w 324091"/>
              <a:gd name="connsiteY188" fmla="*/ 1391732 h 6853150"/>
              <a:gd name="connsiteX189" fmla="*/ 0 w 324091"/>
              <a:gd name="connsiteY189" fmla="*/ 1391732 h 6853150"/>
              <a:gd name="connsiteX190" fmla="*/ 0 w 324091"/>
              <a:gd name="connsiteY190" fmla="*/ 1192484 h 6853150"/>
              <a:gd name="connsiteX191" fmla="*/ 173216 w 324091"/>
              <a:gd name="connsiteY191" fmla="*/ 1192484 h 6853150"/>
              <a:gd name="connsiteX192" fmla="*/ 196076 w 324091"/>
              <a:gd name="connsiteY192" fmla="*/ 1215344 h 6853150"/>
              <a:gd name="connsiteX193" fmla="*/ 196075 w 324091"/>
              <a:gd name="connsiteY193" fmla="*/ 1215344 h 6853150"/>
              <a:gd name="connsiteX194" fmla="*/ 173215 w 324091"/>
              <a:gd name="connsiteY194" fmla="*/ 1238205 h 6853150"/>
              <a:gd name="connsiteX195" fmla="*/ 0 w 324091"/>
              <a:gd name="connsiteY195" fmla="*/ 1238205 h 6853150"/>
              <a:gd name="connsiteX196" fmla="*/ 0 w 324091"/>
              <a:gd name="connsiteY196" fmla="*/ 1038956 h 6853150"/>
              <a:gd name="connsiteX197" fmla="*/ 81776 w 324091"/>
              <a:gd name="connsiteY197" fmla="*/ 1038956 h 6853150"/>
              <a:gd name="connsiteX198" fmla="*/ 104636 w 324091"/>
              <a:gd name="connsiteY198" fmla="*/ 1061817 h 6853150"/>
              <a:gd name="connsiteX199" fmla="*/ 104635 w 324091"/>
              <a:gd name="connsiteY199" fmla="*/ 1061817 h 6853150"/>
              <a:gd name="connsiteX200" fmla="*/ 81775 w 324091"/>
              <a:gd name="connsiteY200" fmla="*/ 1084677 h 6853150"/>
              <a:gd name="connsiteX201" fmla="*/ 0 w 324091"/>
              <a:gd name="connsiteY201" fmla="*/ 1084677 h 6853150"/>
              <a:gd name="connsiteX202" fmla="*/ 0 w 324091"/>
              <a:gd name="connsiteY202" fmla="*/ 841173 h 6853150"/>
              <a:gd name="connsiteX203" fmla="*/ 279104 w 324091"/>
              <a:gd name="connsiteY203" fmla="*/ 841173 h 6853150"/>
              <a:gd name="connsiteX204" fmla="*/ 324091 w 324091"/>
              <a:gd name="connsiteY204" fmla="*/ 886160 h 6853150"/>
              <a:gd name="connsiteX205" fmla="*/ 279104 w 324091"/>
              <a:gd name="connsiteY205" fmla="*/ 931147 h 6853150"/>
              <a:gd name="connsiteX206" fmla="*/ 0 w 324091"/>
              <a:gd name="connsiteY206" fmla="*/ 931147 h 6853150"/>
              <a:gd name="connsiteX207" fmla="*/ 0 w 324091"/>
              <a:gd name="connsiteY207" fmla="*/ 663334 h 6853150"/>
              <a:gd name="connsiteX208" fmla="*/ 81776 w 324091"/>
              <a:gd name="connsiteY208" fmla="*/ 663334 h 6853150"/>
              <a:gd name="connsiteX209" fmla="*/ 104636 w 324091"/>
              <a:gd name="connsiteY209" fmla="*/ 686194 h 6853150"/>
              <a:gd name="connsiteX210" fmla="*/ 104635 w 324091"/>
              <a:gd name="connsiteY210" fmla="*/ 686194 h 6853150"/>
              <a:gd name="connsiteX211" fmla="*/ 81775 w 324091"/>
              <a:gd name="connsiteY211" fmla="*/ 709054 h 6853150"/>
              <a:gd name="connsiteX212" fmla="*/ 0 w 324091"/>
              <a:gd name="connsiteY212" fmla="*/ 709054 h 6853150"/>
              <a:gd name="connsiteX213" fmla="*/ 0 w 324091"/>
              <a:gd name="connsiteY213" fmla="*/ 509806 h 6853150"/>
              <a:gd name="connsiteX214" fmla="*/ 173216 w 324091"/>
              <a:gd name="connsiteY214" fmla="*/ 509806 h 6853150"/>
              <a:gd name="connsiteX215" fmla="*/ 196076 w 324091"/>
              <a:gd name="connsiteY215" fmla="*/ 532666 h 6853150"/>
              <a:gd name="connsiteX216" fmla="*/ 196075 w 324091"/>
              <a:gd name="connsiteY216" fmla="*/ 532666 h 6853150"/>
              <a:gd name="connsiteX217" fmla="*/ 173215 w 324091"/>
              <a:gd name="connsiteY217" fmla="*/ 555526 h 6853150"/>
              <a:gd name="connsiteX218" fmla="*/ 0 w 324091"/>
              <a:gd name="connsiteY218" fmla="*/ 555526 h 6853150"/>
              <a:gd name="connsiteX219" fmla="*/ 0 w 324091"/>
              <a:gd name="connsiteY219" fmla="*/ 356279 h 6853150"/>
              <a:gd name="connsiteX220" fmla="*/ 81776 w 324091"/>
              <a:gd name="connsiteY220" fmla="*/ 356279 h 6853150"/>
              <a:gd name="connsiteX221" fmla="*/ 104636 w 324091"/>
              <a:gd name="connsiteY221" fmla="*/ 379139 h 6853150"/>
              <a:gd name="connsiteX222" fmla="*/ 104635 w 324091"/>
              <a:gd name="connsiteY222" fmla="*/ 379139 h 6853150"/>
              <a:gd name="connsiteX223" fmla="*/ 81775 w 324091"/>
              <a:gd name="connsiteY223" fmla="*/ 401999 h 6853150"/>
              <a:gd name="connsiteX224" fmla="*/ 0 w 324091"/>
              <a:gd name="connsiteY224" fmla="*/ 401999 h 6853150"/>
              <a:gd name="connsiteX225" fmla="*/ 0 w 324091"/>
              <a:gd name="connsiteY225" fmla="*/ 158496 h 6853150"/>
              <a:gd name="connsiteX226" fmla="*/ 279104 w 324091"/>
              <a:gd name="connsiteY226" fmla="*/ 158496 h 6853150"/>
              <a:gd name="connsiteX227" fmla="*/ 324091 w 324091"/>
              <a:gd name="connsiteY227" fmla="*/ 203483 h 6853150"/>
              <a:gd name="connsiteX228" fmla="*/ 279104 w 324091"/>
              <a:gd name="connsiteY228" fmla="*/ 248470 h 6853150"/>
              <a:gd name="connsiteX229" fmla="*/ 0 w 324091"/>
              <a:gd name="connsiteY229" fmla="*/ 248470 h 6853150"/>
              <a:gd name="connsiteX230" fmla="*/ 0 w 324091"/>
              <a:gd name="connsiteY230" fmla="*/ 0 h 6853150"/>
              <a:gd name="connsiteX231" fmla="*/ 81776 w 324091"/>
              <a:gd name="connsiteY231" fmla="*/ 0 h 6853150"/>
              <a:gd name="connsiteX232" fmla="*/ 104636 w 324091"/>
              <a:gd name="connsiteY232" fmla="*/ 22860 h 6853150"/>
              <a:gd name="connsiteX233" fmla="*/ 104635 w 324091"/>
              <a:gd name="connsiteY233" fmla="*/ 22860 h 6853150"/>
              <a:gd name="connsiteX234" fmla="*/ 81775 w 324091"/>
              <a:gd name="connsiteY234" fmla="*/ 45720 h 6853150"/>
              <a:gd name="connsiteX235" fmla="*/ 0 w 324091"/>
              <a:gd name="connsiteY235" fmla="*/ 45720 h 6853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</a:cxnLst>
            <a:rect l="l" t="t" r="r" b="b"/>
            <a:pathLst>
              <a:path w="324091" h="6853150">
                <a:moveTo>
                  <a:pt x="0" y="6807430"/>
                </a:moveTo>
                <a:lnTo>
                  <a:pt x="81776" y="6807430"/>
                </a:lnTo>
                <a:cubicBezTo>
                  <a:pt x="94401" y="6807430"/>
                  <a:pt x="104636" y="6817665"/>
                  <a:pt x="104636" y="6830290"/>
                </a:cubicBezTo>
                <a:lnTo>
                  <a:pt x="104635" y="6830290"/>
                </a:lnTo>
                <a:cubicBezTo>
                  <a:pt x="104635" y="6842915"/>
                  <a:pt x="94400" y="6853150"/>
                  <a:pt x="81775" y="6853150"/>
                </a:cubicBezTo>
                <a:lnTo>
                  <a:pt x="0" y="6853150"/>
                </a:lnTo>
                <a:close/>
                <a:moveTo>
                  <a:pt x="0" y="6653902"/>
                </a:moveTo>
                <a:lnTo>
                  <a:pt x="173216" y="6653902"/>
                </a:lnTo>
                <a:cubicBezTo>
                  <a:pt x="185841" y="6653902"/>
                  <a:pt x="196076" y="6664137"/>
                  <a:pt x="196076" y="6676762"/>
                </a:cubicBezTo>
                <a:lnTo>
                  <a:pt x="196075" y="6676762"/>
                </a:lnTo>
                <a:cubicBezTo>
                  <a:pt x="196075" y="6689387"/>
                  <a:pt x="185840" y="6699622"/>
                  <a:pt x="173215" y="6699622"/>
                </a:cubicBezTo>
                <a:lnTo>
                  <a:pt x="0" y="6699622"/>
                </a:lnTo>
                <a:close/>
                <a:moveTo>
                  <a:pt x="0" y="6500374"/>
                </a:moveTo>
                <a:lnTo>
                  <a:pt x="81776" y="6500374"/>
                </a:lnTo>
                <a:cubicBezTo>
                  <a:pt x="94401" y="6500374"/>
                  <a:pt x="104636" y="6510609"/>
                  <a:pt x="104636" y="6523234"/>
                </a:cubicBezTo>
                <a:lnTo>
                  <a:pt x="104635" y="6523234"/>
                </a:lnTo>
                <a:cubicBezTo>
                  <a:pt x="104635" y="6535859"/>
                  <a:pt x="94400" y="6546094"/>
                  <a:pt x="81775" y="6546094"/>
                </a:cubicBezTo>
                <a:lnTo>
                  <a:pt x="0" y="6546094"/>
                </a:lnTo>
                <a:close/>
                <a:moveTo>
                  <a:pt x="0" y="6302591"/>
                </a:moveTo>
                <a:lnTo>
                  <a:pt x="279104" y="6302591"/>
                </a:lnTo>
                <a:cubicBezTo>
                  <a:pt x="303950" y="6302591"/>
                  <a:pt x="324091" y="6322732"/>
                  <a:pt x="324091" y="6347578"/>
                </a:cubicBezTo>
                <a:cubicBezTo>
                  <a:pt x="324091" y="6372424"/>
                  <a:pt x="303950" y="6392565"/>
                  <a:pt x="279104" y="6392565"/>
                </a:cubicBezTo>
                <a:lnTo>
                  <a:pt x="0" y="6392565"/>
                </a:lnTo>
                <a:close/>
                <a:moveTo>
                  <a:pt x="0" y="6124755"/>
                </a:moveTo>
                <a:lnTo>
                  <a:pt x="81776" y="6124755"/>
                </a:lnTo>
                <a:cubicBezTo>
                  <a:pt x="94401" y="6124755"/>
                  <a:pt x="104636" y="6134990"/>
                  <a:pt x="104636" y="6147615"/>
                </a:cubicBezTo>
                <a:lnTo>
                  <a:pt x="104635" y="6147615"/>
                </a:lnTo>
                <a:cubicBezTo>
                  <a:pt x="104635" y="6160240"/>
                  <a:pt x="94400" y="6170475"/>
                  <a:pt x="81775" y="6170475"/>
                </a:cubicBezTo>
                <a:lnTo>
                  <a:pt x="0" y="6170475"/>
                </a:lnTo>
                <a:close/>
                <a:moveTo>
                  <a:pt x="0" y="5971227"/>
                </a:moveTo>
                <a:lnTo>
                  <a:pt x="173216" y="5971227"/>
                </a:lnTo>
                <a:cubicBezTo>
                  <a:pt x="185841" y="5971227"/>
                  <a:pt x="196076" y="5981462"/>
                  <a:pt x="196076" y="5994087"/>
                </a:cubicBezTo>
                <a:lnTo>
                  <a:pt x="196075" y="5994087"/>
                </a:lnTo>
                <a:cubicBezTo>
                  <a:pt x="196075" y="6006712"/>
                  <a:pt x="185840" y="6016947"/>
                  <a:pt x="173215" y="6016947"/>
                </a:cubicBezTo>
                <a:lnTo>
                  <a:pt x="0" y="6016947"/>
                </a:lnTo>
                <a:close/>
                <a:moveTo>
                  <a:pt x="0" y="5817699"/>
                </a:moveTo>
                <a:lnTo>
                  <a:pt x="81776" y="5817699"/>
                </a:lnTo>
                <a:cubicBezTo>
                  <a:pt x="94401" y="5817699"/>
                  <a:pt x="104636" y="5827934"/>
                  <a:pt x="104636" y="5840559"/>
                </a:cubicBezTo>
                <a:lnTo>
                  <a:pt x="104635" y="5840559"/>
                </a:lnTo>
                <a:cubicBezTo>
                  <a:pt x="104635" y="5853184"/>
                  <a:pt x="94400" y="5863419"/>
                  <a:pt x="81775" y="5863419"/>
                </a:cubicBezTo>
                <a:lnTo>
                  <a:pt x="0" y="5863419"/>
                </a:lnTo>
                <a:close/>
                <a:moveTo>
                  <a:pt x="0" y="5619916"/>
                </a:moveTo>
                <a:lnTo>
                  <a:pt x="279104" y="5619916"/>
                </a:lnTo>
                <a:cubicBezTo>
                  <a:pt x="303950" y="5619916"/>
                  <a:pt x="324091" y="5640057"/>
                  <a:pt x="324091" y="5664903"/>
                </a:cubicBezTo>
                <a:cubicBezTo>
                  <a:pt x="324091" y="5689749"/>
                  <a:pt x="303950" y="5709890"/>
                  <a:pt x="279104" y="5709890"/>
                </a:cubicBezTo>
                <a:lnTo>
                  <a:pt x="0" y="5709890"/>
                </a:lnTo>
                <a:close/>
                <a:moveTo>
                  <a:pt x="0" y="5442077"/>
                </a:moveTo>
                <a:lnTo>
                  <a:pt x="81776" y="5442077"/>
                </a:lnTo>
                <a:cubicBezTo>
                  <a:pt x="94401" y="5442077"/>
                  <a:pt x="104636" y="5452312"/>
                  <a:pt x="104636" y="5464937"/>
                </a:cubicBezTo>
                <a:lnTo>
                  <a:pt x="104635" y="5464937"/>
                </a:lnTo>
                <a:cubicBezTo>
                  <a:pt x="104635" y="5477562"/>
                  <a:pt x="94400" y="5487797"/>
                  <a:pt x="81775" y="5487797"/>
                </a:cubicBezTo>
                <a:lnTo>
                  <a:pt x="0" y="5487797"/>
                </a:lnTo>
                <a:close/>
                <a:moveTo>
                  <a:pt x="0" y="5288549"/>
                </a:moveTo>
                <a:lnTo>
                  <a:pt x="173216" y="5288549"/>
                </a:lnTo>
                <a:cubicBezTo>
                  <a:pt x="185841" y="5288549"/>
                  <a:pt x="196076" y="5298784"/>
                  <a:pt x="196076" y="5311409"/>
                </a:cubicBezTo>
                <a:lnTo>
                  <a:pt x="196075" y="5311409"/>
                </a:lnTo>
                <a:cubicBezTo>
                  <a:pt x="196075" y="5324034"/>
                  <a:pt x="185840" y="5334269"/>
                  <a:pt x="173215" y="5334269"/>
                </a:cubicBezTo>
                <a:lnTo>
                  <a:pt x="0" y="5334269"/>
                </a:lnTo>
                <a:close/>
                <a:moveTo>
                  <a:pt x="0" y="5135021"/>
                </a:moveTo>
                <a:lnTo>
                  <a:pt x="81776" y="5135021"/>
                </a:lnTo>
                <a:cubicBezTo>
                  <a:pt x="94401" y="5135021"/>
                  <a:pt x="104636" y="5145256"/>
                  <a:pt x="104636" y="5157881"/>
                </a:cubicBezTo>
                <a:lnTo>
                  <a:pt x="104635" y="5157881"/>
                </a:lnTo>
                <a:cubicBezTo>
                  <a:pt x="104635" y="5170506"/>
                  <a:pt x="94400" y="5180741"/>
                  <a:pt x="81775" y="5180741"/>
                </a:cubicBezTo>
                <a:lnTo>
                  <a:pt x="0" y="5180741"/>
                </a:lnTo>
                <a:close/>
                <a:moveTo>
                  <a:pt x="0" y="4937238"/>
                </a:moveTo>
                <a:lnTo>
                  <a:pt x="279104" y="4937238"/>
                </a:lnTo>
                <a:cubicBezTo>
                  <a:pt x="303950" y="4937238"/>
                  <a:pt x="324091" y="4957379"/>
                  <a:pt x="324091" y="4982225"/>
                </a:cubicBezTo>
                <a:cubicBezTo>
                  <a:pt x="324091" y="5007071"/>
                  <a:pt x="303950" y="5027212"/>
                  <a:pt x="279104" y="5027212"/>
                </a:cubicBezTo>
                <a:lnTo>
                  <a:pt x="0" y="5027212"/>
                </a:lnTo>
                <a:close/>
                <a:moveTo>
                  <a:pt x="0" y="4759399"/>
                </a:moveTo>
                <a:lnTo>
                  <a:pt x="81776" y="4759399"/>
                </a:lnTo>
                <a:cubicBezTo>
                  <a:pt x="94401" y="4759399"/>
                  <a:pt x="104636" y="4769634"/>
                  <a:pt x="104636" y="4782259"/>
                </a:cubicBezTo>
                <a:lnTo>
                  <a:pt x="104635" y="4782259"/>
                </a:lnTo>
                <a:cubicBezTo>
                  <a:pt x="104635" y="4794884"/>
                  <a:pt x="94400" y="4805119"/>
                  <a:pt x="81775" y="4805119"/>
                </a:cubicBezTo>
                <a:lnTo>
                  <a:pt x="0" y="4805119"/>
                </a:lnTo>
                <a:close/>
                <a:moveTo>
                  <a:pt x="0" y="4605871"/>
                </a:moveTo>
                <a:lnTo>
                  <a:pt x="173216" y="4605871"/>
                </a:lnTo>
                <a:cubicBezTo>
                  <a:pt x="185841" y="4605871"/>
                  <a:pt x="196076" y="4616106"/>
                  <a:pt x="196076" y="4628731"/>
                </a:cubicBezTo>
                <a:lnTo>
                  <a:pt x="196075" y="4628731"/>
                </a:lnTo>
                <a:cubicBezTo>
                  <a:pt x="196075" y="4641356"/>
                  <a:pt x="185840" y="4651591"/>
                  <a:pt x="173215" y="4651591"/>
                </a:cubicBezTo>
                <a:lnTo>
                  <a:pt x="0" y="4651591"/>
                </a:lnTo>
                <a:close/>
                <a:moveTo>
                  <a:pt x="0" y="4452343"/>
                </a:moveTo>
                <a:lnTo>
                  <a:pt x="81776" y="4452343"/>
                </a:lnTo>
                <a:cubicBezTo>
                  <a:pt x="94401" y="4452343"/>
                  <a:pt x="104636" y="4462578"/>
                  <a:pt x="104636" y="4475203"/>
                </a:cubicBezTo>
                <a:lnTo>
                  <a:pt x="104635" y="4475203"/>
                </a:lnTo>
                <a:cubicBezTo>
                  <a:pt x="104635" y="4487828"/>
                  <a:pt x="94400" y="4498063"/>
                  <a:pt x="81775" y="4498063"/>
                </a:cubicBezTo>
                <a:lnTo>
                  <a:pt x="0" y="4498063"/>
                </a:lnTo>
                <a:close/>
                <a:moveTo>
                  <a:pt x="0" y="4254560"/>
                </a:moveTo>
                <a:lnTo>
                  <a:pt x="279104" y="4254560"/>
                </a:lnTo>
                <a:cubicBezTo>
                  <a:pt x="303950" y="4254560"/>
                  <a:pt x="324091" y="4274701"/>
                  <a:pt x="324091" y="4299547"/>
                </a:cubicBezTo>
                <a:cubicBezTo>
                  <a:pt x="324091" y="4324393"/>
                  <a:pt x="303950" y="4344534"/>
                  <a:pt x="279104" y="4344534"/>
                </a:cubicBezTo>
                <a:lnTo>
                  <a:pt x="0" y="4344534"/>
                </a:lnTo>
                <a:close/>
                <a:moveTo>
                  <a:pt x="0" y="4076721"/>
                </a:moveTo>
                <a:lnTo>
                  <a:pt x="81776" y="4076721"/>
                </a:lnTo>
                <a:cubicBezTo>
                  <a:pt x="94401" y="4076721"/>
                  <a:pt x="104636" y="4086956"/>
                  <a:pt x="104636" y="4099581"/>
                </a:cubicBezTo>
                <a:lnTo>
                  <a:pt x="104635" y="4099581"/>
                </a:lnTo>
                <a:cubicBezTo>
                  <a:pt x="104635" y="4112206"/>
                  <a:pt x="94400" y="4122441"/>
                  <a:pt x="81775" y="4122441"/>
                </a:cubicBezTo>
                <a:lnTo>
                  <a:pt x="0" y="4122441"/>
                </a:lnTo>
                <a:close/>
                <a:moveTo>
                  <a:pt x="0" y="3923193"/>
                </a:moveTo>
                <a:lnTo>
                  <a:pt x="173216" y="3923193"/>
                </a:lnTo>
                <a:cubicBezTo>
                  <a:pt x="185841" y="3923193"/>
                  <a:pt x="196076" y="3933428"/>
                  <a:pt x="196076" y="3946053"/>
                </a:cubicBezTo>
                <a:lnTo>
                  <a:pt x="196075" y="3946053"/>
                </a:lnTo>
                <a:cubicBezTo>
                  <a:pt x="196075" y="3958678"/>
                  <a:pt x="185840" y="3968913"/>
                  <a:pt x="173215" y="3968913"/>
                </a:cubicBezTo>
                <a:lnTo>
                  <a:pt x="0" y="3968913"/>
                </a:lnTo>
                <a:close/>
                <a:moveTo>
                  <a:pt x="0" y="3769665"/>
                </a:moveTo>
                <a:lnTo>
                  <a:pt x="81776" y="3769665"/>
                </a:lnTo>
                <a:cubicBezTo>
                  <a:pt x="94401" y="3769665"/>
                  <a:pt x="104636" y="3779900"/>
                  <a:pt x="104636" y="3792525"/>
                </a:cubicBezTo>
                <a:lnTo>
                  <a:pt x="104635" y="3792525"/>
                </a:lnTo>
                <a:cubicBezTo>
                  <a:pt x="104635" y="3805150"/>
                  <a:pt x="94400" y="3815385"/>
                  <a:pt x="81775" y="3815385"/>
                </a:cubicBezTo>
                <a:lnTo>
                  <a:pt x="0" y="3815385"/>
                </a:lnTo>
                <a:close/>
                <a:moveTo>
                  <a:pt x="0" y="3571882"/>
                </a:moveTo>
                <a:lnTo>
                  <a:pt x="279104" y="3571882"/>
                </a:lnTo>
                <a:cubicBezTo>
                  <a:pt x="303950" y="3571882"/>
                  <a:pt x="324091" y="3592023"/>
                  <a:pt x="324091" y="3616869"/>
                </a:cubicBezTo>
                <a:cubicBezTo>
                  <a:pt x="324091" y="3641715"/>
                  <a:pt x="303950" y="3661856"/>
                  <a:pt x="279104" y="3661856"/>
                </a:cubicBezTo>
                <a:lnTo>
                  <a:pt x="0" y="3661856"/>
                </a:lnTo>
                <a:close/>
                <a:moveTo>
                  <a:pt x="0" y="3394043"/>
                </a:moveTo>
                <a:lnTo>
                  <a:pt x="81776" y="3394043"/>
                </a:lnTo>
                <a:cubicBezTo>
                  <a:pt x="94401" y="3394043"/>
                  <a:pt x="104636" y="3404279"/>
                  <a:pt x="104636" y="3416905"/>
                </a:cubicBezTo>
                <a:lnTo>
                  <a:pt x="104635" y="3416905"/>
                </a:lnTo>
                <a:cubicBezTo>
                  <a:pt x="104635" y="3429528"/>
                  <a:pt x="94400" y="3439763"/>
                  <a:pt x="81775" y="3439763"/>
                </a:cubicBezTo>
                <a:lnTo>
                  <a:pt x="0" y="3439763"/>
                </a:lnTo>
                <a:close/>
                <a:moveTo>
                  <a:pt x="0" y="3240516"/>
                </a:moveTo>
                <a:lnTo>
                  <a:pt x="173216" y="3240516"/>
                </a:lnTo>
                <a:cubicBezTo>
                  <a:pt x="185841" y="3240516"/>
                  <a:pt x="196076" y="3250752"/>
                  <a:pt x="196076" y="3263376"/>
                </a:cubicBezTo>
                <a:lnTo>
                  <a:pt x="196075" y="3263376"/>
                </a:lnTo>
                <a:cubicBezTo>
                  <a:pt x="196075" y="3276001"/>
                  <a:pt x="185840" y="3286236"/>
                  <a:pt x="173215" y="3286236"/>
                </a:cubicBezTo>
                <a:lnTo>
                  <a:pt x="0" y="3286236"/>
                </a:lnTo>
                <a:close/>
                <a:moveTo>
                  <a:pt x="0" y="3086989"/>
                </a:moveTo>
                <a:lnTo>
                  <a:pt x="81776" y="3086989"/>
                </a:lnTo>
                <a:cubicBezTo>
                  <a:pt x="94401" y="3086989"/>
                  <a:pt x="104636" y="3097224"/>
                  <a:pt x="104636" y="3109849"/>
                </a:cubicBezTo>
                <a:lnTo>
                  <a:pt x="104635" y="3109849"/>
                </a:lnTo>
                <a:cubicBezTo>
                  <a:pt x="104635" y="3122474"/>
                  <a:pt x="94400" y="3132709"/>
                  <a:pt x="81775" y="3132709"/>
                </a:cubicBezTo>
                <a:lnTo>
                  <a:pt x="0" y="3132709"/>
                </a:lnTo>
                <a:close/>
                <a:moveTo>
                  <a:pt x="0" y="2889206"/>
                </a:moveTo>
                <a:lnTo>
                  <a:pt x="279104" y="2889206"/>
                </a:lnTo>
                <a:cubicBezTo>
                  <a:pt x="303950" y="2889206"/>
                  <a:pt x="324091" y="2909347"/>
                  <a:pt x="324091" y="2934194"/>
                </a:cubicBezTo>
                <a:cubicBezTo>
                  <a:pt x="324091" y="2959039"/>
                  <a:pt x="303950" y="2979180"/>
                  <a:pt x="279104" y="2979180"/>
                </a:cubicBezTo>
                <a:lnTo>
                  <a:pt x="0" y="2979180"/>
                </a:lnTo>
                <a:close/>
                <a:moveTo>
                  <a:pt x="0" y="2711367"/>
                </a:moveTo>
                <a:lnTo>
                  <a:pt x="81776" y="2711367"/>
                </a:lnTo>
                <a:cubicBezTo>
                  <a:pt x="94401" y="2711367"/>
                  <a:pt x="104636" y="2721602"/>
                  <a:pt x="104636" y="2734227"/>
                </a:cubicBezTo>
                <a:lnTo>
                  <a:pt x="104635" y="2734227"/>
                </a:lnTo>
                <a:cubicBezTo>
                  <a:pt x="104635" y="2746852"/>
                  <a:pt x="94400" y="2757087"/>
                  <a:pt x="81775" y="2757087"/>
                </a:cubicBezTo>
                <a:lnTo>
                  <a:pt x="0" y="2757087"/>
                </a:lnTo>
                <a:close/>
                <a:moveTo>
                  <a:pt x="0" y="2557839"/>
                </a:moveTo>
                <a:lnTo>
                  <a:pt x="173216" y="2557839"/>
                </a:lnTo>
                <a:cubicBezTo>
                  <a:pt x="185841" y="2557839"/>
                  <a:pt x="196076" y="2568074"/>
                  <a:pt x="196076" y="2580699"/>
                </a:cubicBezTo>
                <a:lnTo>
                  <a:pt x="196075" y="2580699"/>
                </a:lnTo>
                <a:cubicBezTo>
                  <a:pt x="196075" y="2593324"/>
                  <a:pt x="185840" y="2603559"/>
                  <a:pt x="173215" y="2603559"/>
                </a:cubicBezTo>
                <a:lnTo>
                  <a:pt x="0" y="2603559"/>
                </a:lnTo>
                <a:close/>
                <a:moveTo>
                  <a:pt x="0" y="2404312"/>
                </a:moveTo>
                <a:lnTo>
                  <a:pt x="81776" y="2404312"/>
                </a:lnTo>
                <a:cubicBezTo>
                  <a:pt x="94401" y="2404312"/>
                  <a:pt x="104636" y="2414546"/>
                  <a:pt x="104636" y="2427171"/>
                </a:cubicBezTo>
                <a:lnTo>
                  <a:pt x="104635" y="2427171"/>
                </a:lnTo>
                <a:cubicBezTo>
                  <a:pt x="104635" y="2439796"/>
                  <a:pt x="94400" y="2450032"/>
                  <a:pt x="81775" y="2450032"/>
                </a:cubicBezTo>
                <a:lnTo>
                  <a:pt x="0" y="2450032"/>
                </a:lnTo>
                <a:close/>
                <a:moveTo>
                  <a:pt x="0" y="2206528"/>
                </a:moveTo>
                <a:lnTo>
                  <a:pt x="279104" y="2206528"/>
                </a:lnTo>
                <a:cubicBezTo>
                  <a:pt x="303950" y="2206528"/>
                  <a:pt x="324091" y="2226669"/>
                  <a:pt x="324091" y="2251515"/>
                </a:cubicBezTo>
                <a:cubicBezTo>
                  <a:pt x="324091" y="2276362"/>
                  <a:pt x="303950" y="2296503"/>
                  <a:pt x="279104" y="2296503"/>
                </a:cubicBezTo>
                <a:lnTo>
                  <a:pt x="0" y="2296503"/>
                </a:lnTo>
                <a:close/>
                <a:moveTo>
                  <a:pt x="0" y="2028689"/>
                </a:moveTo>
                <a:lnTo>
                  <a:pt x="81776" y="2028689"/>
                </a:lnTo>
                <a:cubicBezTo>
                  <a:pt x="94401" y="2028689"/>
                  <a:pt x="104636" y="2038925"/>
                  <a:pt x="104636" y="2051550"/>
                </a:cubicBezTo>
                <a:lnTo>
                  <a:pt x="104635" y="2051550"/>
                </a:lnTo>
                <a:cubicBezTo>
                  <a:pt x="104635" y="2064175"/>
                  <a:pt x="94400" y="2074409"/>
                  <a:pt x="81775" y="2074409"/>
                </a:cubicBezTo>
                <a:lnTo>
                  <a:pt x="0" y="2074409"/>
                </a:lnTo>
                <a:close/>
                <a:moveTo>
                  <a:pt x="0" y="1875162"/>
                </a:moveTo>
                <a:lnTo>
                  <a:pt x="173216" y="1875162"/>
                </a:lnTo>
                <a:cubicBezTo>
                  <a:pt x="185841" y="1875162"/>
                  <a:pt x="196076" y="1885397"/>
                  <a:pt x="196076" y="1898022"/>
                </a:cubicBezTo>
                <a:lnTo>
                  <a:pt x="196075" y="1898022"/>
                </a:lnTo>
                <a:cubicBezTo>
                  <a:pt x="196075" y="1910647"/>
                  <a:pt x="185840" y="1920882"/>
                  <a:pt x="173215" y="1920882"/>
                </a:cubicBezTo>
                <a:lnTo>
                  <a:pt x="0" y="1920882"/>
                </a:lnTo>
                <a:close/>
                <a:moveTo>
                  <a:pt x="0" y="1721635"/>
                </a:moveTo>
                <a:lnTo>
                  <a:pt x="81776" y="1721635"/>
                </a:lnTo>
                <a:cubicBezTo>
                  <a:pt x="94401" y="1721635"/>
                  <a:pt x="104636" y="1731870"/>
                  <a:pt x="104636" y="1744495"/>
                </a:cubicBezTo>
                <a:lnTo>
                  <a:pt x="104635" y="1744495"/>
                </a:lnTo>
                <a:cubicBezTo>
                  <a:pt x="104635" y="1757120"/>
                  <a:pt x="94400" y="1767355"/>
                  <a:pt x="81775" y="1767355"/>
                </a:cubicBezTo>
                <a:lnTo>
                  <a:pt x="0" y="1767355"/>
                </a:lnTo>
                <a:close/>
                <a:moveTo>
                  <a:pt x="0" y="1523851"/>
                </a:moveTo>
                <a:lnTo>
                  <a:pt x="279104" y="1523851"/>
                </a:lnTo>
                <a:cubicBezTo>
                  <a:pt x="303950" y="1523851"/>
                  <a:pt x="324091" y="1543992"/>
                  <a:pt x="324091" y="1568838"/>
                </a:cubicBezTo>
                <a:cubicBezTo>
                  <a:pt x="324091" y="1593684"/>
                  <a:pt x="303950" y="1613826"/>
                  <a:pt x="279104" y="1613826"/>
                </a:cubicBezTo>
                <a:lnTo>
                  <a:pt x="0" y="1613826"/>
                </a:lnTo>
                <a:close/>
                <a:moveTo>
                  <a:pt x="0" y="1346012"/>
                </a:moveTo>
                <a:lnTo>
                  <a:pt x="81776" y="1346012"/>
                </a:lnTo>
                <a:cubicBezTo>
                  <a:pt x="94401" y="1346012"/>
                  <a:pt x="104636" y="1356247"/>
                  <a:pt x="104636" y="1368872"/>
                </a:cubicBezTo>
                <a:lnTo>
                  <a:pt x="104635" y="1368872"/>
                </a:lnTo>
                <a:cubicBezTo>
                  <a:pt x="104635" y="1381497"/>
                  <a:pt x="94400" y="1391732"/>
                  <a:pt x="81775" y="1391732"/>
                </a:cubicBezTo>
                <a:lnTo>
                  <a:pt x="0" y="1391732"/>
                </a:lnTo>
                <a:close/>
                <a:moveTo>
                  <a:pt x="0" y="1192484"/>
                </a:moveTo>
                <a:lnTo>
                  <a:pt x="173216" y="1192484"/>
                </a:lnTo>
                <a:cubicBezTo>
                  <a:pt x="185841" y="1192484"/>
                  <a:pt x="196076" y="1202719"/>
                  <a:pt x="196076" y="1215344"/>
                </a:cubicBezTo>
                <a:lnTo>
                  <a:pt x="196075" y="1215344"/>
                </a:lnTo>
                <a:cubicBezTo>
                  <a:pt x="196075" y="1227969"/>
                  <a:pt x="185840" y="1238205"/>
                  <a:pt x="173215" y="1238205"/>
                </a:cubicBezTo>
                <a:lnTo>
                  <a:pt x="0" y="1238205"/>
                </a:lnTo>
                <a:close/>
                <a:moveTo>
                  <a:pt x="0" y="1038956"/>
                </a:moveTo>
                <a:lnTo>
                  <a:pt x="81776" y="1038956"/>
                </a:lnTo>
                <a:cubicBezTo>
                  <a:pt x="94401" y="1038956"/>
                  <a:pt x="104636" y="1049192"/>
                  <a:pt x="104636" y="1061817"/>
                </a:cubicBezTo>
                <a:lnTo>
                  <a:pt x="104635" y="1061817"/>
                </a:lnTo>
                <a:cubicBezTo>
                  <a:pt x="104635" y="1074442"/>
                  <a:pt x="94400" y="1084677"/>
                  <a:pt x="81775" y="1084677"/>
                </a:cubicBezTo>
                <a:lnTo>
                  <a:pt x="0" y="1084677"/>
                </a:lnTo>
                <a:close/>
                <a:moveTo>
                  <a:pt x="0" y="841173"/>
                </a:moveTo>
                <a:lnTo>
                  <a:pt x="279104" y="841173"/>
                </a:lnTo>
                <a:cubicBezTo>
                  <a:pt x="303950" y="841173"/>
                  <a:pt x="324091" y="861314"/>
                  <a:pt x="324091" y="886160"/>
                </a:cubicBezTo>
                <a:cubicBezTo>
                  <a:pt x="324091" y="911007"/>
                  <a:pt x="303950" y="931147"/>
                  <a:pt x="279104" y="931147"/>
                </a:cubicBezTo>
                <a:lnTo>
                  <a:pt x="0" y="931147"/>
                </a:lnTo>
                <a:close/>
                <a:moveTo>
                  <a:pt x="0" y="663334"/>
                </a:moveTo>
                <a:lnTo>
                  <a:pt x="81776" y="663334"/>
                </a:lnTo>
                <a:cubicBezTo>
                  <a:pt x="94401" y="663334"/>
                  <a:pt x="104636" y="673569"/>
                  <a:pt x="104636" y="686194"/>
                </a:cubicBezTo>
                <a:lnTo>
                  <a:pt x="104635" y="686194"/>
                </a:lnTo>
                <a:cubicBezTo>
                  <a:pt x="104635" y="698819"/>
                  <a:pt x="94400" y="709054"/>
                  <a:pt x="81775" y="709054"/>
                </a:cubicBezTo>
                <a:lnTo>
                  <a:pt x="0" y="709054"/>
                </a:lnTo>
                <a:close/>
                <a:moveTo>
                  <a:pt x="0" y="509806"/>
                </a:moveTo>
                <a:lnTo>
                  <a:pt x="173216" y="509806"/>
                </a:lnTo>
                <a:cubicBezTo>
                  <a:pt x="185841" y="509806"/>
                  <a:pt x="196076" y="520041"/>
                  <a:pt x="196076" y="532666"/>
                </a:cubicBezTo>
                <a:lnTo>
                  <a:pt x="196075" y="532666"/>
                </a:lnTo>
                <a:cubicBezTo>
                  <a:pt x="196075" y="545291"/>
                  <a:pt x="185840" y="555526"/>
                  <a:pt x="173215" y="555526"/>
                </a:cubicBezTo>
                <a:lnTo>
                  <a:pt x="0" y="555526"/>
                </a:lnTo>
                <a:close/>
                <a:moveTo>
                  <a:pt x="0" y="356279"/>
                </a:moveTo>
                <a:lnTo>
                  <a:pt x="81776" y="356279"/>
                </a:lnTo>
                <a:cubicBezTo>
                  <a:pt x="94401" y="356279"/>
                  <a:pt x="104636" y="366514"/>
                  <a:pt x="104636" y="379139"/>
                </a:cubicBezTo>
                <a:lnTo>
                  <a:pt x="104635" y="379139"/>
                </a:lnTo>
                <a:cubicBezTo>
                  <a:pt x="104635" y="391764"/>
                  <a:pt x="94400" y="401999"/>
                  <a:pt x="81775" y="401999"/>
                </a:cubicBezTo>
                <a:lnTo>
                  <a:pt x="0" y="401999"/>
                </a:lnTo>
                <a:close/>
                <a:moveTo>
                  <a:pt x="0" y="158496"/>
                </a:moveTo>
                <a:lnTo>
                  <a:pt x="279104" y="158496"/>
                </a:lnTo>
                <a:cubicBezTo>
                  <a:pt x="303950" y="158496"/>
                  <a:pt x="324091" y="178637"/>
                  <a:pt x="324091" y="203483"/>
                </a:cubicBezTo>
                <a:cubicBezTo>
                  <a:pt x="324091" y="228329"/>
                  <a:pt x="303950" y="248470"/>
                  <a:pt x="279104" y="248470"/>
                </a:cubicBezTo>
                <a:lnTo>
                  <a:pt x="0" y="248470"/>
                </a:lnTo>
                <a:close/>
                <a:moveTo>
                  <a:pt x="0" y="0"/>
                </a:moveTo>
                <a:lnTo>
                  <a:pt x="81776" y="0"/>
                </a:lnTo>
                <a:cubicBezTo>
                  <a:pt x="94401" y="0"/>
                  <a:pt x="104636" y="10235"/>
                  <a:pt x="104636" y="22860"/>
                </a:cubicBezTo>
                <a:lnTo>
                  <a:pt x="104635" y="22860"/>
                </a:lnTo>
                <a:cubicBezTo>
                  <a:pt x="104635" y="35485"/>
                  <a:pt x="94400" y="45720"/>
                  <a:pt x="81775" y="45720"/>
                </a:cubicBezTo>
                <a:lnTo>
                  <a:pt x="0" y="45720"/>
                </a:lnTo>
                <a:close/>
              </a:path>
            </a:pathLst>
          </a:custGeom>
          <a:solidFill>
            <a:schemeClr val="bg1">
              <a:alpha val="3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331113" y="2211598"/>
            <a:ext cx="9108607" cy="165576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3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54640E8-0A8E-4A47-B323-45AD081BA19B}"/>
              </a:ext>
            </a:extLst>
          </p:cNvPr>
          <p:cNvGrpSpPr/>
          <p:nvPr userDrawn="1"/>
        </p:nvGrpSpPr>
        <p:grpSpPr>
          <a:xfrm>
            <a:off x="11803080" y="979776"/>
            <a:ext cx="221196" cy="228600"/>
            <a:chOff x="11806154" y="979776"/>
            <a:chExt cx="221254" cy="228600"/>
          </a:xfrm>
        </p:grpSpPr>
        <p:sp>
          <p:nvSpPr>
            <p:cNvPr id="13" name="Round Same-side Corner of Rectangle 79">
              <a:extLst>
                <a:ext uri="{FF2B5EF4-FFF2-40B4-BE49-F238E27FC236}">
                  <a16:creationId xmlns:a16="http://schemas.microsoft.com/office/drawing/2014/main" id="{1B99FD2C-9929-4C94-BF13-663FAC85CCE3}"/>
                </a:ext>
              </a:extLst>
            </p:cNvPr>
            <p:cNvSpPr/>
            <p:nvPr/>
          </p:nvSpPr>
          <p:spPr>
            <a:xfrm rot="5400000">
              <a:off x="11802481" y="983449"/>
              <a:ext cx="228600" cy="221254"/>
            </a:xfrm>
            <a:prstGeom prst="round2SameRect">
              <a:avLst>
                <a:gd name="adj1" fmla="val 0"/>
                <a:gd name="adj2" fmla="val 50000"/>
              </a:avLst>
            </a:prstGeom>
            <a:solidFill>
              <a:schemeClr val="tx2"/>
            </a:solidFill>
            <a:ln w="9525">
              <a:noFill/>
            </a:ln>
            <a:effectLst>
              <a:innerShdw blurRad="63500" dist="25400" dir="5400000">
                <a:prstClr val="black">
                  <a:alpha val="32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3A722360-E8DC-4070-8676-D1B95A9C913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843840" y="1010005"/>
              <a:ext cx="155448" cy="155448"/>
            </a:xfrm>
            <a:prstGeom prst="rect">
              <a:avLst/>
            </a:prstGeom>
          </p:spPr>
        </p:pic>
      </p:grp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D89A5454-E752-4D46-A097-3F34A35AF37F}"/>
              </a:ext>
            </a:extLst>
          </p:cNvPr>
          <p:cNvSpPr/>
          <p:nvPr userDrawn="1"/>
        </p:nvSpPr>
        <p:spPr>
          <a:xfrm>
            <a:off x="558654" y="706397"/>
            <a:ext cx="4012155" cy="977900"/>
          </a:xfrm>
          <a:prstGeom prst="roundRect">
            <a:avLst>
              <a:gd name="adj" fmla="val 50000"/>
            </a:avLst>
          </a:prstGeom>
          <a:solidFill>
            <a:schemeClr val="bg1">
              <a:alpha val="39000"/>
            </a:schemeClr>
          </a:solidFill>
          <a:ln w="190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293027" y="552617"/>
            <a:ext cx="9385073" cy="1304513"/>
          </a:xfrm>
        </p:spPr>
        <p:txBody>
          <a:bodyPr anchor="ctr">
            <a:noAutofit/>
          </a:bodyPr>
          <a:lstStyle>
            <a:lvl1pPr algn="l">
              <a:defRPr sz="3999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583B3E3-AF2A-48A5-AEAC-94F2B23DBB8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33986" y="790022"/>
            <a:ext cx="624064" cy="807824"/>
            <a:chOff x="10758416" y="1419641"/>
            <a:chExt cx="3297184" cy="4266944"/>
          </a:xfrm>
          <a:solidFill>
            <a:schemeClr val="bg1">
              <a:alpha val="80000"/>
            </a:schemeClr>
          </a:solidFill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2E21C48-28C0-4D68-B972-78343889914A}"/>
                </a:ext>
              </a:extLst>
            </p:cNvPr>
            <p:cNvSpPr/>
            <p:nvPr/>
          </p:nvSpPr>
          <p:spPr>
            <a:xfrm>
              <a:off x="10758416" y="1419641"/>
              <a:ext cx="3297184" cy="4266944"/>
            </a:xfrm>
            <a:custGeom>
              <a:avLst/>
              <a:gdLst>
                <a:gd name="connsiteX0" fmla="*/ 2763817 w 3297184"/>
                <a:gd name="connsiteY0" fmla="*/ 1939520 h 4266944"/>
                <a:gd name="connsiteX1" fmla="*/ 2424401 w 3297184"/>
                <a:gd name="connsiteY1" fmla="*/ 1600104 h 4266944"/>
                <a:gd name="connsiteX2" fmla="*/ 2763817 w 3297184"/>
                <a:gd name="connsiteY2" fmla="*/ 1260688 h 4266944"/>
                <a:gd name="connsiteX3" fmla="*/ 3103233 w 3297184"/>
                <a:gd name="connsiteY3" fmla="*/ 1600104 h 4266944"/>
                <a:gd name="connsiteX4" fmla="*/ 2763817 w 3297184"/>
                <a:gd name="connsiteY4" fmla="*/ 1939520 h 4266944"/>
                <a:gd name="connsiteX5" fmla="*/ 3297185 w 3297184"/>
                <a:gd name="connsiteY5" fmla="*/ 1600104 h 4266944"/>
                <a:gd name="connsiteX6" fmla="*/ 2763817 w 3297184"/>
                <a:gd name="connsiteY6" fmla="*/ 1066736 h 4266944"/>
                <a:gd name="connsiteX7" fmla="*/ 2230449 w 3297184"/>
                <a:gd name="connsiteY7" fmla="*/ 1600104 h 4266944"/>
                <a:gd name="connsiteX8" fmla="*/ 2618353 w 3297184"/>
                <a:gd name="connsiteY8" fmla="*/ 2114077 h 4266944"/>
                <a:gd name="connsiteX9" fmla="*/ 2618353 w 3297184"/>
                <a:gd name="connsiteY9" fmla="*/ 3248697 h 4266944"/>
                <a:gd name="connsiteX10" fmla="*/ 1891032 w 3297184"/>
                <a:gd name="connsiteY10" fmla="*/ 3976017 h 4266944"/>
                <a:gd name="connsiteX11" fmla="*/ 1163712 w 3297184"/>
                <a:gd name="connsiteY11" fmla="*/ 3248697 h 4266944"/>
                <a:gd name="connsiteX12" fmla="*/ 1163712 w 3297184"/>
                <a:gd name="connsiteY12" fmla="*/ 2754119 h 4266944"/>
                <a:gd name="connsiteX13" fmla="*/ 2036496 w 3297184"/>
                <a:gd name="connsiteY13" fmla="*/ 1745568 h 4266944"/>
                <a:gd name="connsiteX14" fmla="*/ 1939520 w 3297184"/>
                <a:gd name="connsiteY14" fmla="*/ 1580709 h 4266944"/>
                <a:gd name="connsiteX15" fmla="*/ 1939520 w 3297184"/>
                <a:gd name="connsiteY15" fmla="*/ 387904 h 4266944"/>
                <a:gd name="connsiteX16" fmla="*/ 1687383 w 3297184"/>
                <a:gd name="connsiteY16" fmla="*/ 101825 h 4266944"/>
                <a:gd name="connsiteX17" fmla="*/ 1551616 w 3297184"/>
                <a:gd name="connsiteY17" fmla="*/ 0 h 4266944"/>
                <a:gd name="connsiteX18" fmla="*/ 1503128 w 3297184"/>
                <a:gd name="connsiteY18" fmla="*/ 0 h 4266944"/>
                <a:gd name="connsiteX19" fmla="*/ 1309176 w 3297184"/>
                <a:gd name="connsiteY19" fmla="*/ 193952 h 4266944"/>
                <a:gd name="connsiteX20" fmla="*/ 1503128 w 3297184"/>
                <a:gd name="connsiteY20" fmla="*/ 387904 h 4266944"/>
                <a:gd name="connsiteX21" fmla="*/ 1551616 w 3297184"/>
                <a:gd name="connsiteY21" fmla="*/ 387904 h 4266944"/>
                <a:gd name="connsiteX22" fmla="*/ 1687383 w 3297184"/>
                <a:gd name="connsiteY22" fmla="*/ 300626 h 4266944"/>
                <a:gd name="connsiteX23" fmla="*/ 1745568 w 3297184"/>
                <a:gd name="connsiteY23" fmla="*/ 387904 h 4266944"/>
                <a:gd name="connsiteX24" fmla="*/ 1745568 w 3297184"/>
                <a:gd name="connsiteY24" fmla="*/ 1580709 h 4266944"/>
                <a:gd name="connsiteX25" fmla="*/ 1648592 w 3297184"/>
                <a:gd name="connsiteY25" fmla="*/ 1745568 h 4266944"/>
                <a:gd name="connsiteX26" fmla="*/ 1018248 w 3297184"/>
                <a:gd name="connsiteY26" fmla="*/ 2375913 h 4266944"/>
                <a:gd name="connsiteX27" fmla="*/ 387904 w 3297184"/>
                <a:gd name="connsiteY27" fmla="*/ 1745568 h 4266944"/>
                <a:gd name="connsiteX28" fmla="*/ 290928 w 3297184"/>
                <a:gd name="connsiteY28" fmla="*/ 1580709 h 4266944"/>
                <a:gd name="connsiteX29" fmla="*/ 290928 w 3297184"/>
                <a:gd name="connsiteY29" fmla="*/ 387904 h 4266944"/>
                <a:gd name="connsiteX30" fmla="*/ 349114 w 3297184"/>
                <a:gd name="connsiteY30" fmla="*/ 300626 h 4266944"/>
                <a:gd name="connsiteX31" fmla="*/ 484880 w 3297184"/>
                <a:gd name="connsiteY31" fmla="*/ 387904 h 4266944"/>
                <a:gd name="connsiteX32" fmla="*/ 533368 w 3297184"/>
                <a:gd name="connsiteY32" fmla="*/ 387904 h 4266944"/>
                <a:gd name="connsiteX33" fmla="*/ 727320 w 3297184"/>
                <a:gd name="connsiteY33" fmla="*/ 193952 h 4266944"/>
                <a:gd name="connsiteX34" fmla="*/ 533368 w 3297184"/>
                <a:gd name="connsiteY34" fmla="*/ 0 h 4266944"/>
                <a:gd name="connsiteX35" fmla="*/ 484880 w 3297184"/>
                <a:gd name="connsiteY35" fmla="*/ 0 h 4266944"/>
                <a:gd name="connsiteX36" fmla="*/ 349114 w 3297184"/>
                <a:gd name="connsiteY36" fmla="*/ 101825 h 4266944"/>
                <a:gd name="connsiteX37" fmla="*/ 96976 w 3297184"/>
                <a:gd name="connsiteY37" fmla="*/ 387904 h 4266944"/>
                <a:gd name="connsiteX38" fmla="*/ 96976 w 3297184"/>
                <a:gd name="connsiteY38" fmla="*/ 1580709 h 4266944"/>
                <a:gd name="connsiteX39" fmla="*/ 0 w 3297184"/>
                <a:gd name="connsiteY39" fmla="*/ 1745568 h 4266944"/>
                <a:gd name="connsiteX40" fmla="*/ 872784 w 3297184"/>
                <a:gd name="connsiteY40" fmla="*/ 2754119 h 4266944"/>
                <a:gd name="connsiteX41" fmla="*/ 872784 w 3297184"/>
                <a:gd name="connsiteY41" fmla="*/ 3248697 h 4266944"/>
                <a:gd name="connsiteX42" fmla="*/ 1891032 w 3297184"/>
                <a:gd name="connsiteY42" fmla="*/ 4266945 h 4266944"/>
                <a:gd name="connsiteX43" fmla="*/ 2909281 w 3297184"/>
                <a:gd name="connsiteY43" fmla="*/ 3248697 h 4266944"/>
                <a:gd name="connsiteX44" fmla="*/ 2909281 w 3297184"/>
                <a:gd name="connsiteY44" fmla="*/ 2114077 h 4266944"/>
                <a:gd name="connsiteX45" fmla="*/ 3297185 w 3297184"/>
                <a:gd name="connsiteY45" fmla="*/ 1600104 h 4266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3297184" h="4266944">
                  <a:moveTo>
                    <a:pt x="2763817" y="1939520"/>
                  </a:moveTo>
                  <a:cubicBezTo>
                    <a:pt x="2574713" y="1939520"/>
                    <a:pt x="2424401" y="1789208"/>
                    <a:pt x="2424401" y="1600104"/>
                  </a:cubicBezTo>
                  <a:cubicBezTo>
                    <a:pt x="2424401" y="1411001"/>
                    <a:pt x="2574713" y="1260688"/>
                    <a:pt x="2763817" y="1260688"/>
                  </a:cubicBezTo>
                  <a:cubicBezTo>
                    <a:pt x="2952920" y="1260688"/>
                    <a:pt x="3103233" y="1411001"/>
                    <a:pt x="3103233" y="1600104"/>
                  </a:cubicBezTo>
                  <a:cubicBezTo>
                    <a:pt x="3103233" y="1789208"/>
                    <a:pt x="2952920" y="1939520"/>
                    <a:pt x="2763817" y="1939520"/>
                  </a:cubicBezTo>
                  <a:close/>
                  <a:moveTo>
                    <a:pt x="3297185" y="1600104"/>
                  </a:moveTo>
                  <a:cubicBezTo>
                    <a:pt x="3297185" y="1304328"/>
                    <a:pt x="3059594" y="1066736"/>
                    <a:pt x="2763817" y="1066736"/>
                  </a:cubicBezTo>
                  <a:cubicBezTo>
                    <a:pt x="2468040" y="1066736"/>
                    <a:pt x="2230449" y="1304328"/>
                    <a:pt x="2230449" y="1600104"/>
                  </a:cubicBezTo>
                  <a:cubicBezTo>
                    <a:pt x="2230449" y="1842544"/>
                    <a:pt x="2395308" y="2051043"/>
                    <a:pt x="2618353" y="2114077"/>
                  </a:cubicBezTo>
                  <a:lnTo>
                    <a:pt x="2618353" y="3248697"/>
                  </a:lnTo>
                  <a:cubicBezTo>
                    <a:pt x="2618353" y="3651147"/>
                    <a:pt x="2293483" y="3976017"/>
                    <a:pt x="1891032" y="3976017"/>
                  </a:cubicBezTo>
                  <a:cubicBezTo>
                    <a:pt x="1488582" y="3976017"/>
                    <a:pt x="1163712" y="3651147"/>
                    <a:pt x="1163712" y="3248697"/>
                  </a:cubicBezTo>
                  <a:lnTo>
                    <a:pt x="1163712" y="2754119"/>
                  </a:lnTo>
                  <a:cubicBezTo>
                    <a:pt x="1658290" y="2681387"/>
                    <a:pt x="2036496" y="2259541"/>
                    <a:pt x="2036496" y="1745568"/>
                  </a:cubicBezTo>
                  <a:cubicBezTo>
                    <a:pt x="2036496" y="1672836"/>
                    <a:pt x="1997706" y="1609802"/>
                    <a:pt x="1939520" y="1580709"/>
                  </a:cubicBezTo>
                  <a:lnTo>
                    <a:pt x="1939520" y="387904"/>
                  </a:lnTo>
                  <a:cubicBezTo>
                    <a:pt x="1939520" y="242440"/>
                    <a:pt x="1827998" y="121220"/>
                    <a:pt x="1687383" y="101825"/>
                  </a:cubicBezTo>
                  <a:cubicBezTo>
                    <a:pt x="1667988" y="43639"/>
                    <a:pt x="1614651" y="0"/>
                    <a:pt x="1551616" y="0"/>
                  </a:cubicBezTo>
                  <a:lnTo>
                    <a:pt x="1503128" y="0"/>
                  </a:lnTo>
                  <a:cubicBezTo>
                    <a:pt x="1396455" y="0"/>
                    <a:pt x="1309176" y="87278"/>
                    <a:pt x="1309176" y="193952"/>
                  </a:cubicBezTo>
                  <a:cubicBezTo>
                    <a:pt x="1309176" y="300626"/>
                    <a:pt x="1396455" y="387904"/>
                    <a:pt x="1503128" y="387904"/>
                  </a:cubicBezTo>
                  <a:lnTo>
                    <a:pt x="1551616" y="387904"/>
                  </a:lnTo>
                  <a:cubicBezTo>
                    <a:pt x="1609802" y="387904"/>
                    <a:pt x="1663139" y="349114"/>
                    <a:pt x="1687383" y="300626"/>
                  </a:cubicBezTo>
                  <a:cubicBezTo>
                    <a:pt x="1721324" y="315172"/>
                    <a:pt x="1745568" y="349114"/>
                    <a:pt x="1745568" y="387904"/>
                  </a:cubicBezTo>
                  <a:lnTo>
                    <a:pt x="1745568" y="1580709"/>
                  </a:lnTo>
                  <a:cubicBezTo>
                    <a:pt x="1687383" y="1614651"/>
                    <a:pt x="1648592" y="1677685"/>
                    <a:pt x="1648592" y="1745568"/>
                  </a:cubicBezTo>
                  <a:cubicBezTo>
                    <a:pt x="1648592" y="2094682"/>
                    <a:pt x="1367362" y="2375913"/>
                    <a:pt x="1018248" y="2375913"/>
                  </a:cubicBezTo>
                  <a:cubicBezTo>
                    <a:pt x="669135" y="2375913"/>
                    <a:pt x="387904" y="2094682"/>
                    <a:pt x="387904" y="1745568"/>
                  </a:cubicBezTo>
                  <a:cubicBezTo>
                    <a:pt x="387904" y="1672836"/>
                    <a:pt x="349114" y="1609802"/>
                    <a:pt x="290928" y="1580709"/>
                  </a:cubicBezTo>
                  <a:lnTo>
                    <a:pt x="290928" y="387904"/>
                  </a:lnTo>
                  <a:cubicBezTo>
                    <a:pt x="290928" y="349114"/>
                    <a:pt x="315172" y="315172"/>
                    <a:pt x="349114" y="300626"/>
                  </a:cubicBezTo>
                  <a:cubicBezTo>
                    <a:pt x="373358" y="353963"/>
                    <a:pt x="421846" y="387904"/>
                    <a:pt x="484880" y="387904"/>
                  </a:cubicBezTo>
                  <a:lnTo>
                    <a:pt x="533368" y="387904"/>
                  </a:lnTo>
                  <a:cubicBezTo>
                    <a:pt x="640042" y="387904"/>
                    <a:pt x="727320" y="300626"/>
                    <a:pt x="727320" y="193952"/>
                  </a:cubicBezTo>
                  <a:cubicBezTo>
                    <a:pt x="727320" y="87278"/>
                    <a:pt x="640042" y="0"/>
                    <a:pt x="533368" y="0"/>
                  </a:cubicBezTo>
                  <a:lnTo>
                    <a:pt x="484880" y="0"/>
                  </a:lnTo>
                  <a:cubicBezTo>
                    <a:pt x="421846" y="0"/>
                    <a:pt x="368509" y="43639"/>
                    <a:pt x="349114" y="101825"/>
                  </a:cubicBezTo>
                  <a:cubicBezTo>
                    <a:pt x="208498" y="121220"/>
                    <a:pt x="96976" y="242440"/>
                    <a:pt x="96976" y="387904"/>
                  </a:cubicBezTo>
                  <a:lnTo>
                    <a:pt x="96976" y="1580709"/>
                  </a:lnTo>
                  <a:cubicBezTo>
                    <a:pt x="38790" y="1614651"/>
                    <a:pt x="0" y="1677685"/>
                    <a:pt x="0" y="1745568"/>
                  </a:cubicBezTo>
                  <a:cubicBezTo>
                    <a:pt x="0" y="2259541"/>
                    <a:pt x="378206" y="2681387"/>
                    <a:pt x="872784" y="2754119"/>
                  </a:cubicBezTo>
                  <a:lnTo>
                    <a:pt x="872784" y="3248697"/>
                  </a:lnTo>
                  <a:cubicBezTo>
                    <a:pt x="872784" y="3811158"/>
                    <a:pt x="1328572" y="4266945"/>
                    <a:pt x="1891032" y="4266945"/>
                  </a:cubicBezTo>
                  <a:cubicBezTo>
                    <a:pt x="2453493" y="4266945"/>
                    <a:pt x="2909281" y="3811158"/>
                    <a:pt x="2909281" y="3248697"/>
                  </a:cubicBezTo>
                  <a:lnTo>
                    <a:pt x="2909281" y="2114077"/>
                  </a:lnTo>
                  <a:cubicBezTo>
                    <a:pt x="3132326" y="2051043"/>
                    <a:pt x="3297185" y="1842544"/>
                    <a:pt x="3297185" y="1600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3273475-FB0D-42E1-9389-988A7E4D15D7}"/>
                </a:ext>
              </a:extLst>
            </p:cNvPr>
            <p:cNvSpPr/>
            <p:nvPr/>
          </p:nvSpPr>
          <p:spPr>
            <a:xfrm>
              <a:off x="13279792" y="2777305"/>
              <a:ext cx="484880" cy="484880"/>
            </a:xfrm>
            <a:custGeom>
              <a:avLst/>
              <a:gdLst>
                <a:gd name="connsiteX0" fmla="*/ 484880 w 484880"/>
                <a:gd name="connsiteY0" fmla="*/ 242440 h 484880"/>
                <a:gd name="connsiteX1" fmla="*/ 242440 w 484880"/>
                <a:gd name="connsiteY1" fmla="*/ 484880 h 484880"/>
                <a:gd name="connsiteX2" fmla="*/ 0 w 484880"/>
                <a:gd name="connsiteY2" fmla="*/ 242440 h 484880"/>
                <a:gd name="connsiteX3" fmla="*/ 242440 w 484880"/>
                <a:gd name="connsiteY3" fmla="*/ 0 h 484880"/>
                <a:gd name="connsiteX4" fmla="*/ 484880 w 484880"/>
                <a:gd name="connsiteY4" fmla="*/ 242440 h 484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880" h="484880">
                  <a:moveTo>
                    <a:pt x="484880" y="242440"/>
                  </a:moveTo>
                  <a:cubicBezTo>
                    <a:pt x="484880" y="376336"/>
                    <a:pt x="376336" y="484880"/>
                    <a:pt x="242440" y="484880"/>
                  </a:cubicBezTo>
                  <a:cubicBezTo>
                    <a:pt x="108544" y="484880"/>
                    <a:pt x="0" y="376336"/>
                    <a:pt x="0" y="242440"/>
                  </a:cubicBezTo>
                  <a:cubicBezTo>
                    <a:pt x="0" y="108544"/>
                    <a:pt x="108544" y="0"/>
                    <a:pt x="242440" y="0"/>
                  </a:cubicBezTo>
                  <a:cubicBezTo>
                    <a:pt x="376336" y="0"/>
                    <a:pt x="484880" y="108544"/>
                    <a:pt x="484880" y="2424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7063F85C-C386-4DCB-8570-D0FD68BA1FE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32883" y="6120714"/>
            <a:ext cx="1017656" cy="420241"/>
          </a:xfrm>
          <a:prstGeom prst="rect">
            <a:avLst/>
          </a:prstGeom>
        </p:spPr>
      </p:pic>
      <p:sp>
        <p:nvSpPr>
          <p:cNvPr id="21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BA54BE7F-C394-49E6-AEFD-6D5A6812E6E5}"/>
              </a:ext>
            </a:extLst>
          </p:cNvPr>
          <p:cNvSpPr/>
          <p:nvPr userDrawn="1"/>
        </p:nvSpPr>
        <p:spPr>
          <a:xfrm rot="5400000">
            <a:off x="11809682" y="871594"/>
            <a:ext cx="320468" cy="437817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6034910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llar 3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4" name="Round Same-side Corner of Rectangle 79">
            <a:extLst>
              <a:ext uri="{FF2B5EF4-FFF2-40B4-BE49-F238E27FC236}">
                <a16:creationId xmlns:a16="http://schemas.microsoft.com/office/drawing/2014/main" id="{429E155D-7E57-4822-8852-F94F1A49D6FC}"/>
              </a:ext>
            </a:extLst>
          </p:cNvPr>
          <p:cNvSpPr/>
          <p:nvPr userDrawn="1"/>
        </p:nvSpPr>
        <p:spPr>
          <a:xfrm rot="16200000">
            <a:off x="11384856" y="4661233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8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0" name="Round Same-side Corner of Rectangle 79">
            <a:extLst>
              <a:ext uri="{FF2B5EF4-FFF2-40B4-BE49-F238E27FC236}">
                <a16:creationId xmlns:a16="http://schemas.microsoft.com/office/drawing/2014/main" id="{DA632258-7E89-4C63-86BD-EA679E94BCAB}"/>
              </a:ext>
            </a:extLst>
          </p:cNvPr>
          <p:cNvSpPr/>
          <p:nvPr userDrawn="1"/>
        </p:nvSpPr>
        <p:spPr>
          <a:xfrm rot="16200000">
            <a:off x="11384854" y="4208631"/>
            <a:ext cx="388777" cy="104122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7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1" name="Round Same-side Corner of Rectangle 79">
            <a:extLst>
              <a:ext uri="{FF2B5EF4-FFF2-40B4-BE49-F238E27FC236}">
                <a16:creationId xmlns:a16="http://schemas.microsoft.com/office/drawing/2014/main" id="{D4B93879-3513-4875-A1C4-5980915623CE}"/>
              </a:ext>
            </a:extLst>
          </p:cNvPr>
          <p:cNvSpPr/>
          <p:nvPr userDrawn="1"/>
        </p:nvSpPr>
        <p:spPr>
          <a:xfrm rot="16200000">
            <a:off x="11384854" y="3756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6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8" name="Round Same-side Corner of Rectangle 79">
            <a:extLst>
              <a:ext uri="{FF2B5EF4-FFF2-40B4-BE49-F238E27FC236}">
                <a16:creationId xmlns:a16="http://schemas.microsoft.com/office/drawing/2014/main" id="{312255C5-65A9-47AB-B67B-8924547FF7C2}"/>
              </a:ext>
            </a:extLst>
          </p:cNvPr>
          <p:cNvSpPr/>
          <p:nvPr userDrawn="1"/>
        </p:nvSpPr>
        <p:spPr>
          <a:xfrm rot="16200000">
            <a:off x="11384854" y="33034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5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9" name="Round Same-side Corner of Rectangle 79">
            <a:extLst>
              <a:ext uri="{FF2B5EF4-FFF2-40B4-BE49-F238E27FC236}">
                <a16:creationId xmlns:a16="http://schemas.microsoft.com/office/drawing/2014/main" id="{F23596D5-FD36-49E3-B746-F3D7A290DF3D}"/>
              </a:ext>
            </a:extLst>
          </p:cNvPr>
          <p:cNvSpPr/>
          <p:nvPr userDrawn="1"/>
        </p:nvSpPr>
        <p:spPr>
          <a:xfrm rot="16200000">
            <a:off x="11384853" y="28508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4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7" name="Round Same-side Corner of Rectangle 79">
            <a:extLst>
              <a:ext uri="{FF2B5EF4-FFF2-40B4-BE49-F238E27FC236}">
                <a16:creationId xmlns:a16="http://schemas.microsoft.com/office/drawing/2014/main" id="{059574F1-9FE9-480C-B4ED-14EFB4169B0E}"/>
              </a:ext>
            </a:extLst>
          </p:cNvPr>
          <p:cNvSpPr/>
          <p:nvPr userDrawn="1"/>
        </p:nvSpPr>
        <p:spPr>
          <a:xfrm rot="16200000">
            <a:off x="11219847" y="2233223"/>
            <a:ext cx="388777" cy="137124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2102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600" b="1"/>
              <a:t>Pillar  </a:t>
            </a:r>
            <a:r>
              <a:rPr lang="en-US" sz="1600" b="1"/>
              <a:t>3</a:t>
            </a:r>
          </a:p>
        </p:txBody>
      </p:sp>
      <p:sp>
        <p:nvSpPr>
          <p:cNvPr id="88" name="Round Same-side Corner of Rectangle 79">
            <a:extLst>
              <a:ext uri="{FF2B5EF4-FFF2-40B4-BE49-F238E27FC236}">
                <a16:creationId xmlns:a16="http://schemas.microsoft.com/office/drawing/2014/main" id="{82236BCB-3538-4E87-B0C9-CACC40793A57}"/>
              </a:ext>
            </a:extLst>
          </p:cNvPr>
          <p:cNvSpPr/>
          <p:nvPr userDrawn="1"/>
        </p:nvSpPr>
        <p:spPr>
          <a:xfrm rot="16200000">
            <a:off x="11384854" y="19456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2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9" name="Round Same-side Corner of Rectangle 79">
            <a:extLst>
              <a:ext uri="{FF2B5EF4-FFF2-40B4-BE49-F238E27FC236}">
                <a16:creationId xmlns:a16="http://schemas.microsoft.com/office/drawing/2014/main" id="{61090AD0-0469-4342-901A-FC4BE401662F}"/>
              </a:ext>
            </a:extLst>
          </p:cNvPr>
          <p:cNvSpPr/>
          <p:nvPr userDrawn="1"/>
        </p:nvSpPr>
        <p:spPr>
          <a:xfrm rot="16200000">
            <a:off x="11384854" y="1493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1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96" name="Round Same-side Corner of Rectangle 79">
            <a:extLst>
              <a:ext uri="{FF2B5EF4-FFF2-40B4-BE49-F238E27FC236}">
                <a16:creationId xmlns:a16="http://schemas.microsoft.com/office/drawing/2014/main" id="{75C801CE-9FCA-486D-96A7-6973FA449CCA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8" name="Round Same-side Corner of Rectangle 79">
            <a:extLst>
              <a:ext uri="{FF2B5EF4-FFF2-40B4-BE49-F238E27FC236}">
                <a16:creationId xmlns:a16="http://schemas.microsoft.com/office/drawing/2014/main" id="{B358AAFE-318C-4629-9F49-D9DBA46F85EC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5C3904B-CE73-4C24-9EF4-5FECAD42087A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86A2FFA-BBD2-4542-BBAD-54FF209B49A5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4" name="Round Same-side Corner of Rectangle 79">
            <a:extLst>
              <a:ext uri="{FF2B5EF4-FFF2-40B4-BE49-F238E27FC236}">
                <a16:creationId xmlns:a16="http://schemas.microsoft.com/office/drawing/2014/main" id="{FAFB18C5-1232-4E67-8F87-AEBE89FD8A11}"/>
              </a:ext>
            </a:extLst>
          </p:cNvPr>
          <p:cNvSpPr/>
          <p:nvPr userDrawn="1"/>
        </p:nvSpPr>
        <p:spPr>
          <a:xfrm rot="16200000">
            <a:off x="11900597" y="2825005"/>
            <a:ext cx="388777" cy="18768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>
              <a:lumMod val="75000"/>
              <a:alpha val="59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17" name="TextBox 16">
            <a:hlinkClick r:id="" action="ppaction://noaction"/>
            <a:extLst>
              <a:ext uri="{FF2B5EF4-FFF2-40B4-BE49-F238E27FC236}">
                <a16:creationId xmlns:a16="http://schemas.microsoft.com/office/drawing/2014/main" id="{8CABDE33-8E8E-4345-9CCB-C5BA993578D0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18" name="TextBox 17">
            <a:hlinkClick r:id="" action="ppaction://noaction"/>
            <a:extLst>
              <a:ext uri="{FF2B5EF4-FFF2-40B4-BE49-F238E27FC236}">
                <a16:creationId xmlns:a16="http://schemas.microsoft.com/office/drawing/2014/main" id="{DC38FC2B-1F89-4A9F-8412-8963932859DD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7279586A-EBC7-462F-A704-370F5F17FC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A879FA47-52AD-4596-89A6-60C8133AC0E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54DC0EE-7736-4DAB-BB33-450665FCDA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45" name="Freeform 9">
            <a:extLst>
              <a:ext uri="{FF2B5EF4-FFF2-40B4-BE49-F238E27FC236}">
                <a16:creationId xmlns:a16="http://schemas.microsoft.com/office/drawing/2014/main" id="{2184A7EF-088C-43DB-86F2-8FD042E36E8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95767" y="4176118"/>
            <a:ext cx="181694" cy="212254"/>
          </a:xfrm>
          <a:custGeom>
            <a:avLst/>
            <a:gdLst>
              <a:gd name="T0" fmla="*/ 708 w 809"/>
              <a:gd name="T1" fmla="*/ 509 h 945"/>
              <a:gd name="T2" fmla="*/ 405 w 809"/>
              <a:gd name="T3" fmla="*/ 838 h 945"/>
              <a:gd name="T4" fmla="*/ 404 w 809"/>
              <a:gd name="T5" fmla="*/ 838 h 945"/>
              <a:gd name="T6" fmla="*/ 404 w 809"/>
              <a:gd name="T7" fmla="*/ 473 h 945"/>
              <a:gd name="T8" fmla="*/ 101 w 809"/>
              <a:gd name="T9" fmla="*/ 473 h 945"/>
              <a:gd name="T10" fmla="*/ 101 w 809"/>
              <a:gd name="T11" fmla="*/ 245 h 945"/>
              <a:gd name="T12" fmla="*/ 404 w 809"/>
              <a:gd name="T13" fmla="*/ 123 h 945"/>
              <a:gd name="T14" fmla="*/ 404 w 809"/>
              <a:gd name="T15" fmla="*/ 473 h 945"/>
              <a:gd name="T16" fmla="*/ 708 w 809"/>
              <a:gd name="T17" fmla="*/ 473 h 945"/>
              <a:gd name="T18" fmla="*/ 708 w 809"/>
              <a:gd name="T19" fmla="*/ 509 h 945"/>
              <a:gd name="T20" fmla="*/ 792 w 809"/>
              <a:gd name="T21" fmla="*/ 150 h 945"/>
              <a:gd name="T22" fmla="*/ 415 w 809"/>
              <a:gd name="T23" fmla="*/ 4 h 945"/>
              <a:gd name="T24" fmla="*/ 394 w 809"/>
              <a:gd name="T25" fmla="*/ 4 h 945"/>
              <a:gd name="T26" fmla="*/ 17 w 809"/>
              <a:gd name="T27" fmla="*/ 150 h 945"/>
              <a:gd name="T28" fmla="*/ 0 w 809"/>
              <a:gd name="T29" fmla="*/ 168 h 945"/>
              <a:gd name="T30" fmla="*/ 0 w 809"/>
              <a:gd name="T31" fmla="*/ 508 h 945"/>
              <a:gd name="T32" fmla="*/ 398 w 809"/>
              <a:gd name="T33" fmla="*/ 944 h 945"/>
              <a:gd name="T34" fmla="*/ 410 w 809"/>
              <a:gd name="T35" fmla="*/ 944 h 945"/>
              <a:gd name="T36" fmla="*/ 809 w 809"/>
              <a:gd name="T37" fmla="*/ 508 h 945"/>
              <a:gd name="T38" fmla="*/ 809 w 809"/>
              <a:gd name="T39" fmla="*/ 168 h 945"/>
              <a:gd name="T40" fmla="*/ 792 w 809"/>
              <a:gd name="T41" fmla="*/ 150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9" h="945">
                <a:moveTo>
                  <a:pt x="708" y="509"/>
                </a:moveTo>
                <a:cubicBezTo>
                  <a:pt x="708" y="713"/>
                  <a:pt x="483" y="811"/>
                  <a:pt x="405" y="838"/>
                </a:cubicBezTo>
                <a:cubicBezTo>
                  <a:pt x="405" y="838"/>
                  <a:pt x="404" y="838"/>
                  <a:pt x="404" y="838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101" y="473"/>
                  <a:pt x="101" y="473"/>
                  <a:pt x="101" y="473"/>
                </a:cubicBezTo>
                <a:cubicBezTo>
                  <a:pt x="101" y="245"/>
                  <a:pt x="101" y="245"/>
                  <a:pt x="101" y="245"/>
                </a:cubicBezTo>
                <a:cubicBezTo>
                  <a:pt x="185" y="231"/>
                  <a:pt x="288" y="197"/>
                  <a:pt x="404" y="123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708" y="473"/>
                  <a:pt x="708" y="473"/>
                  <a:pt x="708" y="473"/>
                </a:cubicBezTo>
                <a:lnTo>
                  <a:pt x="708" y="509"/>
                </a:lnTo>
                <a:close/>
                <a:moveTo>
                  <a:pt x="792" y="150"/>
                </a:moveTo>
                <a:cubicBezTo>
                  <a:pt x="691" y="146"/>
                  <a:pt x="562" y="109"/>
                  <a:pt x="415" y="4"/>
                </a:cubicBezTo>
                <a:cubicBezTo>
                  <a:pt x="409" y="0"/>
                  <a:pt x="400" y="0"/>
                  <a:pt x="394" y="4"/>
                </a:cubicBezTo>
                <a:cubicBezTo>
                  <a:pt x="247" y="109"/>
                  <a:pt x="118" y="146"/>
                  <a:pt x="17" y="150"/>
                </a:cubicBezTo>
                <a:cubicBezTo>
                  <a:pt x="7" y="150"/>
                  <a:pt x="0" y="158"/>
                  <a:pt x="0" y="168"/>
                </a:cubicBezTo>
                <a:cubicBezTo>
                  <a:pt x="0" y="209"/>
                  <a:pt x="0" y="325"/>
                  <a:pt x="0" y="508"/>
                </a:cubicBezTo>
                <a:cubicBezTo>
                  <a:pt x="0" y="792"/>
                  <a:pt x="348" y="926"/>
                  <a:pt x="398" y="944"/>
                </a:cubicBezTo>
                <a:cubicBezTo>
                  <a:pt x="402" y="945"/>
                  <a:pt x="406" y="945"/>
                  <a:pt x="410" y="944"/>
                </a:cubicBezTo>
                <a:cubicBezTo>
                  <a:pt x="460" y="926"/>
                  <a:pt x="809" y="792"/>
                  <a:pt x="809" y="508"/>
                </a:cubicBezTo>
                <a:cubicBezTo>
                  <a:pt x="809" y="325"/>
                  <a:pt x="809" y="209"/>
                  <a:pt x="809" y="168"/>
                </a:cubicBezTo>
                <a:cubicBezTo>
                  <a:pt x="809" y="158"/>
                  <a:pt x="801" y="150"/>
                  <a:pt x="792" y="15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46" name="Freeform 13">
            <a:extLst>
              <a:ext uri="{FF2B5EF4-FFF2-40B4-BE49-F238E27FC236}">
                <a16:creationId xmlns:a16="http://schemas.microsoft.com/office/drawing/2014/main" id="{EA3B4E5E-45C9-4036-A49B-40C634649AD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87920" y="5097137"/>
            <a:ext cx="218911" cy="197141"/>
          </a:xfrm>
          <a:custGeom>
            <a:avLst/>
            <a:gdLst>
              <a:gd name="T0" fmla="*/ 757 w 1043"/>
              <a:gd name="T1" fmla="*/ 313 h 939"/>
              <a:gd name="T2" fmla="*/ 313 w 1043"/>
              <a:gd name="T3" fmla="*/ 321 h 939"/>
              <a:gd name="T4" fmla="*/ 321 w 1043"/>
              <a:gd name="T5" fmla="*/ 348 h 939"/>
              <a:gd name="T6" fmla="*/ 765 w 1043"/>
              <a:gd name="T7" fmla="*/ 340 h 939"/>
              <a:gd name="T8" fmla="*/ 765 w 1043"/>
              <a:gd name="T9" fmla="*/ 251 h 939"/>
              <a:gd name="T10" fmla="*/ 321 w 1043"/>
              <a:gd name="T11" fmla="*/ 243 h 939"/>
              <a:gd name="T12" fmla="*/ 313 w 1043"/>
              <a:gd name="T13" fmla="*/ 270 h 939"/>
              <a:gd name="T14" fmla="*/ 757 w 1043"/>
              <a:gd name="T15" fmla="*/ 278 h 939"/>
              <a:gd name="T16" fmla="*/ 765 w 1043"/>
              <a:gd name="T17" fmla="*/ 251 h 939"/>
              <a:gd name="T18" fmla="*/ 757 w 1043"/>
              <a:gd name="T19" fmla="*/ 382 h 939"/>
              <a:gd name="T20" fmla="*/ 313 w 1043"/>
              <a:gd name="T21" fmla="*/ 390 h 939"/>
              <a:gd name="T22" fmla="*/ 321 w 1043"/>
              <a:gd name="T23" fmla="*/ 417 h 939"/>
              <a:gd name="T24" fmla="*/ 765 w 1043"/>
              <a:gd name="T25" fmla="*/ 409 h 939"/>
              <a:gd name="T26" fmla="*/ 765 w 1043"/>
              <a:gd name="T27" fmla="*/ 182 h 939"/>
              <a:gd name="T28" fmla="*/ 321 w 1043"/>
              <a:gd name="T29" fmla="*/ 174 h 939"/>
              <a:gd name="T30" fmla="*/ 313 w 1043"/>
              <a:gd name="T31" fmla="*/ 201 h 939"/>
              <a:gd name="T32" fmla="*/ 757 w 1043"/>
              <a:gd name="T33" fmla="*/ 209 h 939"/>
              <a:gd name="T34" fmla="*/ 765 w 1043"/>
              <a:gd name="T35" fmla="*/ 182 h 939"/>
              <a:gd name="T36" fmla="*/ 1027 w 1043"/>
              <a:gd name="T37" fmla="*/ 730 h 939"/>
              <a:gd name="T38" fmla="*/ 491 w 1043"/>
              <a:gd name="T39" fmla="*/ 735 h 939"/>
              <a:gd name="T40" fmla="*/ 487 w 1043"/>
              <a:gd name="T41" fmla="*/ 747 h 939"/>
              <a:gd name="T42" fmla="*/ 358 w 1043"/>
              <a:gd name="T43" fmla="*/ 869 h 939"/>
              <a:gd name="T44" fmla="*/ 243 w 1043"/>
              <a:gd name="T45" fmla="*/ 757 h 939"/>
              <a:gd name="T46" fmla="*/ 243 w 1043"/>
              <a:gd name="T47" fmla="*/ 139 h 939"/>
              <a:gd name="T48" fmla="*/ 742 w 1043"/>
              <a:gd name="T49" fmla="*/ 69 h 939"/>
              <a:gd name="T50" fmla="*/ 834 w 1043"/>
              <a:gd name="T51" fmla="*/ 695 h 939"/>
              <a:gd name="T52" fmla="*/ 904 w 1043"/>
              <a:gd name="T53" fmla="*/ 161 h 939"/>
              <a:gd name="T54" fmla="*/ 685 w 1043"/>
              <a:gd name="T55" fmla="*/ 0 h 939"/>
              <a:gd name="T56" fmla="*/ 0 w 1043"/>
              <a:gd name="T57" fmla="*/ 174 h 939"/>
              <a:gd name="T58" fmla="*/ 16 w 1043"/>
              <a:gd name="T59" fmla="*/ 209 h 939"/>
              <a:gd name="T60" fmla="*/ 174 w 1043"/>
              <a:gd name="T61" fmla="*/ 757 h 939"/>
              <a:gd name="T62" fmla="*/ 820 w 1043"/>
              <a:gd name="T63" fmla="*/ 939 h 939"/>
              <a:gd name="T64" fmla="*/ 1043 w 1043"/>
              <a:gd name="T65" fmla="*/ 765 h 939"/>
              <a:gd name="T66" fmla="*/ 765 w 1043"/>
              <a:gd name="T67" fmla="*/ 529 h 939"/>
              <a:gd name="T68" fmla="*/ 321 w 1043"/>
              <a:gd name="T69" fmla="*/ 522 h 939"/>
              <a:gd name="T70" fmla="*/ 313 w 1043"/>
              <a:gd name="T71" fmla="*/ 548 h 939"/>
              <a:gd name="T72" fmla="*/ 757 w 1043"/>
              <a:gd name="T73" fmla="*/ 556 h 939"/>
              <a:gd name="T74" fmla="*/ 765 w 1043"/>
              <a:gd name="T75" fmla="*/ 529 h 939"/>
              <a:gd name="T76" fmla="*/ 757 w 1043"/>
              <a:gd name="T77" fmla="*/ 452 h 939"/>
              <a:gd name="T78" fmla="*/ 313 w 1043"/>
              <a:gd name="T79" fmla="*/ 460 h 939"/>
              <a:gd name="T80" fmla="*/ 321 w 1043"/>
              <a:gd name="T81" fmla="*/ 487 h 939"/>
              <a:gd name="T82" fmla="*/ 765 w 1043"/>
              <a:gd name="T83" fmla="*/ 479 h 939"/>
              <a:gd name="T84" fmla="*/ 765 w 1043"/>
              <a:gd name="T85" fmla="*/ 599 h 939"/>
              <a:gd name="T86" fmla="*/ 757 w 1043"/>
              <a:gd name="T87" fmla="*/ 626 h 939"/>
              <a:gd name="T88" fmla="*/ 313 w 1043"/>
              <a:gd name="T89" fmla="*/ 618 h 939"/>
              <a:gd name="T90" fmla="*/ 321 w 1043"/>
              <a:gd name="T91" fmla="*/ 591 h 939"/>
              <a:gd name="T92" fmla="*/ 765 w 1043"/>
              <a:gd name="T93" fmla="*/ 59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43" h="939">
                <a:moveTo>
                  <a:pt x="765" y="321"/>
                </a:moveTo>
                <a:cubicBezTo>
                  <a:pt x="765" y="316"/>
                  <a:pt x="761" y="313"/>
                  <a:pt x="757" y="313"/>
                </a:cubicBezTo>
                <a:cubicBezTo>
                  <a:pt x="321" y="313"/>
                  <a:pt x="321" y="313"/>
                  <a:pt x="321" y="313"/>
                </a:cubicBezTo>
                <a:cubicBezTo>
                  <a:pt x="316" y="313"/>
                  <a:pt x="313" y="316"/>
                  <a:pt x="313" y="321"/>
                </a:cubicBezTo>
                <a:cubicBezTo>
                  <a:pt x="313" y="340"/>
                  <a:pt x="313" y="340"/>
                  <a:pt x="313" y="340"/>
                </a:cubicBezTo>
                <a:cubicBezTo>
                  <a:pt x="313" y="344"/>
                  <a:pt x="316" y="348"/>
                  <a:pt x="321" y="348"/>
                </a:cubicBezTo>
                <a:cubicBezTo>
                  <a:pt x="757" y="348"/>
                  <a:pt x="757" y="348"/>
                  <a:pt x="757" y="348"/>
                </a:cubicBezTo>
                <a:cubicBezTo>
                  <a:pt x="761" y="348"/>
                  <a:pt x="765" y="344"/>
                  <a:pt x="765" y="340"/>
                </a:cubicBezTo>
                <a:lnTo>
                  <a:pt x="765" y="321"/>
                </a:lnTo>
                <a:close/>
                <a:moveTo>
                  <a:pt x="765" y="251"/>
                </a:moveTo>
                <a:cubicBezTo>
                  <a:pt x="765" y="247"/>
                  <a:pt x="761" y="243"/>
                  <a:pt x="757" y="243"/>
                </a:cubicBezTo>
                <a:cubicBezTo>
                  <a:pt x="321" y="243"/>
                  <a:pt x="321" y="243"/>
                  <a:pt x="321" y="243"/>
                </a:cubicBezTo>
                <a:cubicBezTo>
                  <a:pt x="316" y="243"/>
                  <a:pt x="313" y="247"/>
                  <a:pt x="313" y="251"/>
                </a:cubicBezTo>
                <a:cubicBezTo>
                  <a:pt x="313" y="270"/>
                  <a:pt x="313" y="270"/>
                  <a:pt x="313" y="270"/>
                </a:cubicBezTo>
                <a:cubicBezTo>
                  <a:pt x="313" y="275"/>
                  <a:pt x="316" y="278"/>
                  <a:pt x="321" y="278"/>
                </a:cubicBezTo>
                <a:cubicBezTo>
                  <a:pt x="757" y="278"/>
                  <a:pt x="757" y="278"/>
                  <a:pt x="757" y="278"/>
                </a:cubicBezTo>
                <a:cubicBezTo>
                  <a:pt x="761" y="278"/>
                  <a:pt x="765" y="275"/>
                  <a:pt x="765" y="270"/>
                </a:cubicBezTo>
                <a:lnTo>
                  <a:pt x="765" y="251"/>
                </a:lnTo>
                <a:close/>
                <a:moveTo>
                  <a:pt x="765" y="390"/>
                </a:moveTo>
                <a:cubicBezTo>
                  <a:pt x="765" y="386"/>
                  <a:pt x="761" y="382"/>
                  <a:pt x="757" y="382"/>
                </a:cubicBezTo>
                <a:cubicBezTo>
                  <a:pt x="321" y="382"/>
                  <a:pt x="321" y="382"/>
                  <a:pt x="321" y="382"/>
                </a:cubicBezTo>
                <a:cubicBezTo>
                  <a:pt x="316" y="382"/>
                  <a:pt x="313" y="386"/>
                  <a:pt x="313" y="390"/>
                </a:cubicBezTo>
                <a:cubicBezTo>
                  <a:pt x="313" y="409"/>
                  <a:pt x="313" y="409"/>
                  <a:pt x="313" y="409"/>
                </a:cubicBezTo>
                <a:cubicBezTo>
                  <a:pt x="313" y="414"/>
                  <a:pt x="316" y="417"/>
                  <a:pt x="321" y="417"/>
                </a:cubicBezTo>
                <a:cubicBezTo>
                  <a:pt x="757" y="417"/>
                  <a:pt x="757" y="417"/>
                  <a:pt x="757" y="417"/>
                </a:cubicBezTo>
                <a:cubicBezTo>
                  <a:pt x="761" y="417"/>
                  <a:pt x="765" y="414"/>
                  <a:pt x="765" y="409"/>
                </a:cubicBezTo>
                <a:lnTo>
                  <a:pt x="765" y="390"/>
                </a:lnTo>
                <a:close/>
                <a:moveTo>
                  <a:pt x="765" y="182"/>
                </a:moveTo>
                <a:cubicBezTo>
                  <a:pt x="765" y="177"/>
                  <a:pt x="761" y="174"/>
                  <a:pt x="757" y="174"/>
                </a:cubicBezTo>
                <a:cubicBezTo>
                  <a:pt x="321" y="174"/>
                  <a:pt x="321" y="174"/>
                  <a:pt x="321" y="174"/>
                </a:cubicBezTo>
                <a:cubicBezTo>
                  <a:pt x="316" y="174"/>
                  <a:pt x="313" y="177"/>
                  <a:pt x="313" y="182"/>
                </a:cubicBezTo>
                <a:cubicBezTo>
                  <a:pt x="313" y="201"/>
                  <a:pt x="313" y="201"/>
                  <a:pt x="313" y="201"/>
                </a:cubicBezTo>
                <a:cubicBezTo>
                  <a:pt x="313" y="205"/>
                  <a:pt x="316" y="209"/>
                  <a:pt x="321" y="209"/>
                </a:cubicBezTo>
                <a:cubicBezTo>
                  <a:pt x="757" y="209"/>
                  <a:pt x="757" y="209"/>
                  <a:pt x="757" y="209"/>
                </a:cubicBezTo>
                <a:cubicBezTo>
                  <a:pt x="761" y="209"/>
                  <a:pt x="765" y="205"/>
                  <a:pt x="765" y="201"/>
                </a:cubicBezTo>
                <a:lnTo>
                  <a:pt x="765" y="182"/>
                </a:lnTo>
                <a:close/>
                <a:moveTo>
                  <a:pt x="1041" y="743"/>
                </a:moveTo>
                <a:cubicBezTo>
                  <a:pt x="1041" y="736"/>
                  <a:pt x="1034" y="730"/>
                  <a:pt x="1027" y="730"/>
                </a:cubicBezTo>
                <a:cubicBezTo>
                  <a:pt x="501" y="730"/>
                  <a:pt x="501" y="730"/>
                  <a:pt x="501" y="730"/>
                </a:cubicBezTo>
                <a:cubicBezTo>
                  <a:pt x="497" y="730"/>
                  <a:pt x="494" y="732"/>
                  <a:pt x="491" y="735"/>
                </a:cubicBezTo>
                <a:cubicBezTo>
                  <a:pt x="488" y="737"/>
                  <a:pt x="486" y="741"/>
                  <a:pt x="487" y="745"/>
                </a:cubicBezTo>
                <a:cubicBezTo>
                  <a:pt x="487" y="746"/>
                  <a:pt x="487" y="747"/>
                  <a:pt x="487" y="747"/>
                </a:cubicBezTo>
                <a:cubicBezTo>
                  <a:pt x="487" y="815"/>
                  <a:pt x="432" y="869"/>
                  <a:pt x="365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295" y="869"/>
                  <a:pt x="243" y="819"/>
                  <a:pt x="243" y="757"/>
                </a:cubicBezTo>
                <a:cubicBezTo>
                  <a:pt x="243" y="757"/>
                  <a:pt x="243" y="243"/>
                  <a:pt x="243" y="174"/>
                </a:cubicBezTo>
                <a:cubicBezTo>
                  <a:pt x="243" y="139"/>
                  <a:pt x="243" y="139"/>
                  <a:pt x="243" y="139"/>
                </a:cubicBezTo>
                <a:cubicBezTo>
                  <a:pt x="243" y="100"/>
                  <a:pt x="212" y="69"/>
                  <a:pt x="174" y="69"/>
                </a:cubicBezTo>
                <a:cubicBezTo>
                  <a:pt x="742" y="69"/>
                  <a:pt x="742" y="69"/>
                  <a:pt x="742" y="69"/>
                </a:cubicBezTo>
                <a:cubicBezTo>
                  <a:pt x="793" y="69"/>
                  <a:pt x="834" y="111"/>
                  <a:pt x="834" y="161"/>
                </a:cubicBezTo>
                <a:cubicBezTo>
                  <a:pt x="834" y="695"/>
                  <a:pt x="834" y="695"/>
                  <a:pt x="834" y="695"/>
                </a:cubicBezTo>
                <a:cubicBezTo>
                  <a:pt x="904" y="695"/>
                  <a:pt x="904" y="695"/>
                  <a:pt x="904" y="695"/>
                </a:cubicBezTo>
                <a:cubicBezTo>
                  <a:pt x="904" y="573"/>
                  <a:pt x="904" y="326"/>
                  <a:pt x="904" y="161"/>
                </a:cubicBezTo>
                <a:cubicBezTo>
                  <a:pt x="904" y="72"/>
                  <a:pt x="832" y="0"/>
                  <a:pt x="742" y="0"/>
                </a:cubicBezTo>
                <a:cubicBezTo>
                  <a:pt x="685" y="0"/>
                  <a:pt x="685" y="0"/>
                  <a:pt x="685" y="0"/>
                </a:cubicBezTo>
                <a:cubicBezTo>
                  <a:pt x="174" y="0"/>
                  <a:pt x="174" y="0"/>
                  <a:pt x="174" y="0"/>
                </a:cubicBezTo>
                <a:cubicBezTo>
                  <a:pt x="78" y="0"/>
                  <a:pt x="0" y="78"/>
                  <a:pt x="0" y="174"/>
                </a:cubicBezTo>
                <a:cubicBezTo>
                  <a:pt x="0" y="181"/>
                  <a:pt x="0" y="188"/>
                  <a:pt x="1" y="196"/>
                </a:cubicBezTo>
                <a:cubicBezTo>
                  <a:pt x="2" y="203"/>
                  <a:pt x="8" y="209"/>
                  <a:pt x="16" y="209"/>
                </a:cubicBezTo>
                <a:cubicBezTo>
                  <a:pt x="174" y="209"/>
                  <a:pt x="174" y="209"/>
                  <a:pt x="174" y="209"/>
                </a:cubicBezTo>
                <a:cubicBezTo>
                  <a:pt x="174" y="410"/>
                  <a:pt x="174" y="694"/>
                  <a:pt x="174" y="757"/>
                </a:cubicBezTo>
                <a:cubicBezTo>
                  <a:pt x="174" y="857"/>
                  <a:pt x="256" y="939"/>
                  <a:pt x="358" y="939"/>
                </a:cubicBezTo>
                <a:cubicBezTo>
                  <a:pt x="820" y="939"/>
                  <a:pt x="820" y="939"/>
                  <a:pt x="820" y="939"/>
                </a:cubicBezTo>
                <a:cubicBezTo>
                  <a:pt x="869" y="939"/>
                  <a:pt x="869" y="939"/>
                  <a:pt x="869" y="939"/>
                </a:cubicBezTo>
                <a:cubicBezTo>
                  <a:pt x="965" y="939"/>
                  <a:pt x="1043" y="861"/>
                  <a:pt x="1043" y="765"/>
                </a:cubicBezTo>
                <a:cubicBezTo>
                  <a:pt x="1043" y="757"/>
                  <a:pt x="1042" y="750"/>
                  <a:pt x="1041" y="743"/>
                </a:cubicBezTo>
                <a:close/>
                <a:moveTo>
                  <a:pt x="765" y="529"/>
                </a:moveTo>
                <a:cubicBezTo>
                  <a:pt x="765" y="525"/>
                  <a:pt x="761" y="522"/>
                  <a:pt x="757" y="522"/>
                </a:cubicBezTo>
                <a:cubicBezTo>
                  <a:pt x="321" y="522"/>
                  <a:pt x="321" y="522"/>
                  <a:pt x="321" y="522"/>
                </a:cubicBezTo>
                <a:cubicBezTo>
                  <a:pt x="316" y="522"/>
                  <a:pt x="313" y="525"/>
                  <a:pt x="313" y="529"/>
                </a:cubicBezTo>
                <a:cubicBezTo>
                  <a:pt x="313" y="548"/>
                  <a:pt x="313" y="548"/>
                  <a:pt x="313" y="548"/>
                </a:cubicBezTo>
                <a:cubicBezTo>
                  <a:pt x="313" y="553"/>
                  <a:pt x="316" y="556"/>
                  <a:pt x="321" y="556"/>
                </a:cubicBezTo>
                <a:cubicBezTo>
                  <a:pt x="757" y="556"/>
                  <a:pt x="757" y="556"/>
                  <a:pt x="757" y="556"/>
                </a:cubicBezTo>
                <a:cubicBezTo>
                  <a:pt x="761" y="556"/>
                  <a:pt x="765" y="553"/>
                  <a:pt x="765" y="548"/>
                </a:cubicBezTo>
                <a:lnTo>
                  <a:pt x="765" y="529"/>
                </a:lnTo>
                <a:close/>
                <a:moveTo>
                  <a:pt x="765" y="460"/>
                </a:moveTo>
                <a:cubicBezTo>
                  <a:pt x="765" y="456"/>
                  <a:pt x="761" y="452"/>
                  <a:pt x="757" y="452"/>
                </a:cubicBezTo>
                <a:cubicBezTo>
                  <a:pt x="321" y="452"/>
                  <a:pt x="321" y="452"/>
                  <a:pt x="321" y="452"/>
                </a:cubicBezTo>
                <a:cubicBezTo>
                  <a:pt x="316" y="452"/>
                  <a:pt x="313" y="456"/>
                  <a:pt x="313" y="460"/>
                </a:cubicBezTo>
                <a:cubicBezTo>
                  <a:pt x="313" y="479"/>
                  <a:pt x="313" y="479"/>
                  <a:pt x="313" y="479"/>
                </a:cubicBezTo>
                <a:cubicBezTo>
                  <a:pt x="313" y="483"/>
                  <a:pt x="316" y="487"/>
                  <a:pt x="321" y="487"/>
                </a:cubicBezTo>
                <a:cubicBezTo>
                  <a:pt x="757" y="487"/>
                  <a:pt x="757" y="487"/>
                  <a:pt x="757" y="487"/>
                </a:cubicBezTo>
                <a:cubicBezTo>
                  <a:pt x="761" y="487"/>
                  <a:pt x="765" y="483"/>
                  <a:pt x="765" y="479"/>
                </a:cubicBezTo>
                <a:lnTo>
                  <a:pt x="765" y="460"/>
                </a:lnTo>
                <a:close/>
                <a:moveTo>
                  <a:pt x="765" y="599"/>
                </a:moveTo>
                <a:cubicBezTo>
                  <a:pt x="765" y="618"/>
                  <a:pt x="765" y="618"/>
                  <a:pt x="765" y="618"/>
                </a:cubicBezTo>
                <a:cubicBezTo>
                  <a:pt x="765" y="622"/>
                  <a:pt x="761" y="626"/>
                  <a:pt x="757" y="626"/>
                </a:cubicBezTo>
                <a:cubicBezTo>
                  <a:pt x="321" y="626"/>
                  <a:pt x="321" y="626"/>
                  <a:pt x="321" y="626"/>
                </a:cubicBezTo>
                <a:cubicBezTo>
                  <a:pt x="316" y="626"/>
                  <a:pt x="313" y="622"/>
                  <a:pt x="313" y="618"/>
                </a:cubicBezTo>
                <a:cubicBezTo>
                  <a:pt x="313" y="599"/>
                  <a:pt x="313" y="599"/>
                  <a:pt x="313" y="599"/>
                </a:cubicBezTo>
                <a:cubicBezTo>
                  <a:pt x="313" y="595"/>
                  <a:pt x="316" y="591"/>
                  <a:pt x="321" y="591"/>
                </a:cubicBezTo>
                <a:cubicBezTo>
                  <a:pt x="757" y="591"/>
                  <a:pt x="757" y="591"/>
                  <a:pt x="757" y="591"/>
                </a:cubicBezTo>
                <a:cubicBezTo>
                  <a:pt x="761" y="591"/>
                  <a:pt x="765" y="595"/>
                  <a:pt x="765" y="5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2AD5CA17-A521-4C58-AAF0-AE32337323A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200260" y="2340801"/>
            <a:ext cx="182832" cy="231961"/>
            <a:chOff x="849313" y="-539751"/>
            <a:chExt cx="8375650" cy="10623551"/>
          </a:xfrm>
          <a:solidFill>
            <a:schemeClr val="bg1">
              <a:alpha val="70000"/>
            </a:schemeClr>
          </a:solidFill>
        </p:grpSpPr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6DCB26E7-0626-4F22-91D5-68959FE51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3" y="2670175"/>
              <a:ext cx="8375650" cy="7413625"/>
            </a:xfrm>
            <a:custGeom>
              <a:avLst/>
              <a:gdLst>
                <a:gd name="T0" fmla="*/ 116 w 741"/>
                <a:gd name="T1" fmla="*/ 656 h 656"/>
                <a:gd name="T2" fmla="*/ 165 w 741"/>
                <a:gd name="T3" fmla="*/ 561 h 656"/>
                <a:gd name="T4" fmla="*/ 92 w 741"/>
                <a:gd name="T5" fmla="*/ 506 h 656"/>
                <a:gd name="T6" fmla="*/ 0 w 741"/>
                <a:gd name="T7" fmla="*/ 284 h 656"/>
                <a:gd name="T8" fmla="*/ 181 w 741"/>
                <a:gd name="T9" fmla="*/ 0 h 656"/>
                <a:gd name="T10" fmla="*/ 210 w 741"/>
                <a:gd name="T11" fmla="*/ 118 h 656"/>
                <a:gd name="T12" fmla="*/ 118 w 741"/>
                <a:gd name="T13" fmla="*/ 275 h 656"/>
                <a:gd name="T14" fmla="*/ 347 w 741"/>
                <a:gd name="T15" fmla="*/ 437 h 656"/>
                <a:gd name="T16" fmla="*/ 663 w 741"/>
                <a:gd name="T17" fmla="*/ 353 h 656"/>
                <a:gd name="T18" fmla="*/ 699 w 741"/>
                <a:gd name="T19" fmla="*/ 374 h 656"/>
                <a:gd name="T20" fmla="*/ 678 w 741"/>
                <a:gd name="T21" fmla="*/ 410 h 656"/>
                <a:gd name="T22" fmla="*/ 373 w 741"/>
                <a:gd name="T23" fmla="*/ 491 h 656"/>
                <a:gd name="T24" fmla="*/ 386 w 741"/>
                <a:gd name="T25" fmla="*/ 539 h 656"/>
                <a:gd name="T26" fmla="*/ 623 w 741"/>
                <a:gd name="T27" fmla="*/ 539 h 656"/>
                <a:gd name="T28" fmla="*/ 741 w 741"/>
                <a:gd name="T29" fmla="*/ 656 h 656"/>
                <a:gd name="T30" fmla="*/ 116 w 741"/>
                <a:gd name="T31" fmla="*/ 656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1" h="656">
                  <a:moveTo>
                    <a:pt x="116" y="656"/>
                  </a:moveTo>
                  <a:cubicBezTo>
                    <a:pt x="116" y="617"/>
                    <a:pt x="136" y="582"/>
                    <a:pt x="165" y="561"/>
                  </a:cubicBezTo>
                  <a:cubicBezTo>
                    <a:pt x="138" y="546"/>
                    <a:pt x="113" y="528"/>
                    <a:pt x="92" y="506"/>
                  </a:cubicBezTo>
                  <a:cubicBezTo>
                    <a:pt x="35" y="449"/>
                    <a:pt x="0" y="371"/>
                    <a:pt x="0" y="284"/>
                  </a:cubicBezTo>
                  <a:cubicBezTo>
                    <a:pt x="0" y="162"/>
                    <a:pt x="71" y="52"/>
                    <a:pt x="181" y="0"/>
                  </a:cubicBezTo>
                  <a:cubicBezTo>
                    <a:pt x="171" y="41"/>
                    <a:pt x="182" y="86"/>
                    <a:pt x="210" y="118"/>
                  </a:cubicBezTo>
                  <a:cubicBezTo>
                    <a:pt x="156" y="151"/>
                    <a:pt x="120" y="210"/>
                    <a:pt x="118" y="275"/>
                  </a:cubicBezTo>
                  <a:cubicBezTo>
                    <a:pt x="114" y="385"/>
                    <a:pt x="226" y="466"/>
                    <a:pt x="347" y="437"/>
                  </a:cubicBezTo>
                  <a:cubicBezTo>
                    <a:pt x="663" y="353"/>
                    <a:pt x="663" y="353"/>
                    <a:pt x="663" y="353"/>
                  </a:cubicBezTo>
                  <a:cubicBezTo>
                    <a:pt x="678" y="349"/>
                    <a:pt x="694" y="358"/>
                    <a:pt x="699" y="374"/>
                  </a:cubicBezTo>
                  <a:cubicBezTo>
                    <a:pt x="703" y="389"/>
                    <a:pt x="693" y="406"/>
                    <a:pt x="678" y="410"/>
                  </a:cubicBezTo>
                  <a:cubicBezTo>
                    <a:pt x="373" y="491"/>
                    <a:pt x="373" y="491"/>
                    <a:pt x="373" y="491"/>
                  </a:cubicBezTo>
                  <a:cubicBezTo>
                    <a:pt x="386" y="539"/>
                    <a:pt x="386" y="539"/>
                    <a:pt x="386" y="539"/>
                  </a:cubicBezTo>
                  <a:cubicBezTo>
                    <a:pt x="623" y="539"/>
                    <a:pt x="623" y="539"/>
                    <a:pt x="623" y="539"/>
                  </a:cubicBezTo>
                  <a:cubicBezTo>
                    <a:pt x="688" y="539"/>
                    <a:pt x="741" y="591"/>
                    <a:pt x="741" y="656"/>
                  </a:cubicBezTo>
                  <a:lnTo>
                    <a:pt x="116" y="6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C349A7A9-667D-4568-9A9C-9875040D5D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1" y="5043487"/>
              <a:ext cx="2587625" cy="1231900"/>
            </a:xfrm>
            <a:custGeom>
              <a:avLst/>
              <a:gdLst>
                <a:gd name="T0" fmla="*/ 40 w 229"/>
                <a:gd name="T1" fmla="*/ 104 h 109"/>
                <a:gd name="T2" fmla="*/ 4 w 229"/>
                <a:gd name="T3" fmla="*/ 84 h 109"/>
                <a:gd name="T4" fmla="*/ 25 w 229"/>
                <a:gd name="T5" fmla="*/ 48 h 109"/>
                <a:gd name="T6" fmla="*/ 188 w 229"/>
                <a:gd name="T7" fmla="*/ 4 h 109"/>
                <a:gd name="T8" fmla="*/ 224 w 229"/>
                <a:gd name="T9" fmla="*/ 25 h 109"/>
                <a:gd name="T10" fmla="*/ 204 w 229"/>
                <a:gd name="T11" fmla="*/ 61 h 109"/>
                <a:gd name="T12" fmla="*/ 40 w 229"/>
                <a:gd name="T13" fmla="*/ 10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109">
                  <a:moveTo>
                    <a:pt x="40" y="104"/>
                  </a:moveTo>
                  <a:cubicBezTo>
                    <a:pt x="25" y="109"/>
                    <a:pt x="9" y="99"/>
                    <a:pt x="4" y="84"/>
                  </a:cubicBezTo>
                  <a:cubicBezTo>
                    <a:pt x="0" y="68"/>
                    <a:pt x="10" y="52"/>
                    <a:pt x="25" y="48"/>
                  </a:cubicBezTo>
                  <a:cubicBezTo>
                    <a:pt x="188" y="4"/>
                    <a:pt x="188" y="4"/>
                    <a:pt x="188" y="4"/>
                  </a:cubicBezTo>
                  <a:cubicBezTo>
                    <a:pt x="204" y="0"/>
                    <a:pt x="220" y="9"/>
                    <a:pt x="224" y="25"/>
                  </a:cubicBezTo>
                  <a:cubicBezTo>
                    <a:pt x="229" y="40"/>
                    <a:pt x="219" y="57"/>
                    <a:pt x="204" y="61"/>
                  </a:cubicBezTo>
                  <a:lnTo>
                    <a:pt x="4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9C103A8E-93E4-43FF-9868-CFD79DB750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4851" y="-539751"/>
              <a:ext cx="4092575" cy="5910263"/>
            </a:xfrm>
            <a:custGeom>
              <a:avLst/>
              <a:gdLst>
                <a:gd name="T0" fmla="*/ 105 w 362"/>
                <a:gd name="T1" fmla="*/ 348 h 523"/>
                <a:gd name="T2" fmla="*/ 69 w 362"/>
                <a:gd name="T3" fmla="*/ 327 h 523"/>
                <a:gd name="T4" fmla="*/ 90 w 362"/>
                <a:gd name="T5" fmla="*/ 291 h 523"/>
                <a:gd name="T6" fmla="*/ 126 w 362"/>
                <a:gd name="T7" fmla="*/ 312 h 523"/>
                <a:gd name="T8" fmla="*/ 105 w 362"/>
                <a:gd name="T9" fmla="*/ 348 h 523"/>
                <a:gd name="T10" fmla="*/ 358 w 362"/>
                <a:gd name="T11" fmla="*/ 441 h 523"/>
                <a:gd name="T12" fmla="*/ 271 w 362"/>
                <a:gd name="T13" fmla="*/ 115 h 523"/>
                <a:gd name="T14" fmla="*/ 233 w 362"/>
                <a:gd name="T15" fmla="*/ 93 h 523"/>
                <a:gd name="T16" fmla="*/ 206 w 362"/>
                <a:gd name="T17" fmla="*/ 101 h 523"/>
                <a:gd name="T18" fmla="*/ 182 w 362"/>
                <a:gd name="T19" fmla="*/ 12 h 523"/>
                <a:gd name="T20" fmla="*/ 164 w 362"/>
                <a:gd name="T21" fmla="*/ 2 h 523"/>
                <a:gd name="T22" fmla="*/ 93 w 362"/>
                <a:gd name="T23" fmla="*/ 21 h 523"/>
                <a:gd name="T24" fmla="*/ 83 w 362"/>
                <a:gd name="T25" fmla="*/ 39 h 523"/>
                <a:gd name="T26" fmla="*/ 107 w 362"/>
                <a:gd name="T27" fmla="*/ 127 h 523"/>
                <a:gd name="T28" fmla="*/ 80 w 362"/>
                <a:gd name="T29" fmla="*/ 135 h 523"/>
                <a:gd name="T30" fmla="*/ 58 w 362"/>
                <a:gd name="T31" fmla="*/ 172 h 523"/>
                <a:gd name="T32" fmla="*/ 75 w 362"/>
                <a:gd name="T33" fmla="*/ 235 h 523"/>
                <a:gd name="T34" fmla="*/ 12 w 362"/>
                <a:gd name="T35" fmla="*/ 342 h 523"/>
                <a:gd name="T36" fmla="*/ 120 w 362"/>
                <a:gd name="T37" fmla="*/ 405 h 523"/>
                <a:gd name="T38" fmla="*/ 120 w 362"/>
                <a:gd name="T39" fmla="*/ 405 h 523"/>
                <a:gd name="T40" fmla="*/ 145 w 362"/>
                <a:gd name="T41" fmla="*/ 498 h 523"/>
                <a:gd name="T42" fmla="*/ 181 w 362"/>
                <a:gd name="T43" fmla="*/ 518 h 523"/>
                <a:gd name="T44" fmla="*/ 337 w 362"/>
                <a:gd name="T45" fmla="*/ 477 h 523"/>
                <a:gd name="T46" fmla="*/ 358 w 362"/>
                <a:gd name="T47" fmla="*/ 441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2" h="523">
                  <a:moveTo>
                    <a:pt x="105" y="348"/>
                  </a:moveTo>
                  <a:cubicBezTo>
                    <a:pt x="89" y="352"/>
                    <a:pt x="73" y="343"/>
                    <a:pt x="69" y="327"/>
                  </a:cubicBezTo>
                  <a:cubicBezTo>
                    <a:pt x="65" y="311"/>
                    <a:pt x="74" y="295"/>
                    <a:pt x="90" y="291"/>
                  </a:cubicBezTo>
                  <a:cubicBezTo>
                    <a:pt x="106" y="287"/>
                    <a:pt x="122" y="296"/>
                    <a:pt x="126" y="312"/>
                  </a:cubicBezTo>
                  <a:cubicBezTo>
                    <a:pt x="130" y="328"/>
                    <a:pt x="121" y="344"/>
                    <a:pt x="105" y="348"/>
                  </a:cubicBezTo>
                  <a:close/>
                  <a:moveTo>
                    <a:pt x="358" y="441"/>
                  </a:moveTo>
                  <a:cubicBezTo>
                    <a:pt x="271" y="115"/>
                    <a:pt x="271" y="115"/>
                    <a:pt x="271" y="115"/>
                  </a:cubicBezTo>
                  <a:cubicBezTo>
                    <a:pt x="266" y="99"/>
                    <a:pt x="250" y="89"/>
                    <a:pt x="233" y="93"/>
                  </a:cubicBezTo>
                  <a:cubicBezTo>
                    <a:pt x="206" y="101"/>
                    <a:pt x="206" y="101"/>
                    <a:pt x="206" y="101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0" y="4"/>
                    <a:pt x="172" y="0"/>
                    <a:pt x="164" y="2"/>
                  </a:cubicBezTo>
                  <a:cubicBezTo>
                    <a:pt x="93" y="21"/>
                    <a:pt x="93" y="21"/>
                    <a:pt x="93" y="21"/>
                  </a:cubicBezTo>
                  <a:cubicBezTo>
                    <a:pt x="86" y="23"/>
                    <a:pt x="81" y="31"/>
                    <a:pt x="83" y="39"/>
                  </a:cubicBezTo>
                  <a:cubicBezTo>
                    <a:pt x="107" y="127"/>
                    <a:pt x="107" y="127"/>
                    <a:pt x="107" y="127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63" y="139"/>
                    <a:pt x="54" y="156"/>
                    <a:pt x="58" y="172"/>
                  </a:cubicBezTo>
                  <a:cubicBezTo>
                    <a:pt x="75" y="235"/>
                    <a:pt x="75" y="235"/>
                    <a:pt x="75" y="235"/>
                  </a:cubicBezTo>
                  <a:cubicBezTo>
                    <a:pt x="28" y="247"/>
                    <a:pt x="0" y="295"/>
                    <a:pt x="12" y="342"/>
                  </a:cubicBezTo>
                  <a:cubicBezTo>
                    <a:pt x="25" y="389"/>
                    <a:pt x="73" y="417"/>
                    <a:pt x="120" y="405"/>
                  </a:cubicBezTo>
                  <a:cubicBezTo>
                    <a:pt x="120" y="405"/>
                    <a:pt x="120" y="405"/>
                    <a:pt x="120" y="405"/>
                  </a:cubicBezTo>
                  <a:cubicBezTo>
                    <a:pt x="145" y="498"/>
                    <a:pt x="145" y="498"/>
                    <a:pt x="145" y="498"/>
                  </a:cubicBezTo>
                  <a:cubicBezTo>
                    <a:pt x="150" y="513"/>
                    <a:pt x="166" y="523"/>
                    <a:pt x="181" y="518"/>
                  </a:cubicBezTo>
                  <a:cubicBezTo>
                    <a:pt x="337" y="477"/>
                    <a:pt x="337" y="477"/>
                    <a:pt x="337" y="477"/>
                  </a:cubicBezTo>
                  <a:cubicBezTo>
                    <a:pt x="353" y="472"/>
                    <a:pt x="362" y="456"/>
                    <a:pt x="358" y="4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51" name="Freeform 47">
            <a:extLst>
              <a:ext uri="{FF2B5EF4-FFF2-40B4-BE49-F238E27FC236}">
                <a16:creationId xmlns:a16="http://schemas.microsoft.com/office/drawing/2014/main" id="{D4F40BA5-020F-4C82-BE5F-CDD42E86E6E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74781" y="3268800"/>
            <a:ext cx="201116" cy="201139"/>
          </a:xfrm>
          <a:custGeom>
            <a:avLst/>
            <a:gdLst>
              <a:gd name="T0" fmla="*/ 951 w 981"/>
              <a:gd name="T1" fmla="*/ 842 h 981"/>
              <a:gd name="T2" fmla="*/ 711 w 981"/>
              <a:gd name="T3" fmla="*/ 603 h 981"/>
              <a:gd name="T4" fmla="*/ 603 w 981"/>
              <a:gd name="T5" fmla="*/ 107 h 981"/>
              <a:gd name="T6" fmla="*/ 107 w 981"/>
              <a:gd name="T7" fmla="*/ 216 h 981"/>
              <a:gd name="T8" fmla="*/ 216 w 981"/>
              <a:gd name="T9" fmla="*/ 712 h 981"/>
              <a:gd name="T10" fmla="*/ 603 w 981"/>
              <a:gd name="T11" fmla="*/ 712 h 981"/>
              <a:gd name="T12" fmla="*/ 842 w 981"/>
              <a:gd name="T13" fmla="*/ 951 h 981"/>
              <a:gd name="T14" fmla="*/ 951 w 981"/>
              <a:gd name="T15" fmla="*/ 951 h 981"/>
              <a:gd name="T16" fmla="*/ 951 w 981"/>
              <a:gd name="T17" fmla="*/ 843 h 981"/>
              <a:gd name="T18" fmla="*/ 951 w 981"/>
              <a:gd name="T19" fmla="*/ 842 h 981"/>
              <a:gd name="T20" fmla="*/ 153 w 981"/>
              <a:gd name="T21" fmla="*/ 410 h 981"/>
              <a:gd name="T22" fmla="*/ 410 w 981"/>
              <a:gd name="T23" fmla="*/ 153 h 981"/>
              <a:gd name="T24" fmla="*/ 666 w 981"/>
              <a:gd name="T25" fmla="*/ 410 h 981"/>
              <a:gd name="T26" fmla="*/ 410 w 981"/>
              <a:gd name="T27" fmla="*/ 666 h 981"/>
              <a:gd name="T28" fmla="*/ 153 w 981"/>
              <a:gd name="T29" fmla="*/ 410 h 9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81" h="981">
                <a:moveTo>
                  <a:pt x="951" y="842"/>
                </a:moveTo>
                <a:cubicBezTo>
                  <a:pt x="711" y="603"/>
                  <a:pt x="711" y="603"/>
                  <a:pt x="711" y="603"/>
                </a:cubicBezTo>
                <a:cubicBezTo>
                  <a:pt x="818" y="436"/>
                  <a:pt x="770" y="214"/>
                  <a:pt x="603" y="107"/>
                </a:cubicBezTo>
                <a:cubicBezTo>
                  <a:pt x="436" y="0"/>
                  <a:pt x="214" y="49"/>
                  <a:pt x="107" y="216"/>
                </a:cubicBezTo>
                <a:cubicBezTo>
                  <a:pt x="0" y="383"/>
                  <a:pt x="49" y="605"/>
                  <a:pt x="216" y="712"/>
                </a:cubicBezTo>
                <a:cubicBezTo>
                  <a:pt x="334" y="787"/>
                  <a:pt x="485" y="787"/>
                  <a:pt x="603" y="712"/>
                </a:cubicBezTo>
                <a:cubicBezTo>
                  <a:pt x="842" y="951"/>
                  <a:pt x="842" y="951"/>
                  <a:pt x="842" y="951"/>
                </a:cubicBezTo>
                <a:cubicBezTo>
                  <a:pt x="872" y="981"/>
                  <a:pt x="921" y="981"/>
                  <a:pt x="951" y="951"/>
                </a:cubicBezTo>
                <a:cubicBezTo>
                  <a:pt x="981" y="921"/>
                  <a:pt x="981" y="873"/>
                  <a:pt x="951" y="843"/>
                </a:cubicBezTo>
                <a:cubicBezTo>
                  <a:pt x="951" y="843"/>
                  <a:pt x="951" y="842"/>
                  <a:pt x="951" y="842"/>
                </a:cubicBezTo>
                <a:close/>
                <a:moveTo>
                  <a:pt x="153" y="410"/>
                </a:moveTo>
                <a:cubicBezTo>
                  <a:pt x="153" y="268"/>
                  <a:pt x="268" y="153"/>
                  <a:pt x="410" y="153"/>
                </a:cubicBezTo>
                <a:cubicBezTo>
                  <a:pt x="551" y="153"/>
                  <a:pt x="666" y="268"/>
                  <a:pt x="666" y="410"/>
                </a:cubicBezTo>
                <a:cubicBezTo>
                  <a:pt x="666" y="551"/>
                  <a:pt x="551" y="666"/>
                  <a:pt x="410" y="666"/>
                </a:cubicBezTo>
                <a:cubicBezTo>
                  <a:pt x="268" y="666"/>
                  <a:pt x="153" y="551"/>
                  <a:pt x="153" y="41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04F2C159-D037-4D4E-8403-788EEB4EEDD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6706" y="918349"/>
            <a:ext cx="9963591" cy="5673283"/>
          </a:xfrm>
        </p:spPr>
        <p:txBody>
          <a:bodyPr/>
          <a:lstStyle>
            <a:lvl1pPr marL="0" indent="0">
              <a:spcBef>
                <a:spcPts val="1200"/>
              </a:spcBef>
              <a:buFontTx/>
              <a:buNone/>
              <a:defRPr sz="1799" b="1">
                <a:solidFill>
                  <a:schemeClr val="accent1">
                    <a:lumMod val="75000"/>
                  </a:schemeClr>
                </a:solidFill>
              </a:defRPr>
            </a:lvl1pPr>
            <a:lvl2pPr marL="168225" indent="-168225">
              <a:spcBef>
                <a:spcPts val="1200"/>
              </a:spcBef>
              <a:buFont typeface="Arial" panose="020B0604020202020204" pitchFamily="34" charset="0"/>
              <a:buChar char="•"/>
              <a:defRPr/>
            </a:lvl2pPr>
            <a:lvl3pPr marL="512609" indent="-171399">
              <a:spcBef>
                <a:spcPts val="600"/>
              </a:spcBef>
              <a:buFont typeface="Arial" panose="020B0604020202020204" pitchFamily="34" charset="0"/>
              <a:buChar char="‒"/>
              <a:defRPr sz="1300"/>
            </a:lvl3pPr>
            <a:lvl4pPr marL="798273" indent="-169812">
              <a:spcBef>
                <a:spcPts val="400"/>
              </a:spcBef>
              <a:buFont typeface="Arial" panose="020B0604020202020204" pitchFamily="34" charset="0"/>
              <a:buChar char="-"/>
              <a:defRPr sz="1300"/>
            </a:lvl4pPr>
            <a:lvl5pPr marL="1144245" indent="-115853">
              <a:spcBef>
                <a:spcPts val="200"/>
              </a:spcBef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A1D2FC5-006F-49B1-B5BB-BE35ABDD45D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870359" y="2786642"/>
            <a:ext cx="219317" cy="283896"/>
            <a:chOff x="10758416" y="1419641"/>
            <a:chExt cx="3297184" cy="4266944"/>
          </a:xfrm>
          <a:solidFill>
            <a:schemeClr val="bg1">
              <a:alpha val="80000"/>
            </a:schemeClr>
          </a:solidFill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CE1FBDEB-E485-4091-8F5A-A97CEB2E1B63}"/>
                </a:ext>
              </a:extLst>
            </p:cNvPr>
            <p:cNvSpPr/>
            <p:nvPr/>
          </p:nvSpPr>
          <p:spPr>
            <a:xfrm>
              <a:off x="10758416" y="1419641"/>
              <a:ext cx="3297184" cy="4266944"/>
            </a:xfrm>
            <a:custGeom>
              <a:avLst/>
              <a:gdLst>
                <a:gd name="connsiteX0" fmla="*/ 2763817 w 3297184"/>
                <a:gd name="connsiteY0" fmla="*/ 1939520 h 4266944"/>
                <a:gd name="connsiteX1" fmla="*/ 2424401 w 3297184"/>
                <a:gd name="connsiteY1" fmla="*/ 1600104 h 4266944"/>
                <a:gd name="connsiteX2" fmla="*/ 2763817 w 3297184"/>
                <a:gd name="connsiteY2" fmla="*/ 1260688 h 4266944"/>
                <a:gd name="connsiteX3" fmla="*/ 3103233 w 3297184"/>
                <a:gd name="connsiteY3" fmla="*/ 1600104 h 4266944"/>
                <a:gd name="connsiteX4" fmla="*/ 2763817 w 3297184"/>
                <a:gd name="connsiteY4" fmla="*/ 1939520 h 4266944"/>
                <a:gd name="connsiteX5" fmla="*/ 3297185 w 3297184"/>
                <a:gd name="connsiteY5" fmla="*/ 1600104 h 4266944"/>
                <a:gd name="connsiteX6" fmla="*/ 2763817 w 3297184"/>
                <a:gd name="connsiteY6" fmla="*/ 1066736 h 4266944"/>
                <a:gd name="connsiteX7" fmla="*/ 2230449 w 3297184"/>
                <a:gd name="connsiteY7" fmla="*/ 1600104 h 4266944"/>
                <a:gd name="connsiteX8" fmla="*/ 2618353 w 3297184"/>
                <a:gd name="connsiteY8" fmla="*/ 2114077 h 4266944"/>
                <a:gd name="connsiteX9" fmla="*/ 2618353 w 3297184"/>
                <a:gd name="connsiteY9" fmla="*/ 3248697 h 4266944"/>
                <a:gd name="connsiteX10" fmla="*/ 1891032 w 3297184"/>
                <a:gd name="connsiteY10" fmla="*/ 3976017 h 4266944"/>
                <a:gd name="connsiteX11" fmla="*/ 1163712 w 3297184"/>
                <a:gd name="connsiteY11" fmla="*/ 3248697 h 4266944"/>
                <a:gd name="connsiteX12" fmla="*/ 1163712 w 3297184"/>
                <a:gd name="connsiteY12" fmla="*/ 2754119 h 4266944"/>
                <a:gd name="connsiteX13" fmla="*/ 2036496 w 3297184"/>
                <a:gd name="connsiteY13" fmla="*/ 1745568 h 4266944"/>
                <a:gd name="connsiteX14" fmla="*/ 1939520 w 3297184"/>
                <a:gd name="connsiteY14" fmla="*/ 1580709 h 4266944"/>
                <a:gd name="connsiteX15" fmla="*/ 1939520 w 3297184"/>
                <a:gd name="connsiteY15" fmla="*/ 387904 h 4266944"/>
                <a:gd name="connsiteX16" fmla="*/ 1687383 w 3297184"/>
                <a:gd name="connsiteY16" fmla="*/ 101825 h 4266944"/>
                <a:gd name="connsiteX17" fmla="*/ 1551616 w 3297184"/>
                <a:gd name="connsiteY17" fmla="*/ 0 h 4266944"/>
                <a:gd name="connsiteX18" fmla="*/ 1503128 w 3297184"/>
                <a:gd name="connsiteY18" fmla="*/ 0 h 4266944"/>
                <a:gd name="connsiteX19" fmla="*/ 1309176 w 3297184"/>
                <a:gd name="connsiteY19" fmla="*/ 193952 h 4266944"/>
                <a:gd name="connsiteX20" fmla="*/ 1503128 w 3297184"/>
                <a:gd name="connsiteY20" fmla="*/ 387904 h 4266944"/>
                <a:gd name="connsiteX21" fmla="*/ 1551616 w 3297184"/>
                <a:gd name="connsiteY21" fmla="*/ 387904 h 4266944"/>
                <a:gd name="connsiteX22" fmla="*/ 1687383 w 3297184"/>
                <a:gd name="connsiteY22" fmla="*/ 300626 h 4266944"/>
                <a:gd name="connsiteX23" fmla="*/ 1745568 w 3297184"/>
                <a:gd name="connsiteY23" fmla="*/ 387904 h 4266944"/>
                <a:gd name="connsiteX24" fmla="*/ 1745568 w 3297184"/>
                <a:gd name="connsiteY24" fmla="*/ 1580709 h 4266944"/>
                <a:gd name="connsiteX25" fmla="*/ 1648592 w 3297184"/>
                <a:gd name="connsiteY25" fmla="*/ 1745568 h 4266944"/>
                <a:gd name="connsiteX26" fmla="*/ 1018248 w 3297184"/>
                <a:gd name="connsiteY26" fmla="*/ 2375913 h 4266944"/>
                <a:gd name="connsiteX27" fmla="*/ 387904 w 3297184"/>
                <a:gd name="connsiteY27" fmla="*/ 1745568 h 4266944"/>
                <a:gd name="connsiteX28" fmla="*/ 290928 w 3297184"/>
                <a:gd name="connsiteY28" fmla="*/ 1580709 h 4266944"/>
                <a:gd name="connsiteX29" fmla="*/ 290928 w 3297184"/>
                <a:gd name="connsiteY29" fmla="*/ 387904 h 4266944"/>
                <a:gd name="connsiteX30" fmla="*/ 349114 w 3297184"/>
                <a:gd name="connsiteY30" fmla="*/ 300626 h 4266944"/>
                <a:gd name="connsiteX31" fmla="*/ 484880 w 3297184"/>
                <a:gd name="connsiteY31" fmla="*/ 387904 h 4266944"/>
                <a:gd name="connsiteX32" fmla="*/ 533368 w 3297184"/>
                <a:gd name="connsiteY32" fmla="*/ 387904 h 4266944"/>
                <a:gd name="connsiteX33" fmla="*/ 727320 w 3297184"/>
                <a:gd name="connsiteY33" fmla="*/ 193952 h 4266944"/>
                <a:gd name="connsiteX34" fmla="*/ 533368 w 3297184"/>
                <a:gd name="connsiteY34" fmla="*/ 0 h 4266944"/>
                <a:gd name="connsiteX35" fmla="*/ 484880 w 3297184"/>
                <a:gd name="connsiteY35" fmla="*/ 0 h 4266944"/>
                <a:gd name="connsiteX36" fmla="*/ 349114 w 3297184"/>
                <a:gd name="connsiteY36" fmla="*/ 101825 h 4266944"/>
                <a:gd name="connsiteX37" fmla="*/ 96976 w 3297184"/>
                <a:gd name="connsiteY37" fmla="*/ 387904 h 4266944"/>
                <a:gd name="connsiteX38" fmla="*/ 96976 w 3297184"/>
                <a:gd name="connsiteY38" fmla="*/ 1580709 h 4266944"/>
                <a:gd name="connsiteX39" fmla="*/ 0 w 3297184"/>
                <a:gd name="connsiteY39" fmla="*/ 1745568 h 4266944"/>
                <a:gd name="connsiteX40" fmla="*/ 872784 w 3297184"/>
                <a:gd name="connsiteY40" fmla="*/ 2754119 h 4266944"/>
                <a:gd name="connsiteX41" fmla="*/ 872784 w 3297184"/>
                <a:gd name="connsiteY41" fmla="*/ 3248697 h 4266944"/>
                <a:gd name="connsiteX42" fmla="*/ 1891032 w 3297184"/>
                <a:gd name="connsiteY42" fmla="*/ 4266945 h 4266944"/>
                <a:gd name="connsiteX43" fmla="*/ 2909281 w 3297184"/>
                <a:gd name="connsiteY43" fmla="*/ 3248697 h 4266944"/>
                <a:gd name="connsiteX44" fmla="*/ 2909281 w 3297184"/>
                <a:gd name="connsiteY44" fmla="*/ 2114077 h 4266944"/>
                <a:gd name="connsiteX45" fmla="*/ 3297185 w 3297184"/>
                <a:gd name="connsiteY45" fmla="*/ 1600104 h 4266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3297184" h="4266944">
                  <a:moveTo>
                    <a:pt x="2763817" y="1939520"/>
                  </a:moveTo>
                  <a:cubicBezTo>
                    <a:pt x="2574713" y="1939520"/>
                    <a:pt x="2424401" y="1789208"/>
                    <a:pt x="2424401" y="1600104"/>
                  </a:cubicBezTo>
                  <a:cubicBezTo>
                    <a:pt x="2424401" y="1411001"/>
                    <a:pt x="2574713" y="1260688"/>
                    <a:pt x="2763817" y="1260688"/>
                  </a:cubicBezTo>
                  <a:cubicBezTo>
                    <a:pt x="2952920" y="1260688"/>
                    <a:pt x="3103233" y="1411001"/>
                    <a:pt x="3103233" y="1600104"/>
                  </a:cubicBezTo>
                  <a:cubicBezTo>
                    <a:pt x="3103233" y="1789208"/>
                    <a:pt x="2952920" y="1939520"/>
                    <a:pt x="2763817" y="1939520"/>
                  </a:cubicBezTo>
                  <a:close/>
                  <a:moveTo>
                    <a:pt x="3297185" y="1600104"/>
                  </a:moveTo>
                  <a:cubicBezTo>
                    <a:pt x="3297185" y="1304328"/>
                    <a:pt x="3059594" y="1066736"/>
                    <a:pt x="2763817" y="1066736"/>
                  </a:cubicBezTo>
                  <a:cubicBezTo>
                    <a:pt x="2468040" y="1066736"/>
                    <a:pt x="2230449" y="1304328"/>
                    <a:pt x="2230449" y="1600104"/>
                  </a:cubicBezTo>
                  <a:cubicBezTo>
                    <a:pt x="2230449" y="1842544"/>
                    <a:pt x="2395308" y="2051043"/>
                    <a:pt x="2618353" y="2114077"/>
                  </a:cubicBezTo>
                  <a:lnTo>
                    <a:pt x="2618353" y="3248697"/>
                  </a:lnTo>
                  <a:cubicBezTo>
                    <a:pt x="2618353" y="3651147"/>
                    <a:pt x="2293483" y="3976017"/>
                    <a:pt x="1891032" y="3976017"/>
                  </a:cubicBezTo>
                  <a:cubicBezTo>
                    <a:pt x="1488582" y="3976017"/>
                    <a:pt x="1163712" y="3651147"/>
                    <a:pt x="1163712" y="3248697"/>
                  </a:cubicBezTo>
                  <a:lnTo>
                    <a:pt x="1163712" y="2754119"/>
                  </a:lnTo>
                  <a:cubicBezTo>
                    <a:pt x="1658290" y="2681387"/>
                    <a:pt x="2036496" y="2259541"/>
                    <a:pt x="2036496" y="1745568"/>
                  </a:cubicBezTo>
                  <a:cubicBezTo>
                    <a:pt x="2036496" y="1672836"/>
                    <a:pt x="1997706" y="1609802"/>
                    <a:pt x="1939520" y="1580709"/>
                  </a:cubicBezTo>
                  <a:lnTo>
                    <a:pt x="1939520" y="387904"/>
                  </a:lnTo>
                  <a:cubicBezTo>
                    <a:pt x="1939520" y="242440"/>
                    <a:pt x="1827998" y="121220"/>
                    <a:pt x="1687383" y="101825"/>
                  </a:cubicBezTo>
                  <a:cubicBezTo>
                    <a:pt x="1667988" y="43639"/>
                    <a:pt x="1614651" y="0"/>
                    <a:pt x="1551616" y="0"/>
                  </a:cubicBezTo>
                  <a:lnTo>
                    <a:pt x="1503128" y="0"/>
                  </a:lnTo>
                  <a:cubicBezTo>
                    <a:pt x="1396455" y="0"/>
                    <a:pt x="1309176" y="87278"/>
                    <a:pt x="1309176" y="193952"/>
                  </a:cubicBezTo>
                  <a:cubicBezTo>
                    <a:pt x="1309176" y="300626"/>
                    <a:pt x="1396455" y="387904"/>
                    <a:pt x="1503128" y="387904"/>
                  </a:cubicBezTo>
                  <a:lnTo>
                    <a:pt x="1551616" y="387904"/>
                  </a:lnTo>
                  <a:cubicBezTo>
                    <a:pt x="1609802" y="387904"/>
                    <a:pt x="1663139" y="349114"/>
                    <a:pt x="1687383" y="300626"/>
                  </a:cubicBezTo>
                  <a:cubicBezTo>
                    <a:pt x="1721324" y="315172"/>
                    <a:pt x="1745568" y="349114"/>
                    <a:pt x="1745568" y="387904"/>
                  </a:cubicBezTo>
                  <a:lnTo>
                    <a:pt x="1745568" y="1580709"/>
                  </a:lnTo>
                  <a:cubicBezTo>
                    <a:pt x="1687383" y="1614651"/>
                    <a:pt x="1648592" y="1677685"/>
                    <a:pt x="1648592" y="1745568"/>
                  </a:cubicBezTo>
                  <a:cubicBezTo>
                    <a:pt x="1648592" y="2094682"/>
                    <a:pt x="1367362" y="2375913"/>
                    <a:pt x="1018248" y="2375913"/>
                  </a:cubicBezTo>
                  <a:cubicBezTo>
                    <a:pt x="669135" y="2375913"/>
                    <a:pt x="387904" y="2094682"/>
                    <a:pt x="387904" y="1745568"/>
                  </a:cubicBezTo>
                  <a:cubicBezTo>
                    <a:pt x="387904" y="1672836"/>
                    <a:pt x="349114" y="1609802"/>
                    <a:pt x="290928" y="1580709"/>
                  </a:cubicBezTo>
                  <a:lnTo>
                    <a:pt x="290928" y="387904"/>
                  </a:lnTo>
                  <a:cubicBezTo>
                    <a:pt x="290928" y="349114"/>
                    <a:pt x="315172" y="315172"/>
                    <a:pt x="349114" y="300626"/>
                  </a:cubicBezTo>
                  <a:cubicBezTo>
                    <a:pt x="373358" y="353963"/>
                    <a:pt x="421846" y="387904"/>
                    <a:pt x="484880" y="387904"/>
                  </a:cubicBezTo>
                  <a:lnTo>
                    <a:pt x="533368" y="387904"/>
                  </a:lnTo>
                  <a:cubicBezTo>
                    <a:pt x="640042" y="387904"/>
                    <a:pt x="727320" y="300626"/>
                    <a:pt x="727320" y="193952"/>
                  </a:cubicBezTo>
                  <a:cubicBezTo>
                    <a:pt x="727320" y="87278"/>
                    <a:pt x="640042" y="0"/>
                    <a:pt x="533368" y="0"/>
                  </a:cubicBezTo>
                  <a:lnTo>
                    <a:pt x="484880" y="0"/>
                  </a:lnTo>
                  <a:cubicBezTo>
                    <a:pt x="421846" y="0"/>
                    <a:pt x="368509" y="43639"/>
                    <a:pt x="349114" y="101825"/>
                  </a:cubicBezTo>
                  <a:cubicBezTo>
                    <a:pt x="208498" y="121220"/>
                    <a:pt x="96976" y="242440"/>
                    <a:pt x="96976" y="387904"/>
                  </a:cubicBezTo>
                  <a:lnTo>
                    <a:pt x="96976" y="1580709"/>
                  </a:lnTo>
                  <a:cubicBezTo>
                    <a:pt x="38790" y="1614651"/>
                    <a:pt x="0" y="1677685"/>
                    <a:pt x="0" y="1745568"/>
                  </a:cubicBezTo>
                  <a:cubicBezTo>
                    <a:pt x="0" y="2259541"/>
                    <a:pt x="378206" y="2681387"/>
                    <a:pt x="872784" y="2754119"/>
                  </a:cubicBezTo>
                  <a:lnTo>
                    <a:pt x="872784" y="3248697"/>
                  </a:lnTo>
                  <a:cubicBezTo>
                    <a:pt x="872784" y="3811158"/>
                    <a:pt x="1328572" y="4266945"/>
                    <a:pt x="1891032" y="4266945"/>
                  </a:cubicBezTo>
                  <a:cubicBezTo>
                    <a:pt x="2453493" y="4266945"/>
                    <a:pt x="2909281" y="3811158"/>
                    <a:pt x="2909281" y="3248697"/>
                  </a:cubicBezTo>
                  <a:lnTo>
                    <a:pt x="2909281" y="2114077"/>
                  </a:lnTo>
                  <a:cubicBezTo>
                    <a:pt x="3132326" y="2051043"/>
                    <a:pt x="3297185" y="1842544"/>
                    <a:pt x="3297185" y="1600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1FBD6B83-88F8-4FC4-AA21-BF7003CDF3D4}"/>
                </a:ext>
              </a:extLst>
            </p:cNvPr>
            <p:cNvSpPr/>
            <p:nvPr/>
          </p:nvSpPr>
          <p:spPr>
            <a:xfrm>
              <a:off x="13279792" y="2777305"/>
              <a:ext cx="484880" cy="484880"/>
            </a:xfrm>
            <a:custGeom>
              <a:avLst/>
              <a:gdLst>
                <a:gd name="connsiteX0" fmla="*/ 484880 w 484880"/>
                <a:gd name="connsiteY0" fmla="*/ 242440 h 484880"/>
                <a:gd name="connsiteX1" fmla="*/ 242440 w 484880"/>
                <a:gd name="connsiteY1" fmla="*/ 484880 h 484880"/>
                <a:gd name="connsiteX2" fmla="*/ 0 w 484880"/>
                <a:gd name="connsiteY2" fmla="*/ 242440 h 484880"/>
                <a:gd name="connsiteX3" fmla="*/ 242440 w 484880"/>
                <a:gd name="connsiteY3" fmla="*/ 0 h 484880"/>
                <a:gd name="connsiteX4" fmla="*/ 484880 w 484880"/>
                <a:gd name="connsiteY4" fmla="*/ 242440 h 484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880" h="484880">
                  <a:moveTo>
                    <a:pt x="484880" y="242440"/>
                  </a:moveTo>
                  <a:cubicBezTo>
                    <a:pt x="484880" y="376336"/>
                    <a:pt x="376336" y="484880"/>
                    <a:pt x="242440" y="484880"/>
                  </a:cubicBezTo>
                  <a:cubicBezTo>
                    <a:pt x="108544" y="484880"/>
                    <a:pt x="0" y="376336"/>
                    <a:pt x="0" y="242440"/>
                  </a:cubicBezTo>
                  <a:cubicBezTo>
                    <a:pt x="0" y="108544"/>
                    <a:pt x="108544" y="0"/>
                    <a:pt x="242440" y="0"/>
                  </a:cubicBezTo>
                  <a:cubicBezTo>
                    <a:pt x="376336" y="0"/>
                    <a:pt x="484880" y="108544"/>
                    <a:pt x="484880" y="2424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513131A3-3EC7-4A32-B2EB-D63701BE2263}"/>
              </a:ext>
            </a:extLst>
          </p:cNvPr>
          <p:cNvGrpSpPr/>
          <p:nvPr userDrawn="1"/>
        </p:nvGrpSpPr>
        <p:grpSpPr>
          <a:xfrm>
            <a:off x="11169212" y="3702633"/>
            <a:ext cx="229989" cy="225311"/>
            <a:chOff x="2634853" y="3844528"/>
            <a:chExt cx="261938" cy="268319"/>
          </a:xfrm>
          <a:solidFill>
            <a:schemeClr val="bg1">
              <a:alpha val="80000"/>
            </a:schemeClr>
          </a:solidFill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775E6DBC-38F0-465F-AA03-108149F4CF26}"/>
                </a:ext>
              </a:extLst>
            </p:cNvPr>
            <p:cNvSpPr/>
            <p:nvPr/>
          </p:nvSpPr>
          <p:spPr>
            <a:xfrm>
              <a:off x="2634853" y="3965972"/>
              <a:ext cx="34366" cy="108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E45EA8E2-4F58-481F-B7A2-59B549D2395A}"/>
                </a:ext>
              </a:extLst>
            </p:cNvPr>
            <p:cNvSpPr/>
            <p:nvPr/>
          </p:nvSpPr>
          <p:spPr>
            <a:xfrm>
              <a:off x="2691746" y="3894534"/>
              <a:ext cx="34366" cy="18024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49A84BF6-8C6D-4595-8E02-E9F78A590B52}"/>
                </a:ext>
              </a:extLst>
            </p:cNvPr>
            <p:cNvSpPr/>
            <p:nvPr/>
          </p:nvSpPr>
          <p:spPr>
            <a:xfrm>
              <a:off x="2748639" y="3992166"/>
              <a:ext cx="34366" cy="826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FCDAB92E-C6C8-47B2-AF8C-252A92D9401D}"/>
                </a:ext>
              </a:extLst>
            </p:cNvPr>
            <p:cNvSpPr/>
            <p:nvPr/>
          </p:nvSpPr>
          <p:spPr>
            <a:xfrm>
              <a:off x="2805532" y="3942160"/>
              <a:ext cx="34366" cy="13261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B4BDE8B8-C690-400D-9707-88FAFD998D43}"/>
                </a:ext>
              </a:extLst>
            </p:cNvPr>
            <p:cNvSpPr/>
            <p:nvPr/>
          </p:nvSpPr>
          <p:spPr>
            <a:xfrm>
              <a:off x="2862425" y="3844528"/>
              <a:ext cx="34366" cy="2302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682B0715-25D7-43D5-8A59-39A6EDA48AFF}"/>
                </a:ext>
              </a:extLst>
            </p:cNvPr>
            <p:cNvSpPr/>
            <p:nvPr/>
          </p:nvSpPr>
          <p:spPr>
            <a:xfrm>
              <a:off x="2634853" y="4094559"/>
              <a:ext cx="261938" cy="1828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BA7E1647-B14F-4A08-88EE-6D924197532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43494" y="4609169"/>
            <a:ext cx="247314" cy="241130"/>
            <a:chOff x="2578100" y="0"/>
            <a:chExt cx="11628438" cy="11334750"/>
          </a:xfrm>
          <a:solidFill>
            <a:schemeClr val="bg1">
              <a:alpha val="80000"/>
            </a:schemeClr>
          </a:solidFill>
        </p:grpSpPr>
        <p:sp>
          <p:nvSpPr>
            <p:cNvPr id="56" name="Freeform 15">
              <a:extLst>
                <a:ext uri="{FF2B5EF4-FFF2-40B4-BE49-F238E27FC236}">
                  <a16:creationId xmlns:a16="http://schemas.microsoft.com/office/drawing/2014/main" id="{7627C785-0197-4021-9CDC-DAE452858C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2263" y="0"/>
              <a:ext cx="4994275" cy="5073650"/>
            </a:xfrm>
            <a:custGeom>
              <a:avLst/>
              <a:gdLst>
                <a:gd name="T0" fmla="*/ 211 w 442"/>
                <a:gd name="T1" fmla="*/ 137 h 449"/>
                <a:gd name="T2" fmla="*/ 308 w 442"/>
                <a:gd name="T3" fmla="*/ 215 h 449"/>
                <a:gd name="T4" fmla="*/ 231 w 442"/>
                <a:gd name="T5" fmla="*/ 312 h 449"/>
                <a:gd name="T6" fmla="*/ 133 w 442"/>
                <a:gd name="T7" fmla="*/ 235 h 449"/>
                <a:gd name="T8" fmla="*/ 211 w 442"/>
                <a:gd name="T9" fmla="*/ 137 h 449"/>
                <a:gd name="T10" fmla="*/ 65 w 442"/>
                <a:gd name="T11" fmla="*/ 283 h 449"/>
                <a:gd name="T12" fmla="*/ 16 w 442"/>
                <a:gd name="T13" fmla="*/ 320 h 449"/>
                <a:gd name="T14" fmla="*/ 71 w 442"/>
                <a:gd name="T15" fmla="*/ 394 h 449"/>
                <a:gd name="T16" fmla="*/ 121 w 442"/>
                <a:gd name="T17" fmla="*/ 357 h 449"/>
                <a:gd name="T18" fmla="*/ 194 w 442"/>
                <a:gd name="T19" fmla="*/ 389 h 449"/>
                <a:gd name="T20" fmla="*/ 201 w 442"/>
                <a:gd name="T21" fmla="*/ 449 h 449"/>
                <a:gd name="T22" fmla="*/ 292 w 442"/>
                <a:gd name="T23" fmla="*/ 439 h 449"/>
                <a:gd name="T24" fmla="*/ 285 w 442"/>
                <a:gd name="T25" fmla="*/ 378 h 449"/>
                <a:gd name="T26" fmla="*/ 349 w 442"/>
                <a:gd name="T27" fmla="*/ 330 h 449"/>
                <a:gd name="T28" fmla="*/ 405 w 442"/>
                <a:gd name="T29" fmla="*/ 354 h 449"/>
                <a:gd name="T30" fmla="*/ 442 w 442"/>
                <a:gd name="T31" fmla="*/ 270 h 449"/>
                <a:gd name="T32" fmla="*/ 385 w 442"/>
                <a:gd name="T33" fmla="*/ 246 h 449"/>
                <a:gd name="T34" fmla="*/ 376 w 442"/>
                <a:gd name="T35" fmla="*/ 166 h 449"/>
                <a:gd name="T36" fmla="*/ 425 w 442"/>
                <a:gd name="T37" fmla="*/ 130 h 449"/>
                <a:gd name="T38" fmla="*/ 370 w 442"/>
                <a:gd name="T39" fmla="*/ 56 h 449"/>
                <a:gd name="T40" fmla="*/ 321 w 442"/>
                <a:gd name="T41" fmla="*/ 93 h 449"/>
                <a:gd name="T42" fmla="*/ 248 w 442"/>
                <a:gd name="T43" fmla="*/ 61 h 449"/>
                <a:gd name="T44" fmla="*/ 241 w 442"/>
                <a:gd name="T45" fmla="*/ 0 h 449"/>
                <a:gd name="T46" fmla="*/ 149 w 442"/>
                <a:gd name="T47" fmla="*/ 11 h 449"/>
                <a:gd name="T48" fmla="*/ 156 w 442"/>
                <a:gd name="T49" fmla="*/ 72 h 449"/>
                <a:gd name="T50" fmla="*/ 93 w 442"/>
                <a:gd name="T51" fmla="*/ 119 h 449"/>
                <a:gd name="T52" fmla="*/ 36 w 442"/>
                <a:gd name="T53" fmla="*/ 95 h 449"/>
                <a:gd name="T54" fmla="*/ 0 w 442"/>
                <a:gd name="T55" fmla="*/ 180 h 449"/>
                <a:gd name="T56" fmla="*/ 56 w 442"/>
                <a:gd name="T57" fmla="*/ 204 h 449"/>
                <a:gd name="T58" fmla="*/ 65 w 442"/>
                <a:gd name="T59" fmla="*/ 283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2" h="449">
                  <a:moveTo>
                    <a:pt x="211" y="137"/>
                  </a:moveTo>
                  <a:cubicBezTo>
                    <a:pt x="259" y="132"/>
                    <a:pt x="303" y="166"/>
                    <a:pt x="308" y="215"/>
                  </a:cubicBezTo>
                  <a:cubicBezTo>
                    <a:pt x="314" y="263"/>
                    <a:pt x="279" y="307"/>
                    <a:pt x="231" y="312"/>
                  </a:cubicBezTo>
                  <a:cubicBezTo>
                    <a:pt x="183" y="318"/>
                    <a:pt x="139" y="283"/>
                    <a:pt x="133" y="235"/>
                  </a:cubicBezTo>
                  <a:cubicBezTo>
                    <a:pt x="128" y="187"/>
                    <a:pt x="162" y="143"/>
                    <a:pt x="211" y="137"/>
                  </a:cubicBezTo>
                  <a:close/>
                  <a:moveTo>
                    <a:pt x="65" y="283"/>
                  </a:moveTo>
                  <a:cubicBezTo>
                    <a:pt x="16" y="320"/>
                    <a:pt x="16" y="320"/>
                    <a:pt x="16" y="320"/>
                  </a:cubicBezTo>
                  <a:cubicBezTo>
                    <a:pt x="71" y="394"/>
                    <a:pt x="71" y="394"/>
                    <a:pt x="71" y="394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94" y="389"/>
                    <a:pt x="194" y="389"/>
                    <a:pt x="194" y="389"/>
                  </a:cubicBezTo>
                  <a:cubicBezTo>
                    <a:pt x="201" y="449"/>
                    <a:pt x="201" y="449"/>
                    <a:pt x="201" y="449"/>
                  </a:cubicBezTo>
                  <a:cubicBezTo>
                    <a:pt x="292" y="439"/>
                    <a:pt x="292" y="439"/>
                    <a:pt x="292" y="439"/>
                  </a:cubicBezTo>
                  <a:cubicBezTo>
                    <a:pt x="285" y="378"/>
                    <a:pt x="285" y="378"/>
                    <a:pt x="285" y="378"/>
                  </a:cubicBezTo>
                  <a:cubicBezTo>
                    <a:pt x="349" y="330"/>
                    <a:pt x="349" y="330"/>
                    <a:pt x="349" y="330"/>
                  </a:cubicBezTo>
                  <a:cubicBezTo>
                    <a:pt x="405" y="354"/>
                    <a:pt x="405" y="354"/>
                    <a:pt x="405" y="354"/>
                  </a:cubicBezTo>
                  <a:cubicBezTo>
                    <a:pt x="442" y="270"/>
                    <a:pt x="442" y="270"/>
                    <a:pt x="442" y="270"/>
                  </a:cubicBezTo>
                  <a:cubicBezTo>
                    <a:pt x="385" y="246"/>
                    <a:pt x="385" y="246"/>
                    <a:pt x="385" y="246"/>
                  </a:cubicBezTo>
                  <a:cubicBezTo>
                    <a:pt x="376" y="166"/>
                    <a:pt x="376" y="166"/>
                    <a:pt x="376" y="166"/>
                  </a:cubicBezTo>
                  <a:cubicBezTo>
                    <a:pt x="425" y="130"/>
                    <a:pt x="425" y="130"/>
                    <a:pt x="425" y="130"/>
                  </a:cubicBezTo>
                  <a:cubicBezTo>
                    <a:pt x="370" y="56"/>
                    <a:pt x="370" y="56"/>
                    <a:pt x="370" y="56"/>
                  </a:cubicBezTo>
                  <a:cubicBezTo>
                    <a:pt x="321" y="93"/>
                    <a:pt x="321" y="93"/>
                    <a:pt x="321" y="93"/>
                  </a:cubicBezTo>
                  <a:cubicBezTo>
                    <a:pt x="248" y="61"/>
                    <a:pt x="248" y="61"/>
                    <a:pt x="248" y="61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56" y="72"/>
                    <a:pt x="156" y="72"/>
                    <a:pt x="156" y="72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36" y="95"/>
                    <a:pt x="36" y="95"/>
                    <a:pt x="36" y="95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56" y="204"/>
                    <a:pt x="56" y="204"/>
                    <a:pt x="56" y="204"/>
                  </a:cubicBezTo>
                  <a:lnTo>
                    <a:pt x="65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D0089F6A-7CDB-46C8-BBE0-22E40D47EB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0313" y="6340475"/>
              <a:ext cx="5073650" cy="4994275"/>
            </a:xfrm>
            <a:custGeom>
              <a:avLst/>
              <a:gdLst>
                <a:gd name="T0" fmla="*/ 306 w 449"/>
                <a:gd name="T1" fmla="*/ 256 h 442"/>
                <a:gd name="T2" fmla="*/ 190 w 449"/>
                <a:gd name="T3" fmla="*/ 302 h 442"/>
                <a:gd name="T4" fmla="*/ 144 w 449"/>
                <a:gd name="T5" fmla="*/ 186 h 442"/>
                <a:gd name="T6" fmla="*/ 259 w 449"/>
                <a:gd name="T7" fmla="*/ 140 h 442"/>
                <a:gd name="T8" fmla="*/ 306 w 449"/>
                <a:gd name="T9" fmla="*/ 256 h 442"/>
                <a:gd name="T10" fmla="*/ 449 w 449"/>
                <a:gd name="T11" fmla="*/ 240 h 442"/>
                <a:gd name="T12" fmla="*/ 438 w 449"/>
                <a:gd name="T13" fmla="*/ 149 h 442"/>
                <a:gd name="T14" fmla="*/ 377 w 449"/>
                <a:gd name="T15" fmla="*/ 156 h 442"/>
                <a:gd name="T16" fmla="*/ 330 w 449"/>
                <a:gd name="T17" fmla="*/ 92 h 442"/>
                <a:gd name="T18" fmla="*/ 354 w 449"/>
                <a:gd name="T19" fmla="*/ 36 h 442"/>
                <a:gd name="T20" fmla="*/ 269 w 449"/>
                <a:gd name="T21" fmla="*/ 0 h 442"/>
                <a:gd name="T22" fmla="*/ 245 w 449"/>
                <a:gd name="T23" fmla="*/ 56 h 442"/>
                <a:gd name="T24" fmla="*/ 166 w 449"/>
                <a:gd name="T25" fmla="*/ 66 h 442"/>
                <a:gd name="T26" fmla="*/ 129 w 449"/>
                <a:gd name="T27" fmla="*/ 17 h 442"/>
                <a:gd name="T28" fmla="*/ 55 w 449"/>
                <a:gd name="T29" fmla="*/ 72 h 442"/>
                <a:gd name="T30" fmla="*/ 92 w 449"/>
                <a:gd name="T31" fmla="*/ 121 h 442"/>
                <a:gd name="T32" fmla="*/ 61 w 449"/>
                <a:gd name="T33" fmla="*/ 194 h 442"/>
                <a:gd name="T34" fmla="*/ 0 w 449"/>
                <a:gd name="T35" fmla="*/ 202 h 442"/>
                <a:gd name="T36" fmla="*/ 11 w 449"/>
                <a:gd name="T37" fmla="*/ 293 h 442"/>
                <a:gd name="T38" fmla="*/ 72 w 449"/>
                <a:gd name="T39" fmla="*/ 286 h 442"/>
                <a:gd name="T40" fmla="*/ 120 w 449"/>
                <a:gd name="T41" fmla="*/ 350 h 442"/>
                <a:gd name="T42" fmla="*/ 96 w 449"/>
                <a:gd name="T43" fmla="*/ 406 h 442"/>
                <a:gd name="T44" fmla="*/ 180 w 449"/>
                <a:gd name="T45" fmla="*/ 442 h 442"/>
                <a:gd name="T46" fmla="*/ 205 w 449"/>
                <a:gd name="T47" fmla="*/ 386 h 442"/>
                <a:gd name="T48" fmla="*/ 284 w 449"/>
                <a:gd name="T49" fmla="*/ 376 h 442"/>
                <a:gd name="T50" fmla="*/ 320 w 449"/>
                <a:gd name="T51" fmla="*/ 425 h 442"/>
                <a:gd name="T52" fmla="*/ 394 w 449"/>
                <a:gd name="T53" fmla="*/ 370 h 442"/>
                <a:gd name="T54" fmla="*/ 357 w 449"/>
                <a:gd name="T55" fmla="*/ 321 h 442"/>
                <a:gd name="T56" fmla="*/ 389 w 449"/>
                <a:gd name="T57" fmla="*/ 248 h 442"/>
                <a:gd name="T58" fmla="*/ 449 w 449"/>
                <a:gd name="T59" fmla="*/ 24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9" h="442">
                  <a:moveTo>
                    <a:pt x="306" y="256"/>
                  </a:moveTo>
                  <a:cubicBezTo>
                    <a:pt x="287" y="300"/>
                    <a:pt x="235" y="321"/>
                    <a:pt x="190" y="302"/>
                  </a:cubicBezTo>
                  <a:cubicBezTo>
                    <a:pt x="145" y="283"/>
                    <a:pt x="125" y="231"/>
                    <a:pt x="144" y="186"/>
                  </a:cubicBezTo>
                  <a:cubicBezTo>
                    <a:pt x="163" y="142"/>
                    <a:pt x="215" y="121"/>
                    <a:pt x="259" y="140"/>
                  </a:cubicBezTo>
                  <a:cubicBezTo>
                    <a:pt x="304" y="159"/>
                    <a:pt x="325" y="211"/>
                    <a:pt x="306" y="256"/>
                  </a:cubicBezTo>
                  <a:close/>
                  <a:moveTo>
                    <a:pt x="449" y="240"/>
                  </a:moveTo>
                  <a:cubicBezTo>
                    <a:pt x="438" y="149"/>
                    <a:pt x="438" y="149"/>
                    <a:pt x="438" y="149"/>
                  </a:cubicBezTo>
                  <a:cubicBezTo>
                    <a:pt x="377" y="156"/>
                    <a:pt x="377" y="156"/>
                    <a:pt x="377" y="156"/>
                  </a:cubicBezTo>
                  <a:cubicBezTo>
                    <a:pt x="330" y="92"/>
                    <a:pt x="330" y="92"/>
                    <a:pt x="330" y="92"/>
                  </a:cubicBezTo>
                  <a:cubicBezTo>
                    <a:pt x="354" y="36"/>
                    <a:pt x="354" y="36"/>
                    <a:pt x="354" y="36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245" y="56"/>
                    <a:pt x="245" y="56"/>
                    <a:pt x="245" y="56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92" y="121"/>
                    <a:pt x="92" y="121"/>
                    <a:pt x="92" y="121"/>
                  </a:cubicBezTo>
                  <a:cubicBezTo>
                    <a:pt x="61" y="194"/>
                    <a:pt x="61" y="194"/>
                    <a:pt x="61" y="194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11" y="293"/>
                    <a:pt x="11" y="293"/>
                    <a:pt x="11" y="293"/>
                  </a:cubicBezTo>
                  <a:cubicBezTo>
                    <a:pt x="72" y="286"/>
                    <a:pt x="72" y="286"/>
                    <a:pt x="72" y="286"/>
                  </a:cubicBezTo>
                  <a:cubicBezTo>
                    <a:pt x="120" y="350"/>
                    <a:pt x="120" y="350"/>
                    <a:pt x="120" y="350"/>
                  </a:cubicBezTo>
                  <a:cubicBezTo>
                    <a:pt x="96" y="406"/>
                    <a:pt x="96" y="406"/>
                    <a:pt x="96" y="406"/>
                  </a:cubicBezTo>
                  <a:cubicBezTo>
                    <a:pt x="180" y="442"/>
                    <a:pt x="180" y="442"/>
                    <a:pt x="180" y="442"/>
                  </a:cubicBezTo>
                  <a:cubicBezTo>
                    <a:pt x="205" y="386"/>
                    <a:pt x="205" y="386"/>
                    <a:pt x="205" y="386"/>
                  </a:cubicBezTo>
                  <a:cubicBezTo>
                    <a:pt x="284" y="376"/>
                    <a:pt x="284" y="376"/>
                    <a:pt x="284" y="376"/>
                  </a:cubicBezTo>
                  <a:cubicBezTo>
                    <a:pt x="320" y="425"/>
                    <a:pt x="320" y="425"/>
                    <a:pt x="320" y="425"/>
                  </a:cubicBezTo>
                  <a:cubicBezTo>
                    <a:pt x="394" y="370"/>
                    <a:pt x="394" y="370"/>
                    <a:pt x="394" y="370"/>
                  </a:cubicBezTo>
                  <a:cubicBezTo>
                    <a:pt x="357" y="321"/>
                    <a:pt x="357" y="321"/>
                    <a:pt x="357" y="321"/>
                  </a:cubicBezTo>
                  <a:cubicBezTo>
                    <a:pt x="389" y="248"/>
                    <a:pt x="389" y="248"/>
                    <a:pt x="389" y="248"/>
                  </a:cubicBezTo>
                  <a:lnTo>
                    <a:pt x="449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95F54AA0-60BD-4775-A572-C3F8C76994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8100" y="1638300"/>
              <a:ext cx="7627938" cy="7616825"/>
            </a:xfrm>
            <a:custGeom>
              <a:avLst/>
              <a:gdLst>
                <a:gd name="T0" fmla="*/ 337 w 675"/>
                <a:gd name="T1" fmla="*/ 485 h 674"/>
                <a:gd name="T2" fmla="*/ 189 w 675"/>
                <a:gd name="T3" fmla="*/ 337 h 674"/>
                <a:gd name="T4" fmla="*/ 337 w 675"/>
                <a:gd name="T5" fmla="*/ 189 h 674"/>
                <a:gd name="T6" fmla="*/ 486 w 675"/>
                <a:gd name="T7" fmla="*/ 337 h 674"/>
                <a:gd name="T8" fmla="*/ 337 w 675"/>
                <a:gd name="T9" fmla="*/ 485 h 674"/>
                <a:gd name="T10" fmla="*/ 571 w 675"/>
                <a:gd name="T11" fmla="*/ 479 h 674"/>
                <a:gd name="T12" fmla="*/ 602 w 675"/>
                <a:gd name="T13" fmla="*/ 401 h 674"/>
                <a:gd name="T14" fmla="*/ 675 w 675"/>
                <a:gd name="T15" fmla="*/ 395 h 674"/>
                <a:gd name="T16" fmla="*/ 675 w 675"/>
                <a:gd name="T17" fmla="*/ 279 h 674"/>
                <a:gd name="T18" fmla="*/ 602 w 675"/>
                <a:gd name="T19" fmla="*/ 272 h 674"/>
                <a:gd name="T20" fmla="*/ 571 w 675"/>
                <a:gd name="T21" fmla="*/ 195 h 674"/>
                <a:gd name="T22" fmla="*/ 617 w 675"/>
                <a:gd name="T23" fmla="*/ 139 h 674"/>
                <a:gd name="T24" fmla="*/ 535 w 675"/>
                <a:gd name="T25" fmla="*/ 57 h 674"/>
                <a:gd name="T26" fmla="*/ 479 w 675"/>
                <a:gd name="T27" fmla="*/ 104 h 674"/>
                <a:gd name="T28" fmla="*/ 402 w 675"/>
                <a:gd name="T29" fmla="*/ 72 h 674"/>
                <a:gd name="T30" fmla="*/ 395 w 675"/>
                <a:gd name="T31" fmla="*/ 0 h 674"/>
                <a:gd name="T32" fmla="*/ 279 w 675"/>
                <a:gd name="T33" fmla="*/ 0 h 674"/>
                <a:gd name="T34" fmla="*/ 273 w 675"/>
                <a:gd name="T35" fmla="*/ 72 h 674"/>
                <a:gd name="T36" fmla="*/ 195 w 675"/>
                <a:gd name="T37" fmla="*/ 103 h 674"/>
                <a:gd name="T38" fmla="*/ 140 w 675"/>
                <a:gd name="T39" fmla="*/ 57 h 674"/>
                <a:gd name="T40" fmla="*/ 58 w 675"/>
                <a:gd name="T41" fmla="*/ 139 h 674"/>
                <a:gd name="T42" fmla="*/ 104 w 675"/>
                <a:gd name="T43" fmla="*/ 195 h 674"/>
                <a:gd name="T44" fmla="*/ 72 w 675"/>
                <a:gd name="T45" fmla="*/ 272 h 674"/>
                <a:gd name="T46" fmla="*/ 0 w 675"/>
                <a:gd name="T47" fmla="*/ 279 h 674"/>
                <a:gd name="T48" fmla="*/ 0 w 675"/>
                <a:gd name="T49" fmla="*/ 395 h 674"/>
                <a:gd name="T50" fmla="*/ 72 w 675"/>
                <a:gd name="T51" fmla="*/ 401 h 674"/>
                <a:gd name="T52" fmla="*/ 104 w 675"/>
                <a:gd name="T53" fmla="*/ 479 h 674"/>
                <a:gd name="T54" fmla="*/ 58 w 675"/>
                <a:gd name="T55" fmla="*/ 534 h 674"/>
                <a:gd name="T56" fmla="*/ 140 w 675"/>
                <a:gd name="T57" fmla="*/ 616 h 674"/>
                <a:gd name="T58" fmla="*/ 195 w 675"/>
                <a:gd name="T59" fmla="*/ 570 h 674"/>
                <a:gd name="T60" fmla="*/ 273 w 675"/>
                <a:gd name="T61" fmla="*/ 602 h 674"/>
                <a:gd name="T62" fmla="*/ 279 w 675"/>
                <a:gd name="T63" fmla="*/ 674 h 674"/>
                <a:gd name="T64" fmla="*/ 395 w 675"/>
                <a:gd name="T65" fmla="*/ 674 h 674"/>
                <a:gd name="T66" fmla="*/ 402 w 675"/>
                <a:gd name="T67" fmla="*/ 602 h 674"/>
                <a:gd name="T68" fmla="*/ 479 w 675"/>
                <a:gd name="T69" fmla="*/ 570 h 674"/>
                <a:gd name="T70" fmla="*/ 535 w 675"/>
                <a:gd name="T71" fmla="*/ 616 h 674"/>
                <a:gd name="T72" fmla="*/ 617 w 675"/>
                <a:gd name="T73" fmla="*/ 534 h 674"/>
                <a:gd name="T74" fmla="*/ 571 w 675"/>
                <a:gd name="T75" fmla="*/ 479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5" h="674">
                  <a:moveTo>
                    <a:pt x="337" y="485"/>
                  </a:moveTo>
                  <a:cubicBezTo>
                    <a:pt x="255" y="485"/>
                    <a:pt x="189" y="419"/>
                    <a:pt x="189" y="337"/>
                  </a:cubicBezTo>
                  <a:cubicBezTo>
                    <a:pt x="189" y="255"/>
                    <a:pt x="255" y="189"/>
                    <a:pt x="337" y="189"/>
                  </a:cubicBezTo>
                  <a:cubicBezTo>
                    <a:pt x="419" y="189"/>
                    <a:pt x="486" y="255"/>
                    <a:pt x="486" y="337"/>
                  </a:cubicBezTo>
                  <a:cubicBezTo>
                    <a:pt x="486" y="419"/>
                    <a:pt x="419" y="485"/>
                    <a:pt x="337" y="485"/>
                  </a:cubicBezTo>
                  <a:close/>
                  <a:moveTo>
                    <a:pt x="571" y="479"/>
                  </a:moveTo>
                  <a:cubicBezTo>
                    <a:pt x="602" y="401"/>
                    <a:pt x="602" y="401"/>
                    <a:pt x="602" y="401"/>
                  </a:cubicBezTo>
                  <a:cubicBezTo>
                    <a:pt x="675" y="395"/>
                    <a:pt x="675" y="395"/>
                    <a:pt x="675" y="395"/>
                  </a:cubicBezTo>
                  <a:cubicBezTo>
                    <a:pt x="675" y="279"/>
                    <a:pt x="675" y="279"/>
                    <a:pt x="675" y="279"/>
                  </a:cubicBezTo>
                  <a:cubicBezTo>
                    <a:pt x="602" y="272"/>
                    <a:pt x="602" y="272"/>
                    <a:pt x="602" y="272"/>
                  </a:cubicBezTo>
                  <a:cubicBezTo>
                    <a:pt x="571" y="195"/>
                    <a:pt x="571" y="195"/>
                    <a:pt x="571" y="195"/>
                  </a:cubicBezTo>
                  <a:cubicBezTo>
                    <a:pt x="617" y="139"/>
                    <a:pt x="617" y="139"/>
                    <a:pt x="617" y="139"/>
                  </a:cubicBezTo>
                  <a:cubicBezTo>
                    <a:pt x="535" y="57"/>
                    <a:pt x="535" y="57"/>
                    <a:pt x="535" y="57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02" y="72"/>
                    <a:pt x="402" y="72"/>
                    <a:pt x="402" y="72"/>
                  </a:cubicBezTo>
                  <a:cubicBezTo>
                    <a:pt x="395" y="0"/>
                    <a:pt x="395" y="0"/>
                    <a:pt x="395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3" y="72"/>
                    <a:pt x="273" y="72"/>
                    <a:pt x="273" y="72"/>
                  </a:cubicBezTo>
                  <a:cubicBezTo>
                    <a:pt x="195" y="103"/>
                    <a:pt x="195" y="103"/>
                    <a:pt x="195" y="103"/>
                  </a:cubicBezTo>
                  <a:cubicBezTo>
                    <a:pt x="140" y="57"/>
                    <a:pt x="140" y="57"/>
                    <a:pt x="140" y="57"/>
                  </a:cubicBezTo>
                  <a:cubicBezTo>
                    <a:pt x="58" y="139"/>
                    <a:pt x="58" y="139"/>
                    <a:pt x="58" y="139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72" y="272"/>
                    <a:pt x="72" y="272"/>
                    <a:pt x="72" y="272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0" y="395"/>
                    <a:pt x="0" y="395"/>
                    <a:pt x="0" y="395"/>
                  </a:cubicBezTo>
                  <a:cubicBezTo>
                    <a:pt x="72" y="401"/>
                    <a:pt x="72" y="401"/>
                    <a:pt x="72" y="401"/>
                  </a:cubicBezTo>
                  <a:cubicBezTo>
                    <a:pt x="104" y="479"/>
                    <a:pt x="104" y="479"/>
                    <a:pt x="104" y="479"/>
                  </a:cubicBezTo>
                  <a:cubicBezTo>
                    <a:pt x="58" y="534"/>
                    <a:pt x="58" y="534"/>
                    <a:pt x="58" y="534"/>
                  </a:cubicBezTo>
                  <a:cubicBezTo>
                    <a:pt x="140" y="616"/>
                    <a:pt x="140" y="616"/>
                    <a:pt x="140" y="616"/>
                  </a:cubicBezTo>
                  <a:cubicBezTo>
                    <a:pt x="195" y="570"/>
                    <a:pt x="195" y="570"/>
                    <a:pt x="195" y="570"/>
                  </a:cubicBezTo>
                  <a:cubicBezTo>
                    <a:pt x="273" y="602"/>
                    <a:pt x="273" y="602"/>
                    <a:pt x="273" y="602"/>
                  </a:cubicBezTo>
                  <a:cubicBezTo>
                    <a:pt x="279" y="674"/>
                    <a:pt x="279" y="674"/>
                    <a:pt x="279" y="674"/>
                  </a:cubicBezTo>
                  <a:cubicBezTo>
                    <a:pt x="395" y="674"/>
                    <a:pt x="395" y="674"/>
                    <a:pt x="395" y="674"/>
                  </a:cubicBezTo>
                  <a:cubicBezTo>
                    <a:pt x="402" y="602"/>
                    <a:pt x="402" y="602"/>
                    <a:pt x="402" y="602"/>
                  </a:cubicBezTo>
                  <a:cubicBezTo>
                    <a:pt x="479" y="570"/>
                    <a:pt x="479" y="570"/>
                    <a:pt x="479" y="570"/>
                  </a:cubicBezTo>
                  <a:cubicBezTo>
                    <a:pt x="535" y="616"/>
                    <a:pt x="535" y="616"/>
                    <a:pt x="535" y="616"/>
                  </a:cubicBezTo>
                  <a:cubicBezTo>
                    <a:pt x="617" y="534"/>
                    <a:pt x="617" y="534"/>
                    <a:pt x="617" y="534"/>
                  </a:cubicBezTo>
                  <a:lnTo>
                    <a:pt x="571" y="4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AA906A84-02D9-4AFC-BAF7-CB4696150825}"/>
              </a:ext>
            </a:extLst>
          </p:cNvPr>
          <p:cNvGrpSpPr/>
          <p:nvPr userDrawn="1"/>
        </p:nvGrpSpPr>
        <p:grpSpPr>
          <a:xfrm>
            <a:off x="11217797" y="1860685"/>
            <a:ext cx="192111" cy="290045"/>
            <a:chOff x="-3947158" y="1719597"/>
            <a:chExt cx="3385092" cy="5109416"/>
          </a:xfrm>
          <a:solidFill>
            <a:schemeClr val="bg1">
              <a:alpha val="80000"/>
            </a:schemeClr>
          </a:solidFill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4388970D-6230-41DA-98EA-21066E4CE894}"/>
                </a:ext>
              </a:extLst>
            </p:cNvPr>
            <p:cNvSpPr/>
            <p:nvPr/>
          </p:nvSpPr>
          <p:spPr>
            <a:xfrm>
              <a:off x="-3624517" y="2322583"/>
              <a:ext cx="3062451" cy="218046"/>
            </a:xfrm>
            <a:prstGeom prst="rect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73A06D71-C338-4611-BA99-750D8F46A560}"/>
                </a:ext>
              </a:extLst>
            </p:cNvPr>
            <p:cNvSpPr/>
            <p:nvPr/>
          </p:nvSpPr>
          <p:spPr>
            <a:xfrm>
              <a:off x="-3947158" y="3738067"/>
              <a:ext cx="1988090" cy="3089947"/>
            </a:xfrm>
            <a:custGeom>
              <a:avLst/>
              <a:gdLst>
                <a:gd name="connsiteX0" fmla="*/ 1536585 w 1988090"/>
                <a:gd name="connsiteY0" fmla="*/ 279 h 3089947"/>
                <a:gd name="connsiteX1" fmla="*/ 1493799 w 1988090"/>
                <a:gd name="connsiteY1" fmla="*/ 6084 h 3089947"/>
                <a:gd name="connsiteX2" fmla="*/ 994045 w 1988090"/>
                <a:gd name="connsiteY2" fmla="*/ 201257 h 3089947"/>
                <a:gd name="connsiteX3" fmla="*/ 494330 w 1988090"/>
                <a:gd name="connsiteY3" fmla="*/ 6122 h 3089947"/>
                <a:gd name="connsiteX4" fmla="*/ 451390 w 1988090"/>
                <a:gd name="connsiteY4" fmla="*/ 317 h 3089947"/>
                <a:gd name="connsiteX5" fmla="*/ 362549 w 1988090"/>
                <a:gd name="connsiteY5" fmla="*/ 12004 h 3089947"/>
                <a:gd name="connsiteX6" fmla="*/ 126819 w 1988090"/>
                <a:gd name="connsiteY6" fmla="*/ 305590 h 3089947"/>
                <a:gd name="connsiteX7" fmla="*/ 36 w 1988090"/>
                <a:gd name="connsiteY7" fmla="*/ 1551706 h 3089947"/>
                <a:gd name="connsiteX8" fmla="*/ 56470 w 1988090"/>
                <a:gd name="connsiteY8" fmla="*/ 1695481 h 3089947"/>
                <a:gd name="connsiteX9" fmla="*/ 198053 w 1988090"/>
                <a:gd name="connsiteY9" fmla="*/ 1757220 h 3089947"/>
                <a:gd name="connsiteX10" fmla="*/ 199975 w 1988090"/>
                <a:gd name="connsiteY10" fmla="*/ 1757258 h 3089947"/>
                <a:gd name="connsiteX11" fmla="*/ 201898 w 1988090"/>
                <a:gd name="connsiteY11" fmla="*/ 1757258 h 3089947"/>
                <a:gd name="connsiteX12" fmla="*/ 290969 w 1988090"/>
                <a:gd name="connsiteY12" fmla="*/ 1736154 h 3089947"/>
                <a:gd name="connsiteX13" fmla="*/ 359743 w 1988090"/>
                <a:gd name="connsiteY13" fmla="*/ 1679873 h 3089947"/>
                <a:gd name="connsiteX14" fmla="*/ 359743 w 1988090"/>
                <a:gd name="connsiteY14" fmla="*/ 2240751 h 3089947"/>
                <a:gd name="connsiteX15" fmla="*/ 359743 w 1988090"/>
                <a:gd name="connsiteY15" fmla="*/ 2801628 h 3089947"/>
                <a:gd name="connsiteX16" fmla="*/ 444201 w 1988090"/>
                <a:gd name="connsiteY16" fmla="*/ 3005489 h 3089947"/>
                <a:gd name="connsiteX17" fmla="*/ 648062 w 1988090"/>
                <a:gd name="connsiteY17" fmla="*/ 3089947 h 3089947"/>
                <a:gd name="connsiteX18" fmla="*/ 851923 w 1988090"/>
                <a:gd name="connsiteY18" fmla="*/ 3005489 h 3089947"/>
                <a:gd name="connsiteX19" fmla="*/ 936382 w 1988090"/>
                <a:gd name="connsiteY19" fmla="*/ 2801628 h 3089947"/>
                <a:gd name="connsiteX20" fmla="*/ 936382 w 1988090"/>
                <a:gd name="connsiteY20" fmla="*/ 2340317 h 3089947"/>
                <a:gd name="connsiteX21" fmla="*/ 936382 w 1988090"/>
                <a:gd name="connsiteY21" fmla="*/ 1879006 h 3089947"/>
                <a:gd name="connsiteX22" fmla="*/ 994045 w 1988090"/>
                <a:gd name="connsiteY22" fmla="*/ 1879006 h 3089947"/>
                <a:gd name="connsiteX23" fmla="*/ 1051709 w 1988090"/>
                <a:gd name="connsiteY23" fmla="*/ 1879006 h 3089947"/>
                <a:gd name="connsiteX24" fmla="*/ 1051709 w 1988090"/>
                <a:gd name="connsiteY24" fmla="*/ 2340317 h 3089947"/>
                <a:gd name="connsiteX25" fmla="*/ 1051709 w 1988090"/>
                <a:gd name="connsiteY25" fmla="*/ 2801628 h 3089947"/>
                <a:gd name="connsiteX26" fmla="*/ 1136167 w 1988090"/>
                <a:gd name="connsiteY26" fmla="*/ 3005489 h 3089947"/>
                <a:gd name="connsiteX27" fmla="*/ 1340029 w 1988090"/>
                <a:gd name="connsiteY27" fmla="*/ 3089947 h 3089947"/>
                <a:gd name="connsiteX28" fmla="*/ 1543889 w 1988090"/>
                <a:gd name="connsiteY28" fmla="*/ 3005489 h 3089947"/>
                <a:gd name="connsiteX29" fmla="*/ 1628348 w 1988090"/>
                <a:gd name="connsiteY29" fmla="*/ 2801628 h 3089947"/>
                <a:gd name="connsiteX30" fmla="*/ 1628348 w 1988090"/>
                <a:gd name="connsiteY30" fmla="*/ 2263432 h 3089947"/>
                <a:gd name="connsiteX31" fmla="*/ 1628348 w 1988090"/>
                <a:gd name="connsiteY31" fmla="*/ 1725313 h 3089947"/>
                <a:gd name="connsiteX32" fmla="*/ 1628348 w 1988090"/>
                <a:gd name="connsiteY32" fmla="*/ 1725236 h 3089947"/>
                <a:gd name="connsiteX33" fmla="*/ 1628348 w 1988090"/>
                <a:gd name="connsiteY33" fmla="*/ 1725159 h 3089947"/>
                <a:gd name="connsiteX34" fmla="*/ 1628348 w 1988090"/>
                <a:gd name="connsiteY34" fmla="*/ 1702478 h 3089947"/>
                <a:gd name="connsiteX35" fmla="*/ 1628348 w 1988090"/>
                <a:gd name="connsiteY35" fmla="*/ 1679797 h 3089947"/>
                <a:gd name="connsiteX36" fmla="*/ 1697122 w 1988090"/>
                <a:gd name="connsiteY36" fmla="*/ 1736115 h 3089947"/>
                <a:gd name="connsiteX37" fmla="*/ 1786193 w 1988090"/>
                <a:gd name="connsiteY37" fmla="*/ 1757220 h 3089947"/>
                <a:gd name="connsiteX38" fmla="*/ 1788115 w 1988090"/>
                <a:gd name="connsiteY38" fmla="*/ 1757220 h 3089947"/>
                <a:gd name="connsiteX39" fmla="*/ 1790037 w 1988090"/>
                <a:gd name="connsiteY39" fmla="*/ 1757182 h 3089947"/>
                <a:gd name="connsiteX40" fmla="*/ 1931621 w 1988090"/>
                <a:gd name="connsiteY40" fmla="*/ 1695443 h 3089947"/>
                <a:gd name="connsiteX41" fmla="*/ 1988055 w 1988090"/>
                <a:gd name="connsiteY41" fmla="*/ 1551668 h 3089947"/>
                <a:gd name="connsiteX42" fmla="*/ 1861233 w 1988090"/>
                <a:gd name="connsiteY42" fmla="*/ 305552 h 3089947"/>
                <a:gd name="connsiteX43" fmla="*/ 1625465 w 1988090"/>
                <a:gd name="connsiteY43" fmla="*/ 11966 h 3089947"/>
                <a:gd name="connsiteX44" fmla="*/ 1536585 w 1988090"/>
                <a:gd name="connsiteY44" fmla="*/ 279 h 308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988090" h="3089947">
                  <a:moveTo>
                    <a:pt x="1536585" y="279"/>
                  </a:moveTo>
                  <a:cubicBezTo>
                    <a:pt x="1521939" y="971"/>
                    <a:pt x="1507676" y="3008"/>
                    <a:pt x="1493799" y="6084"/>
                  </a:cubicBezTo>
                  <a:cubicBezTo>
                    <a:pt x="1361787" y="126870"/>
                    <a:pt x="1186643" y="201257"/>
                    <a:pt x="994045" y="201257"/>
                  </a:cubicBezTo>
                  <a:cubicBezTo>
                    <a:pt x="801448" y="201257"/>
                    <a:pt x="626342" y="126870"/>
                    <a:pt x="494330" y="6122"/>
                  </a:cubicBezTo>
                  <a:cubicBezTo>
                    <a:pt x="480414" y="3047"/>
                    <a:pt x="466075" y="1009"/>
                    <a:pt x="451390" y="317"/>
                  </a:cubicBezTo>
                  <a:cubicBezTo>
                    <a:pt x="422827" y="-1028"/>
                    <a:pt x="392996" y="2432"/>
                    <a:pt x="362549" y="12004"/>
                  </a:cubicBezTo>
                  <a:cubicBezTo>
                    <a:pt x="277591" y="38683"/>
                    <a:pt x="193133" y="92772"/>
                    <a:pt x="126819" y="305590"/>
                  </a:cubicBezTo>
                  <a:cubicBezTo>
                    <a:pt x="60506" y="518408"/>
                    <a:pt x="12337" y="889994"/>
                    <a:pt x="36" y="1551706"/>
                  </a:cubicBezTo>
                  <a:cubicBezTo>
                    <a:pt x="-1002" y="1607409"/>
                    <a:pt x="20641" y="1658308"/>
                    <a:pt x="56470" y="1695481"/>
                  </a:cubicBezTo>
                  <a:cubicBezTo>
                    <a:pt x="92298" y="1732655"/>
                    <a:pt x="142312" y="1756221"/>
                    <a:pt x="198053" y="1757220"/>
                  </a:cubicBezTo>
                  <a:cubicBezTo>
                    <a:pt x="198707" y="1757220"/>
                    <a:pt x="199322" y="1757220"/>
                    <a:pt x="199975" y="1757258"/>
                  </a:cubicBezTo>
                  <a:cubicBezTo>
                    <a:pt x="200629" y="1757297"/>
                    <a:pt x="201244" y="1757258"/>
                    <a:pt x="201898" y="1757258"/>
                  </a:cubicBezTo>
                  <a:cubicBezTo>
                    <a:pt x="233920" y="1757258"/>
                    <a:pt x="264136" y="1749647"/>
                    <a:pt x="290969" y="1736154"/>
                  </a:cubicBezTo>
                  <a:cubicBezTo>
                    <a:pt x="317802" y="1722660"/>
                    <a:pt x="341214" y="1703323"/>
                    <a:pt x="359743" y="1679873"/>
                  </a:cubicBezTo>
                  <a:lnTo>
                    <a:pt x="359743" y="2240751"/>
                  </a:lnTo>
                  <a:lnTo>
                    <a:pt x="359743" y="2801628"/>
                  </a:lnTo>
                  <a:cubicBezTo>
                    <a:pt x="359743" y="2881243"/>
                    <a:pt x="391996" y="2953323"/>
                    <a:pt x="444201" y="3005489"/>
                  </a:cubicBezTo>
                  <a:cubicBezTo>
                    <a:pt x="496406" y="3057656"/>
                    <a:pt x="568447" y="3089947"/>
                    <a:pt x="648062" y="3089947"/>
                  </a:cubicBezTo>
                  <a:cubicBezTo>
                    <a:pt x="727677" y="3089947"/>
                    <a:pt x="799757" y="3057694"/>
                    <a:pt x="851923" y="3005489"/>
                  </a:cubicBezTo>
                  <a:cubicBezTo>
                    <a:pt x="904090" y="2953284"/>
                    <a:pt x="936382" y="2881243"/>
                    <a:pt x="936382" y="2801628"/>
                  </a:cubicBezTo>
                  <a:lnTo>
                    <a:pt x="936382" y="2340317"/>
                  </a:lnTo>
                  <a:lnTo>
                    <a:pt x="936382" y="1879006"/>
                  </a:lnTo>
                  <a:lnTo>
                    <a:pt x="994045" y="1879006"/>
                  </a:lnTo>
                  <a:lnTo>
                    <a:pt x="1051709" y="1879006"/>
                  </a:lnTo>
                  <a:lnTo>
                    <a:pt x="1051709" y="2340317"/>
                  </a:lnTo>
                  <a:lnTo>
                    <a:pt x="1051709" y="2801628"/>
                  </a:lnTo>
                  <a:cubicBezTo>
                    <a:pt x="1051709" y="2881243"/>
                    <a:pt x="1083962" y="2953323"/>
                    <a:pt x="1136167" y="3005489"/>
                  </a:cubicBezTo>
                  <a:cubicBezTo>
                    <a:pt x="1188372" y="3057656"/>
                    <a:pt x="1260414" y="3089947"/>
                    <a:pt x="1340029" y="3089947"/>
                  </a:cubicBezTo>
                  <a:cubicBezTo>
                    <a:pt x="1419643" y="3089947"/>
                    <a:pt x="1491723" y="3057694"/>
                    <a:pt x="1543889" y="3005489"/>
                  </a:cubicBezTo>
                  <a:cubicBezTo>
                    <a:pt x="1596056" y="2953284"/>
                    <a:pt x="1628348" y="2881243"/>
                    <a:pt x="1628348" y="2801628"/>
                  </a:cubicBezTo>
                  <a:lnTo>
                    <a:pt x="1628348" y="2263432"/>
                  </a:lnTo>
                  <a:lnTo>
                    <a:pt x="1628348" y="1725313"/>
                  </a:lnTo>
                  <a:cubicBezTo>
                    <a:pt x="1628348" y="1725274"/>
                    <a:pt x="1628348" y="1725274"/>
                    <a:pt x="1628348" y="1725236"/>
                  </a:cubicBezTo>
                  <a:cubicBezTo>
                    <a:pt x="1628348" y="1725197"/>
                    <a:pt x="1628348" y="1725197"/>
                    <a:pt x="1628348" y="1725159"/>
                  </a:cubicBezTo>
                  <a:lnTo>
                    <a:pt x="1628348" y="1702478"/>
                  </a:lnTo>
                  <a:lnTo>
                    <a:pt x="1628348" y="1679797"/>
                  </a:lnTo>
                  <a:cubicBezTo>
                    <a:pt x="1646839" y="1703247"/>
                    <a:pt x="1670289" y="1722622"/>
                    <a:pt x="1697122" y="1736115"/>
                  </a:cubicBezTo>
                  <a:cubicBezTo>
                    <a:pt x="1723955" y="1749609"/>
                    <a:pt x="1754170" y="1757220"/>
                    <a:pt x="1786193" y="1757220"/>
                  </a:cubicBezTo>
                  <a:cubicBezTo>
                    <a:pt x="1786847" y="1757220"/>
                    <a:pt x="1787461" y="1757220"/>
                    <a:pt x="1788115" y="1757220"/>
                  </a:cubicBezTo>
                  <a:cubicBezTo>
                    <a:pt x="1788769" y="1757220"/>
                    <a:pt x="1789384" y="1757220"/>
                    <a:pt x="1790037" y="1757182"/>
                  </a:cubicBezTo>
                  <a:cubicBezTo>
                    <a:pt x="1845779" y="1756144"/>
                    <a:pt x="1895793" y="1732617"/>
                    <a:pt x="1931621" y="1695443"/>
                  </a:cubicBezTo>
                  <a:cubicBezTo>
                    <a:pt x="1967450" y="1658269"/>
                    <a:pt x="1989093" y="1607371"/>
                    <a:pt x="1988055" y="1551668"/>
                  </a:cubicBezTo>
                  <a:cubicBezTo>
                    <a:pt x="1975715" y="889955"/>
                    <a:pt x="1927585" y="518370"/>
                    <a:pt x="1861233" y="305552"/>
                  </a:cubicBezTo>
                  <a:cubicBezTo>
                    <a:pt x="1794881" y="92733"/>
                    <a:pt x="1710423" y="38683"/>
                    <a:pt x="1625465" y="11966"/>
                  </a:cubicBezTo>
                  <a:cubicBezTo>
                    <a:pt x="1594980" y="2393"/>
                    <a:pt x="1565148" y="-1066"/>
                    <a:pt x="1536585" y="27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323676F0-43F6-40E3-8D08-514E17FB7C51}"/>
                </a:ext>
              </a:extLst>
            </p:cNvPr>
            <p:cNvSpPr/>
            <p:nvPr/>
          </p:nvSpPr>
          <p:spPr>
            <a:xfrm>
              <a:off x="-3541246" y="2609288"/>
              <a:ext cx="1176265" cy="1176265"/>
            </a:xfrm>
            <a:custGeom>
              <a:avLst/>
              <a:gdLst>
                <a:gd name="connsiteX0" fmla="*/ 1176266 w 1176265"/>
                <a:gd name="connsiteY0" fmla="*/ 588133 h 1176265"/>
                <a:gd name="connsiteX1" fmla="*/ 588133 w 1176265"/>
                <a:gd name="connsiteY1" fmla="*/ 1176266 h 1176265"/>
                <a:gd name="connsiteX2" fmla="*/ 0 w 1176265"/>
                <a:gd name="connsiteY2" fmla="*/ 588133 h 1176265"/>
                <a:gd name="connsiteX3" fmla="*/ 588133 w 1176265"/>
                <a:gd name="connsiteY3" fmla="*/ 0 h 1176265"/>
                <a:gd name="connsiteX4" fmla="*/ 1176266 w 1176265"/>
                <a:gd name="connsiteY4" fmla="*/ 588133 h 117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6265" h="1176265">
                  <a:moveTo>
                    <a:pt x="1176266" y="588133"/>
                  </a:moveTo>
                  <a:cubicBezTo>
                    <a:pt x="1176266" y="912950"/>
                    <a:pt x="912950" y="1176266"/>
                    <a:pt x="588133" y="1176266"/>
                  </a:cubicBezTo>
                  <a:cubicBezTo>
                    <a:pt x="263316" y="1176266"/>
                    <a:pt x="0" y="912950"/>
                    <a:pt x="0" y="588133"/>
                  </a:cubicBezTo>
                  <a:cubicBezTo>
                    <a:pt x="0" y="263316"/>
                    <a:pt x="263316" y="0"/>
                    <a:pt x="588133" y="0"/>
                  </a:cubicBezTo>
                  <a:cubicBezTo>
                    <a:pt x="912950" y="0"/>
                    <a:pt x="1176266" y="263316"/>
                    <a:pt x="1176266" y="5881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68532A0D-CCFC-4DA7-91B7-6500E13F7153}"/>
                </a:ext>
              </a:extLst>
            </p:cNvPr>
            <p:cNvSpPr/>
            <p:nvPr/>
          </p:nvSpPr>
          <p:spPr>
            <a:xfrm>
              <a:off x="-1697617" y="2605328"/>
              <a:ext cx="956528" cy="4223685"/>
            </a:xfrm>
            <a:custGeom>
              <a:avLst/>
              <a:gdLst>
                <a:gd name="connsiteX0" fmla="*/ 956528 w 956528"/>
                <a:gd name="connsiteY0" fmla="*/ 4223686 h 4223685"/>
                <a:gd name="connsiteX1" fmla="*/ 956528 w 956528"/>
                <a:gd name="connsiteY1" fmla="*/ 0 h 4223685"/>
                <a:gd name="connsiteX2" fmla="*/ 900248 w 956528"/>
                <a:gd name="connsiteY2" fmla="*/ 0 h 4223685"/>
                <a:gd name="connsiteX3" fmla="*/ 900248 w 956528"/>
                <a:gd name="connsiteY3" fmla="*/ 4167445 h 4223685"/>
                <a:gd name="connsiteX4" fmla="*/ 56280 w 956528"/>
                <a:gd name="connsiteY4" fmla="*/ 4167445 h 4223685"/>
                <a:gd name="connsiteX5" fmla="*/ 56280 w 956528"/>
                <a:gd name="connsiteY5" fmla="*/ 3998643 h 4223685"/>
                <a:gd name="connsiteX6" fmla="*/ 337603 w 956528"/>
                <a:gd name="connsiteY6" fmla="*/ 3998643 h 4223685"/>
                <a:gd name="connsiteX7" fmla="*/ 337603 w 956528"/>
                <a:gd name="connsiteY7" fmla="*/ 3942363 h 4223685"/>
                <a:gd name="connsiteX8" fmla="*/ 56280 w 956528"/>
                <a:gd name="connsiteY8" fmla="*/ 3942363 h 4223685"/>
                <a:gd name="connsiteX9" fmla="*/ 56280 w 956528"/>
                <a:gd name="connsiteY9" fmla="*/ 3773562 h 4223685"/>
                <a:gd name="connsiteX10" fmla="*/ 337603 w 956528"/>
                <a:gd name="connsiteY10" fmla="*/ 3773562 h 4223685"/>
                <a:gd name="connsiteX11" fmla="*/ 337603 w 956528"/>
                <a:gd name="connsiteY11" fmla="*/ 3717321 h 4223685"/>
                <a:gd name="connsiteX12" fmla="*/ 56280 w 956528"/>
                <a:gd name="connsiteY12" fmla="*/ 3717321 h 4223685"/>
                <a:gd name="connsiteX13" fmla="*/ 56280 w 956528"/>
                <a:gd name="connsiteY13" fmla="*/ 3548519 h 4223685"/>
                <a:gd name="connsiteX14" fmla="*/ 337603 w 956528"/>
                <a:gd name="connsiteY14" fmla="*/ 3548519 h 4223685"/>
                <a:gd name="connsiteX15" fmla="*/ 337603 w 956528"/>
                <a:gd name="connsiteY15" fmla="*/ 3492239 h 4223685"/>
                <a:gd name="connsiteX16" fmla="*/ 56280 w 956528"/>
                <a:gd name="connsiteY16" fmla="*/ 3492239 h 4223685"/>
                <a:gd name="connsiteX17" fmla="*/ 56280 w 956528"/>
                <a:gd name="connsiteY17" fmla="*/ 3323438 h 4223685"/>
                <a:gd name="connsiteX18" fmla="*/ 675205 w 956528"/>
                <a:gd name="connsiteY18" fmla="*/ 3323438 h 4223685"/>
                <a:gd name="connsiteX19" fmla="*/ 675205 w 956528"/>
                <a:gd name="connsiteY19" fmla="*/ 3267158 h 4223685"/>
                <a:gd name="connsiteX20" fmla="*/ 56280 w 956528"/>
                <a:gd name="connsiteY20" fmla="*/ 3267158 h 4223685"/>
                <a:gd name="connsiteX21" fmla="*/ 56280 w 956528"/>
                <a:gd name="connsiteY21" fmla="*/ 3098395 h 4223685"/>
                <a:gd name="connsiteX22" fmla="*/ 337603 w 956528"/>
                <a:gd name="connsiteY22" fmla="*/ 3098395 h 4223685"/>
                <a:gd name="connsiteX23" fmla="*/ 337603 w 956528"/>
                <a:gd name="connsiteY23" fmla="*/ 3042115 h 4223685"/>
                <a:gd name="connsiteX24" fmla="*/ 56280 w 956528"/>
                <a:gd name="connsiteY24" fmla="*/ 3042115 h 4223685"/>
                <a:gd name="connsiteX25" fmla="*/ 56280 w 956528"/>
                <a:gd name="connsiteY25" fmla="*/ 2873314 h 4223685"/>
                <a:gd name="connsiteX26" fmla="*/ 337603 w 956528"/>
                <a:gd name="connsiteY26" fmla="*/ 2873314 h 4223685"/>
                <a:gd name="connsiteX27" fmla="*/ 337603 w 956528"/>
                <a:gd name="connsiteY27" fmla="*/ 2817034 h 4223685"/>
                <a:gd name="connsiteX28" fmla="*/ 56280 w 956528"/>
                <a:gd name="connsiteY28" fmla="*/ 2817034 h 4223685"/>
                <a:gd name="connsiteX29" fmla="*/ 56280 w 956528"/>
                <a:gd name="connsiteY29" fmla="*/ 2648233 h 4223685"/>
                <a:gd name="connsiteX30" fmla="*/ 337603 w 956528"/>
                <a:gd name="connsiteY30" fmla="*/ 2648233 h 4223685"/>
                <a:gd name="connsiteX31" fmla="*/ 337603 w 956528"/>
                <a:gd name="connsiteY31" fmla="*/ 2591991 h 4223685"/>
                <a:gd name="connsiteX32" fmla="*/ 56280 w 956528"/>
                <a:gd name="connsiteY32" fmla="*/ 2591991 h 4223685"/>
                <a:gd name="connsiteX33" fmla="*/ 56280 w 956528"/>
                <a:gd name="connsiteY33" fmla="*/ 2423190 h 4223685"/>
                <a:gd name="connsiteX34" fmla="*/ 675205 w 956528"/>
                <a:gd name="connsiteY34" fmla="*/ 2423190 h 4223685"/>
                <a:gd name="connsiteX35" fmla="*/ 675205 w 956528"/>
                <a:gd name="connsiteY35" fmla="*/ 2366909 h 4223685"/>
                <a:gd name="connsiteX36" fmla="*/ 56280 w 956528"/>
                <a:gd name="connsiteY36" fmla="*/ 2366909 h 4223685"/>
                <a:gd name="connsiteX37" fmla="*/ 56280 w 956528"/>
                <a:gd name="connsiteY37" fmla="*/ 2198108 h 4223685"/>
                <a:gd name="connsiteX38" fmla="*/ 337603 w 956528"/>
                <a:gd name="connsiteY38" fmla="*/ 2198108 h 4223685"/>
                <a:gd name="connsiteX39" fmla="*/ 337603 w 956528"/>
                <a:gd name="connsiteY39" fmla="*/ 2141867 h 4223685"/>
                <a:gd name="connsiteX40" fmla="*/ 56280 w 956528"/>
                <a:gd name="connsiteY40" fmla="*/ 2141867 h 4223685"/>
                <a:gd name="connsiteX41" fmla="*/ 56280 w 956528"/>
                <a:gd name="connsiteY41" fmla="*/ 1973065 h 4223685"/>
                <a:gd name="connsiteX42" fmla="*/ 337603 w 956528"/>
                <a:gd name="connsiteY42" fmla="*/ 1973065 h 4223685"/>
                <a:gd name="connsiteX43" fmla="*/ 337603 w 956528"/>
                <a:gd name="connsiteY43" fmla="*/ 1916785 h 4223685"/>
                <a:gd name="connsiteX44" fmla="*/ 56280 w 956528"/>
                <a:gd name="connsiteY44" fmla="*/ 1916785 h 4223685"/>
                <a:gd name="connsiteX45" fmla="*/ 56280 w 956528"/>
                <a:gd name="connsiteY45" fmla="*/ 1747984 h 4223685"/>
                <a:gd name="connsiteX46" fmla="*/ 337603 w 956528"/>
                <a:gd name="connsiteY46" fmla="*/ 1747984 h 4223685"/>
                <a:gd name="connsiteX47" fmla="*/ 337603 w 956528"/>
                <a:gd name="connsiteY47" fmla="*/ 1691704 h 4223685"/>
                <a:gd name="connsiteX48" fmla="*/ 56280 w 956528"/>
                <a:gd name="connsiteY48" fmla="*/ 1691704 h 4223685"/>
                <a:gd name="connsiteX49" fmla="*/ 56280 w 956528"/>
                <a:gd name="connsiteY49" fmla="*/ 1522941 h 4223685"/>
                <a:gd name="connsiteX50" fmla="*/ 675205 w 956528"/>
                <a:gd name="connsiteY50" fmla="*/ 1522941 h 4223685"/>
                <a:gd name="connsiteX51" fmla="*/ 675205 w 956528"/>
                <a:gd name="connsiteY51" fmla="*/ 1466661 h 4223685"/>
                <a:gd name="connsiteX52" fmla="*/ 56280 w 956528"/>
                <a:gd name="connsiteY52" fmla="*/ 1466661 h 4223685"/>
                <a:gd name="connsiteX53" fmla="*/ 56280 w 956528"/>
                <a:gd name="connsiteY53" fmla="*/ 1297860 h 4223685"/>
                <a:gd name="connsiteX54" fmla="*/ 337603 w 956528"/>
                <a:gd name="connsiteY54" fmla="*/ 1297860 h 4223685"/>
                <a:gd name="connsiteX55" fmla="*/ 337603 w 956528"/>
                <a:gd name="connsiteY55" fmla="*/ 1241580 h 4223685"/>
                <a:gd name="connsiteX56" fmla="*/ 56280 w 956528"/>
                <a:gd name="connsiteY56" fmla="*/ 1241580 h 4223685"/>
                <a:gd name="connsiteX57" fmla="*/ 56280 w 956528"/>
                <a:gd name="connsiteY57" fmla="*/ 1072779 h 4223685"/>
                <a:gd name="connsiteX58" fmla="*/ 337603 w 956528"/>
                <a:gd name="connsiteY58" fmla="*/ 1072779 h 4223685"/>
                <a:gd name="connsiteX59" fmla="*/ 337603 w 956528"/>
                <a:gd name="connsiteY59" fmla="*/ 1016537 h 4223685"/>
                <a:gd name="connsiteX60" fmla="*/ 56280 w 956528"/>
                <a:gd name="connsiteY60" fmla="*/ 1016537 h 4223685"/>
                <a:gd name="connsiteX61" fmla="*/ 56280 w 956528"/>
                <a:gd name="connsiteY61" fmla="*/ 847736 h 4223685"/>
                <a:gd name="connsiteX62" fmla="*/ 337603 w 956528"/>
                <a:gd name="connsiteY62" fmla="*/ 847736 h 4223685"/>
                <a:gd name="connsiteX63" fmla="*/ 337603 w 956528"/>
                <a:gd name="connsiteY63" fmla="*/ 791456 h 4223685"/>
                <a:gd name="connsiteX64" fmla="*/ 56280 w 956528"/>
                <a:gd name="connsiteY64" fmla="*/ 791456 h 4223685"/>
                <a:gd name="connsiteX65" fmla="*/ 56280 w 956528"/>
                <a:gd name="connsiteY65" fmla="*/ 622654 h 4223685"/>
                <a:gd name="connsiteX66" fmla="*/ 675205 w 956528"/>
                <a:gd name="connsiteY66" fmla="*/ 622654 h 4223685"/>
                <a:gd name="connsiteX67" fmla="*/ 675205 w 956528"/>
                <a:gd name="connsiteY67" fmla="*/ 566413 h 4223685"/>
                <a:gd name="connsiteX68" fmla="*/ 56280 w 956528"/>
                <a:gd name="connsiteY68" fmla="*/ 566413 h 4223685"/>
                <a:gd name="connsiteX69" fmla="*/ 56280 w 956528"/>
                <a:gd name="connsiteY69" fmla="*/ 397612 h 4223685"/>
                <a:gd name="connsiteX70" fmla="*/ 337603 w 956528"/>
                <a:gd name="connsiteY70" fmla="*/ 397612 h 4223685"/>
                <a:gd name="connsiteX71" fmla="*/ 337603 w 956528"/>
                <a:gd name="connsiteY71" fmla="*/ 341332 h 4223685"/>
                <a:gd name="connsiteX72" fmla="*/ 56280 w 956528"/>
                <a:gd name="connsiteY72" fmla="*/ 341332 h 4223685"/>
                <a:gd name="connsiteX73" fmla="*/ 56280 w 956528"/>
                <a:gd name="connsiteY73" fmla="*/ 172530 h 4223685"/>
                <a:gd name="connsiteX74" fmla="*/ 337603 w 956528"/>
                <a:gd name="connsiteY74" fmla="*/ 172530 h 4223685"/>
                <a:gd name="connsiteX75" fmla="*/ 337603 w 956528"/>
                <a:gd name="connsiteY75" fmla="*/ 116250 h 4223685"/>
                <a:gd name="connsiteX76" fmla="*/ 56280 w 956528"/>
                <a:gd name="connsiteY76" fmla="*/ 116250 h 4223685"/>
                <a:gd name="connsiteX77" fmla="*/ 56280 w 956528"/>
                <a:gd name="connsiteY77" fmla="*/ 0 h 4223685"/>
                <a:gd name="connsiteX78" fmla="*/ 0 w 956528"/>
                <a:gd name="connsiteY78" fmla="*/ 0 h 4223685"/>
                <a:gd name="connsiteX79" fmla="*/ 0 w 956528"/>
                <a:gd name="connsiteY79" fmla="*/ 4223686 h 4223685"/>
                <a:gd name="connsiteX80" fmla="*/ 56280 w 956528"/>
                <a:gd name="connsiteY80" fmla="*/ 4223686 h 4223685"/>
                <a:gd name="connsiteX81" fmla="*/ 900248 w 956528"/>
                <a:gd name="connsiteY81" fmla="*/ 4223686 h 422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956528" h="4223685">
                  <a:moveTo>
                    <a:pt x="956528" y="4223686"/>
                  </a:moveTo>
                  <a:lnTo>
                    <a:pt x="956528" y="0"/>
                  </a:lnTo>
                  <a:lnTo>
                    <a:pt x="900248" y="0"/>
                  </a:lnTo>
                  <a:lnTo>
                    <a:pt x="900248" y="4167445"/>
                  </a:lnTo>
                  <a:lnTo>
                    <a:pt x="56280" y="4167445"/>
                  </a:lnTo>
                  <a:lnTo>
                    <a:pt x="56280" y="3998643"/>
                  </a:lnTo>
                  <a:lnTo>
                    <a:pt x="337603" y="3998643"/>
                  </a:lnTo>
                  <a:lnTo>
                    <a:pt x="337603" y="3942363"/>
                  </a:lnTo>
                  <a:lnTo>
                    <a:pt x="56280" y="3942363"/>
                  </a:lnTo>
                  <a:lnTo>
                    <a:pt x="56280" y="3773562"/>
                  </a:lnTo>
                  <a:lnTo>
                    <a:pt x="337603" y="3773562"/>
                  </a:lnTo>
                  <a:lnTo>
                    <a:pt x="337603" y="3717321"/>
                  </a:lnTo>
                  <a:lnTo>
                    <a:pt x="56280" y="3717321"/>
                  </a:lnTo>
                  <a:lnTo>
                    <a:pt x="56280" y="3548519"/>
                  </a:lnTo>
                  <a:lnTo>
                    <a:pt x="337603" y="3548519"/>
                  </a:lnTo>
                  <a:lnTo>
                    <a:pt x="337603" y="3492239"/>
                  </a:lnTo>
                  <a:lnTo>
                    <a:pt x="56280" y="3492239"/>
                  </a:lnTo>
                  <a:lnTo>
                    <a:pt x="56280" y="3323438"/>
                  </a:lnTo>
                  <a:lnTo>
                    <a:pt x="675205" y="3323438"/>
                  </a:lnTo>
                  <a:lnTo>
                    <a:pt x="675205" y="3267158"/>
                  </a:lnTo>
                  <a:lnTo>
                    <a:pt x="56280" y="3267158"/>
                  </a:lnTo>
                  <a:lnTo>
                    <a:pt x="56280" y="3098395"/>
                  </a:lnTo>
                  <a:lnTo>
                    <a:pt x="337603" y="3098395"/>
                  </a:lnTo>
                  <a:lnTo>
                    <a:pt x="337603" y="3042115"/>
                  </a:lnTo>
                  <a:lnTo>
                    <a:pt x="56280" y="3042115"/>
                  </a:lnTo>
                  <a:lnTo>
                    <a:pt x="56280" y="2873314"/>
                  </a:lnTo>
                  <a:lnTo>
                    <a:pt x="337603" y="2873314"/>
                  </a:lnTo>
                  <a:lnTo>
                    <a:pt x="337603" y="2817034"/>
                  </a:lnTo>
                  <a:lnTo>
                    <a:pt x="56280" y="2817034"/>
                  </a:lnTo>
                  <a:lnTo>
                    <a:pt x="56280" y="2648233"/>
                  </a:lnTo>
                  <a:lnTo>
                    <a:pt x="337603" y="2648233"/>
                  </a:lnTo>
                  <a:lnTo>
                    <a:pt x="337603" y="2591991"/>
                  </a:lnTo>
                  <a:lnTo>
                    <a:pt x="56280" y="2591991"/>
                  </a:lnTo>
                  <a:lnTo>
                    <a:pt x="56280" y="2423190"/>
                  </a:lnTo>
                  <a:lnTo>
                    <a:pt x="675205" y="2423190"/>
                  </a:lnTo>
                  <a:lnTo>
                    <a:pt x="675205" y="2366909"/>
                  </a:lnTo>
                  <a:lnTo>
                    <a:pt x="56280" y="2366909"/>
                  </a:lnTo>
                  <a:lnTo>
                    <a:pt x="56280" y="2198108"/>
                  </a:lnTo>
                  <a:lnTo>
                    <a:pt x="337603" y="2198108"/>
                  </a:lnTo>
                  <a:lnTo>
                    <a:pt x="337603" y="2141867"/>
                  </a:lnTo>
                  <a:lnTo>
                    <a:pt x="56280" y="2141867"/>
                  </a:lnTo>
                  <a:lnTo>
                    <a:pt x="56280" y="1973065"/>
                  </a:lnTo>
                  <a:lnTo>
                    <a:pt x="337603" y="1973065"/>
                  </a:lnTo>
                  <a:lnTo>
                    <a:pt x="337603" y="1916785"/>
                  </a:lnTo>
                  <a:lnTo>
                    <a:pt x="56280" y="1916785"/>
                  </a:lnTo>
                  <a:lnTo>
                    <a:pt x="56280" y="1747984"/>
                  </a:lnTo>
                  <a:lnTo>
                    <a:pt x="337603" y="1747984"/>
                  </a:lnTo>
                  <a:lnTo>
                    <a:pt x="337603" y="1691704"/>
                  </a:lnTo>
                  <a:lnTo>
                    <a:pt x="56280" y="1691704"/>
                  </a:lnTo>
                  <a:lnTo>
                    <a:pt x="56280" y="1522941"/>
                  </a:lnTo>
                  <a:lnTo>
                    <a:pt x="675205" y="1522941"/>
                  </a:lnTo>
                  <a:lnTo>
                    <a:pt x="675205" y="1466661"/>
                  </a:lnTo>
                  <a:lnTo>
                    <a:pt x="56280" y="1466661"/>
                  </a:lnTo>
                  <a:lnTo>
                    <a:pt x="56280" y="1297860"/>
                  </a:lnTo>
                  <a:lnTo>
                    <a:pt x="337603" y="1297860"/>
                  </a:lnTo>
                  <a:lnTo>
                    <a:pt x="337603" y="1241580"/>
                  </a:lnTo>
                  <a:lnTo>
                    <a:pt x="56280" y="1241580"/>
                  </a:lnTo>
                  <a:lnTo>
                    <a:pt x="56280" y="1072779"/>
                  </a:lnTo>
                  <a:lnTo>
                    <a:pt x="337603" y="1072779"/>
                  </a:lnTo>
                  <a:lnTo>
                    <a:pt x="337603" y="1016537"/>
                  </a:lnTo>
                  <a:lnTo>
                    <a:pt x="56280" y="1016537"/>
                  </a:lnTo>
                  <a:lnTo>
                    <a:pt x="56280" y="847736"/>
                  </a:lnTo>
                  <a:lnTo>
                    <a:pt x="337603" y="847736"/>
                  </a:lnTo>
                  <a:lnTo>
                    <a:pt x="337603" y="791456"/>
                  </a:lnTo>
                  <a:lnTo>
                    <a:pt x="56280" y="791456"/>
                  </a:lnTo>
                  <a:lnTo>
                    <a:pt x="56280" y="622654"/>
                  </a:lnTo>
                  <a:lnTo>
                    <a:pt x="675205" y="622654"/>
                  </a:lnTo>
                  <a:lnTo>
                    <a:pt x="675205" y="566413"/>
                  </a:lnTo>
                  <a:lnTo>
                    <a:pt x="56280" y="566413"/>
                  </a:lnTo>
                  <a:lnTo>
                    <a:pt x="56280" y="397612"/>
                  </a:lnTo>
                  <a:lnTo>
                    <a:pt x="337603" y="397612"/>
                  </a:lnTo>
                  <a:lnTo>
                    <a:pt x="337603" y="341332"/>
                  </a:lnTo>
                  <a:lnTo>
                    <a:pt x="56280" y="341332"/>
                  </a:lnTo>
                  <a:lnTo>
                    <a:pt x="56280" y="172530"/>
                  </a:lnTo>
                  <a:lnTo>
                    <a:pt x="337603" y="172530"/>
                  </a:lnTo>
                  <a:lnTo>
                    <a:pt x="337603" y="116250"/>
                  </a:lnTo>
                  <a:lnTo>
                    <a:pt x="56280" y="116250"/>
                  </a:lnTo>
                  <a:lnTo>
                    <a:pt x="56280" y="0"/>
                  </a:lnTo>
                  <a:lnTo>
                    <a:pt x="0" y="0"/>
                  </a:lnTo>
                  <a:lnTo>
                    <a:pt x="0" y="4223686"/>
                  </a:lnTo>
                  <a:lnTo>
                    <a:pt x="56280" y="4223686"/>
                  </a:lnTo>
                  <a:lnTo>
                    <a:pt x="900248" y="42236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59C93D18-9CEB-4A6E-8DFF-78B16A7A9917}"/>
                </a:ext>
              </a:extLst>
            </p:cNvPr>
            <p:cNvSpPr/>
            <p:nvPr/>
          </p:nvSpPr>
          <p:spPr>
            <a:xfrm>
              <a:off x="-1697617" y="1719597"/>
              <a:ext cx="337603" cy="538326"/>
            </a:xfrm>
            <a:custGeom>
              <a:avLst/>
              <a:gdLst>
                <a:gd name="connsiteX0" fmla="*/ 0 w 337603"/>
                <a:gd name="connsiteY0" fmla="*/ 0 h 538326"/>
                <a:gd name="connsiteX1" fmla="*/ 56280 w 337603"/>
                <a:gd name="connsiteY1" fmla="*/ 0 h 538326"/>
                <a:gd name="connsiteX2" fmla="*/ 56280 w 337603"/>
                <a:gd name="connsiteY2" fmla="*/ 101734 h 538326"/>
                <a:gd name="connsiteX3" fmla="*/ 337603 w 337603"/>
                <a:gd name="connsiteY3" fmla="*/ 101734 h 538326"/>
                <a:gd name="connsiteX4" fmla="*/ 337603 w 337603"/>
                <a:gd name="connsiteY4" fmla="*/ 158014 h 538326"/>
                <a:gd name="connsiteX5" fmla="*/ 56280 w 337603"/>
                <a:gd name="connsiteY5" fmla="*/ 158014 h 538326"/>
                <a:gd name="connsiteX6" fmla="*/ 56280 w 337603"/>
                <a:gd name="connsiteY6" fmla="*/ 326815 h 538326"/>
                <a:gd name="connsiteX7" fmla="*/ 337603 w 337603"/>
                <a:gd name="connsiteY7" fmla="*/ 326815 h 538326"/>
                <a:gd name="connsiteX8" fmla="*/ 337603 w 337603"/>
                <a:gd name="connsiteY8" fmla="*/ 383056 h 538326"/>
                <a:gd name="connsiteX9" fmla="*/ 56280 w 337603"/>
                <a:gd name="connsiteY9" fmla="*/ 383056 h 538326"/>
                <a:gd name="connsiteX10" fmla="*/ 56280 w 337603"/>
                <a:gd name="connsiteY10" fmla="*/ 538326 h 538326"/>
                <a:gd name="connsiteX11" fmla="*/ 0 w 337603"/>
                <a:gd name="connsiteY11" fmla="*/ 538326 h 538326"/>
                <a:gd name="connsiteX12" fmla="*/ 0 w 337603"/>
                <a:gd name="connsiteY12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7603" h="538326">
                  <a:moveTo>
                    <a:pt x="0" y="0"/>
                  </a:moveTo>
                  <a:lnTo>
                    <a:pt x="56280" y="0"/>
                  </a:lnTo>
                  <a:lnTo>
                    <a:pt x="56280" y="101734"/>
                  </a:lnTo>
                  <a:lnTo>
                    <a:pt x="337603" y="101734"/>
                  </a:lnTo>
                  <a:lnTo>
                    <a:pt x="337603" y="158014"/>
                  </a:lnTo>
                  <a:lnTo>
                    <a:pt x="56280" y="158014"/>
                  </a:lnTo>
                  <a:lnTo>
                    <a:pt x="56280" y="326815"/>
                  </a:lnTo>
                  <a:lnTo>
                    <a:pt x="337603" y="326815"/>
                  </a:lnTo>
                  <a:lnTo>
                    <a:pt x="337603" y="383056"/>
                  </a:lnTo>
                  <a:lnTo>
                    <a:pt x="56280" y="383056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861D15C6-423C-49E9-9A36-73A26748BB6D}"/>
                </a:ext>
              </a:extLst>
            </p:cNvPr>
            <p:cNvSpPr/>
            <p:nvPr/>
          </p:nvSpPr>
          <p:spPr>
            <a:xfrm>
              <a:off x="-797368" y="1719597"/>
              <a:ext cx="56280" cy="538326"/>
            </a:xfrm>
            <a:custGeom>
              <a:avLst/>
              <a:gdLst>
                <a:gd name="connsiteX0" fmla="*/ 0 w 56280"/>
                <a:gd name="connsiteY0" fmla="*/ 0 h 538326"/>
                <a:gd name="connsiteX1" fmla="*/ 56280 w 56280"/>
                <a:gd name="connsiteY1" fmla="*/ 0 h 538326"/>
                <a:gd name="connsiteX2" fmla="*/ 56280 w 56280"/>
                <a:gd name="connsiteY2" fmla="*/ 538326 h 538326"/>
                <a:gd name="connsiteX3" fmla="*/ 0 w 56280"/>
                <a:gd name="connsiteY3" fmla="*/ 538326 h 538326"/>
                <a:gd name="connsiteX4" fmla="*/ 0 w 56280"/>
                <a:gd name="connsiteY4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80" h="538326">
                  <a:moveTo>
                    <a:pt x="0" y="0"/>
                  </a:moveTo>
                  <a:lnTo>
                    <a:pt x="56280" y="0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</p:grpSp>
      <p:sp>
        <p:nvSpPr>
          <p:cNvPr id="59" name="Round Same-side Corner of Rectangle 79">
            <a:extLst>
              <a:ext uri="{FF2B5EF4-FFF2-40B4-BE49-F238E27FC236}">
                <a16:creationId xmlns:a16="http://schemas.microsoft.com/office/drawing/2014/main" id="{7BFC06B4-CF0C-461E-8647-EABCAE33AFB9}"/>
              </a:ext>
            </a:extLst>
          </p:cNvPr>
          <p:cNvSpPr/>
          <p:nvPr userDrawn="1"/>
        </p:nvSpPr>
        <p:spPr>
          <a:xfrm rot="5400000">
            <a:off x="10613117" y="550943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0" name="TextBox 59">
            <a:hlinkClick r:id="" action="ppaction://noaction"/>
            <a:extLst>
              <a:ext uri="{FF2B5EF4-FFF2-40B4-BE49-F238E27FC236}">
                <a16:creationId xmlns:a16="http://schemas.microsoft.com/office/drawing/2014/main" id="{2CAA1749-42BC-4B31-9B95-633D7F927BC8}"/>
              </a:ext>
            </a:extLst>
          </p:cNvPr>
          <p:cNvSpPr txBox="1"/>
          <p:nvPr userDrawn="1"/>
        </p:nvSpPr>
        <p:spPr>
          <a:xfrm>
            <a:off x="10870644" y="555078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61" name="Round Same-side Corner of Rectangle 79">
            <a:extLst>
              <a:ext uri="{FF2B5EF4-FFF2-40B4-BE49-F238E27FC236}">
                <a16:creationId xmlns:a16="http://schemas.microsoft.com/office/drawing/2014/main" id="{4B640A06-7886-42E3-A7B2-2789DD5CAE2F}"/>
              </a:ext>
            </a:extLst>
          </p:cNvPr>
          <p:cNvSpPr/>
          <p:nvPr userDrawn="1"/>
        </p:nvSpPr>
        <p:spPr>
          <a:xfrm rot="5400000">
            <a:off x="10613117" y="5784862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2" name="TextBox 61">
            <a:hlinkClick r:id="" action="ppaction://noaction"/>
            <a:extLst>
              <a:ext uri="{FF2B5EF4-FFF2-40B4-BE49-F238E27FC236}">
                <a16:creationId xmlns:a16="http://schemas.microsoft.com/office/drawing/2014/main" id="{99490612-57AC-4581-A7A1-8A8893598E10}"/>
              </a:ext>
            </a:extLst>
          </p:cNvPr>
          <p:cNvSpPr txBox="1"/>
          <p:nvPr userDrawn="1"/>
        </p:nvSpPr>
        <p:spPr>
          <a:xfrm>
            <a:off x="10870644" y="5826211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73" name="Freeform 25">
            <a:extLst>
              <a:ext uri="{FF2B5EF4-FFF2-40B4-BE49-F238E27FC236}">
                <a16:creationId xmlns:a16="http://schemas.microsoft.com/office/drawing/2014/main" id="{41A8421A-67DB-45B9-BF16-4E65F06E8F7F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5549100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74" name="Round Same-side Corner of Rectangle 79">
            <a:extLst>
              <a:ext uri="{FF2B5EF4-FFF2-40B4-BE49-F238E27FC236}">
                <a16:creationId xmlns:a16="http://schemas.microsoft.com/office/drawing/2014/main" id="{4272D28F-7763-4820-A7BC-937B242692BA}"/>
              </a:ext>
            </a:extLst>
          </p:cNvPr>
          <p:cNvSpPr/>
          <p:nvPr userDrawn="1"/>
        </p:nvSpPr>
        <p:spPr>
          <a:xfrm rot="5400000">
            <a:off x="10615976" y="606635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75" name="TextBox 74">
            <a:hlinkClick r:id="" action="ppaction://noaction"/>
            <a:extLst>
              <a:ext uri="{FF2B5EF4-FFF2-40B4-BE49-F238E27FC236}">
                <a16:creationId xmlns:a16="http://schemas.microsoft.com/office/drawing/2014/main" id="{64EC0E17-760E-4A77-909B-3C99807293FF}"/>
              </a:ext>
            </a:extLst>
          </p:cNvPr>
          <p:cNvSpPr txBox="1"/>
          <p:nvPr userDrawn="1"/>
        </p:nvSpPr>
        <p:spPr>
          <a:xfrm>
            <a:off x="10873503" y="6107704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76" name="Freeform 21">
            <a:extLst>
              <a:ext uri="{FF2B5EF4-FFF2-40B4-BE49-F238E27FC236}">
                <a16:creationId xmlns:a16="http://schemas.microsoft.com/office/drawing/2014/main" id="{708A3625-DCA8-43D2-B530-4C27D9C901DC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6115929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77" name="Graphic 28" descr="List">
            <a:extLst>
              <a:ext uri="{FF2B5EF4-FFF2-40B4-BE49-F238E27FC236}">
                <a16:creationId xmlns:a16="http://schemas.microsoft.com/office/drawing/2014/main" id="{D31E0045-F8D3-4355-940A-870BE4F6B34A}"/>
              </a:ext>
            </a:extLst>
          </p:cNvPr>
          <p:cNvGrpSpPr/>
          <p:nvPr userDrawn="1"/>
        </p:nvGrpSpPr>
        <p:grpSpPr>
          <a:xfrm>
            <a:off x="10657446" y="5818069"/>
            <a:ext cx="103548" cy="146640"/>
            <a:chOff x="981871" y="1231905"/>
            <a:chExt cx="246063" cy="317501"/>
          </a:xfrm>
        </p:grpSpPr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E5E0D66C-6419-45CC-A2E5-4CFC90122714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C8EEFB3B-6135-4F5F-AF99-F1A5F62D9E1D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534CF856-6C45-4B57-A6F2-3F2258767476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ADA57BD4-2DAF-4A5E-AD25-BB52E42B176A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AD9DB726-9D6B-4CA3-A527-F523FC8C0DA4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60163FAB-4E0D-4C3F-A4BE-51A1C285D0C6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D1E599B3-CA5A-4CC8-A024-10D70573BAA3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85A600C5-DF88-4531-A67F-2D86CD2F3DB7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9F064192-7192-443D-8096-7CCA0A4BCBB1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80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5269D13D-5557-4BF3-B25E-C0B6C18DA1FE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7033DE4F-6879-47C8-8CDE-DE05502ADB59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30A3A334-57D5-4D3D-9750-80A777A52A6C}"/>
              </a:ext>
            </a:extLst>
          </p:cNvPr>
          <p:cNvSpPr/>
          <p:nvPr userDrawn="1"/>
        </p:nvSpPr>
        <p:spPr>
          <a:xfrm rot="5400000">
            <a:off x="11280167" y="4840571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E7D2E04C-F49A-4211-AEDD-91DC3B04BD0A}"/>
              </a:ext>
            </a:extLst>
          </p:cNvPr>
          <p:cNvSpPr/>
          <p:nvPr userDrawn="1"/>
        </p:nvSpPr>
        <p:spPr>
          <a:xfrm rot="5400000">
            <a:off x="11280167" y="5116475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7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8A942888-4E91-40BA-BEC4-BA052A42A74B}"/>
              </a:ext>
            </a:extLst>
          </p:cNvPr>
          <p:cNvSpPr/>
          <p:nvPr userDrawn="1"/>
        </p:nvSpPr>
        <p:spPr>
          <a:xfrm rot="5400000">
            <a:off x="11280167" y="5392379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9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8EF77A86-BEEF-4FD2-9DFA-8A5B26D43EE1}"/>
              </a:ext>
            </a:extLst>
          </p:cNvPr>
          <p:cNvSpPr/>
          <p:nvPr userDrawn="1"/>
        </p:nvSpPr>
        <p:spPr>
          <a:xfrm rot="5400000">
            <a:off x="11473096" y="1472755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0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B6E05199-28E5-482E-81CA-812ED5293D71}"/>
              </a:ext>
            </a:extLst>
          </p:cNvPr>
          <p:cNvSpPr/>
          <p:nvPr userDrawn="1"/>
        </p:nvSpPr>
        <p:spPr>
          <a:xfrm rot="5400000">
            <a:off x="11473096" y="192820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1" name="Round Same-side Corner of Rectangle 79">
            <a:hlinkClick r:id="rId5" action="ppaction://hlinksldjump"/>
            <a:extLst>
              <a:ext uri="{FF2B5EF4-FFF2-40B4-BE49-F238E27FC236}">
                <a16:creationId xmlns:a16="http://schemas.microsoft.com/office/drawing/2014/main" id="{92003FC2-AFA2-4368-AA18-ACFFAFCAC529}"/>
              </a:ext>
            </a:extLst>
          </p:cNvPr>
          <p:cNvSpPr/>
          <p:nvPr userDrawn="1"/>
        </p:nvSpPr>
        <p:spPr>
          <a:xfrm rot="5400000">
            <a:off x="11283961" y="2191599"/>
            <a:ext cx="349171" cy="1460557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2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1AC3300B-AED5-461C-B345-F4D20DC25F07}"/>
              </a:ext>
            </a:extLst>
          </p:cNvPr>
          <p:cNvSpPr/>
          <p:nvPr userDrawn="1"/>
        </p:nvSpPr>
        <p:spPr>
          <a:xfrm rot="5400000">
            <a:off x="11473096" y="2833262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075197F1-4D4E-451F-A363-B1D56B5D5814}"/>
              </a:ext>
            </a:extLst>
          </p:cNvPr>
          <p:cNvSpPr/>
          <p:nvPr userDrawn="1"/>
        </p:nvSpPr>
        <p:spPr>
          <a:xfrm rot="5400000">
            <a:off x="11473096" y="3285790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4B3E74C7-A88B-4539-86FD-13A23D788F02}"/>
              </a:ext>
            </a:extLst>
          </p:cNvPr>
          <p:cNvSpPr/>
          <p:nvPr userDrawn="1"/>
        </p:nvSpPr>
        <p:spPr>
          <a:xfrm rot="5400000">
            <a:off x="11473096" y="3738318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CD0D75CD-CC5D-4DF8-8561-BD2EA3500CE4}"/>
              </a:ext>
            </a:extLst>
          </p:cNvPr>
          <p:cNvSpPr/>
          <p:nvPr userDrawn="1"/>
        </p:nvSpPr>
        <p:spPr>
          <a:xfrm rot="5400000">
            <a:off x="11473096" y="419084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6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5267F427-DE88-429C-A0BC-B3659930E9EC}"/>
              </a:ext>
            </a:extLst>
          </p:cNvPr>
          <p:cNvSpPr/>
          <p:nvPr userDrawn="1"/>
        </p:nvSpPr>
        <p:spPr>
          <a:xfrm rot="5400000">
            <a:off x="11473096" y="464337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678077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llar 3 - Let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4" name="Round Same-side Corner of Rectangle 79">
            <a:extLst>
              <a:ext uri="{FF2B5EF4-FFF2-40B4-BE49-F238E27FC236}">
                <a16:creationId xmlns:a16="http://schemas.microsoft.com/office/drawing/2014/main" id="{429E155D-7E57-4822-8852-F94F1A49D6FC}"/>
              </a:ext>
            </a:extLst>
          </p:cNvPr>
          <p:cNvSpPr/>
          <p:nvPr userDrawn="1"/>
        </p:nvSpPr>
        <p:spPr>
          <a:xfrm rot="16200000">
            <a:off x="11384856" y="4661233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8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0" name="Round Same-side Corner of Rectangle 79">
            <a:extLst>
              <a:ext uri="{FF2B5EF4-FFF2-40B4-BE49-F238E27FC236}">
                <a16:creationId xmlns:a16="http://schemas.microsoft.com/office/drawing/2014/main" id="{DA632258-7E89-4C63-86BD-EA679E94BCAB}"/>
              </a:ext>
            </a:extLst>
          </p:cNvPr>
          <p:cNvSpPr/>
          <p:nvPr userDrawn="1"/>
        </p:nvSpPr>
        <p:spPr>
          <a:xfrm rot="16200000">
            <a:off x="11384854" y="4208631"/>
            <a:ext cx="388777" cy="104122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7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1" name="Round Same-side Corner of Rectangle 79">
            <a:extLst>
              <a:ext uri="{FF2B5EF4-FFF2-40B4-BE49-F238E27FC236}">
                <a16:creationId xmlns:a16="http://schemas.microsoft.com/office/drawing/2014/main" id="{D4B93879-3513-4875-A1C4-5980915623CE}"/>
              </a:ext>
            </a:extLst>
          </p:cNvPr>
          <p:cNvSpPr/>
          <p:nvPr userDrawn="1"/>
        </p:nvSpPr>
        <p:spPr>
          <a:xfrm rot="16200000">
            <a:off x="11384854" y="3756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6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8" name="Round Same-side Corner of Rectangle 79">
            <a:extLst>
              <a:ext uri="{FF2B5EF4-FFF2-40B4-BE49-F238E27FC236}">
                <a16:creationId xmlns:a16="http://schemas.microsoft.com/office/drawing/2014/main" id="{312255C5-65A9-47AB-B67B-8924547FF7C2}"/>
              </a:ext>
            </a:extLst>
          </p:cNvPr>
          <p:cNvSpPr/>
          <p:nvPr userDrawn="1"/>
        </p:nvSpPr>
        <p:spPr>
          <a:xfrm rot="16200000">
            <a:off x="11384854" y="33034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5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9" name="Round Same-side Corner of Rectangle 79">
            <a:extLst>
              <a:ext uri="{FF2B5EF4-FFF2-40B4-BE49-F238E27FC236}">
                <a16:creationId xmlns:a16="http://schemas.microsoft.com/office/drawing/2014/main" id="{F23596D5-FD36-49E3-B746-F3D7A290DF3D}"/>
              </a:ext>
            </a:extLst>
          </p:cNvPr>
          <p:cNvSpPr/>
          <p:nvPr userDrawn="1"/>
        </p:nvSpPr>
        <p:spPr>
          <a:xfrm rot="16200000">
            <a:off x="11384853" y="28508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4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7" name="Round Same-side Corner of Rectangle 79">
            <a:extLst>
              <a:ext uri="{FF2B5EF4-FFF2-40B4-BE49-F238E27FC236}">
                <a16:creationId xmlns:a16="http://schemas.microsoft.com/office/drawing/2014/main" id="{059574F1-9FE9-480C-B4ED-14EFB4169B0E}"/>
              </a:ext>
            </a:extLst>
          </p:cNvPr>
          <p:cNvSpPr/>
          <p:nvPr userDrawn="1"/>
        </p:nvSpPr>
        <p:spPr>
          <a:xfrm rot="16200000">
            <a:off x="11219847" y="2233223"/>
            <a:ext cx="388777" cy="137124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2102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600" b="1"/>
              <a:t>Pillar  </a:t>
            </a:r>
            <a:r>
              <a:rPr lang="en-US" sz="1600" b="1"/>
              <a:t>3</a:t>
            </a:r>
          </a:p>
        </p:txBody>
      </p:sp>
      <p:sp>
        <p:nvSpPr>
          <p:cNvPr id="88" name="Round Same-side Corner of Rectangle 79">
            <a:extLst>
              <a:ext uri="{FF2B5EF4-FFF2-40B4-BE49-F238E27FC236}">
                <a16:creationId xmlns:a16="http://schemas.microsoft.com/office/drawing/2014/main" id="{82236BCB-3538-4E87-B0C9-CACC40793A57}"/>
              </a:ext>
            </a:extLst>
          </p:cNvPr>
          <p:cNvSpPr/>
          <p:nvPr userDrawn="1"/>
        </p:nvSpPr>
        <p:spPr>
          <a:xfrm rot="16200000">
            <a:off x="11384854" y="19456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2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9" name="Round Same-side Corner of Rectangle 79">
            <a:extLst>
              <a:ext uri="{FF2B5EF4-FFF2-40B4-BE49-F238E27FC236}">
                <a16:creationId xmlns:a16="http://schemas.microsoft.com/office/drawing/2014/main" id="{61090AD0-0469-4342-901A-FC4BE401662F}"/>
              </a:ext>
            </a:extLst>
          </p:cNvPr>
          <p:cNvSpPr/>
          <p:nvPr userDrawn="1"/>
        </p:nvSpPr>
        <p:spPr>
          <a:xfrm rot="16200000">
            <a:off x="11384854" y="1493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1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96" name="Round Same-side Corner of Rectangle 79">
            <a:extLst>
              <a:ext uri="{FF2B5EF4-FFF2-40B4-BE49-F238E27FC236}">
                <a16:creationId xmlns:a16="http://schemas.microsoft.com/office/drawing/2014/main" id="{75C801CE-9FCA-486D-96A7-6973FA449CCA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8" name="Round Same-side Corner of Rectangle 79">
            <a:extLst>
              <a:ext uri="{FF2B5EF4-FFF2-40B4-BE49-F238E27FC236}">
                <a16:creationId xmlns:a16="http://schemas.microsoft.com/office/drawing/2014/main" id="{B358AAFE-318C-4629-9F49-D9DBA46F85EC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336F2850-D7CD-47D1-8AA1-003DA4FC78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6706" y="918349"/>
            <a:ext cx="9963591" cy="5673283"/>
          </a:xfrm>
        </p:spPr>
        <p:txBody>
          <a:bodyPr/>
          <a:lstStyle>
            <a:lvl1pPr marL="0" indent="0">
              <a:spcBef>
                <a:spcPts val="1200"/>
              </a:spcBef>
              <a:buFontTx/>
              <a:buNone/>
              <a:defRPr sz="1799" b="1">
                <a:solidFill>
                  <a:schemeClr val="accent1">
                    <a:lumMod val="75000"/>
                  </a:schemeClr>
                </a:solidFill>
              </a:defRPr>
            </a:lvl1pPr>
            <a:lvl2pPr marL="230119" indent="-230119">
              <a:spcBef>
                <a:spcPts val="1200"/>
              </a:spcBef>
              <a:buFont typeface="+mj-lt"/>
              <a:buAutoNum type="alphaUcPeriod"/>
              <a:defRPr/>
            </a:lvl2pPr>
            <a:lvl3pPr marL="512609" indent="-171399">
              <a:spcBef>
                <a:spcPts val="600"/>
              </a:spcBef>
              <a:buFont typeface="+mj-lt"/>
              <a:buAutoNum type="romanLcPeriod"/>
              <a:defRPr sz="1300"/>
            </a:lvl3pPr>
            <a:lvl4pPr marL="798273" indent="-169812">
              <a:spcBef>
                <a:spcPts val="400"/>
              </a:spcBef>
              <a:buFont typeface="+mj-lt"/>
              <a:buAutoNum type="alphaLcPeriod"/>
              <a:defRPr sz="1300"/>
            </a:lvl4pPr>
            <a:lvl5pPr marL="1144245" indent="-115853">
              <a:spcBef>
                <a:spcPts val="2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5C3904B-CE73-4C24-9EF4-5FECAD42087A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86A2FFA-BBD2-4542-BBAD-54FF209B49A5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4" name="Round Same-side Corner of Rectangle 79">
            <a:extLst>
              <a:ext uri="{FF2B5EF4-FFF2-40B4-BE49-F238E27FC236}">
                <a16:creationId xmlns:a16="http://schemas.microsoft.com/office/drawing/2014/main" id="{FAFB18C5-1232-4E67-8F87-AEBE89FD8A11}"/>
              </a:ext>
            </a:extLst>
          </p:cNvPr>
          <p:cNvSpPr/>
          <p:nvPr userDrawn="1"/>
        </p:nvSpPr>
        <p:spPr>
          <a:xfrm rot="16200000">
            <a:off x="11900597" y="2825005"/>
            <a:ext cx="388777" cy="18768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>
              <a:lumMod val="75000"/>
              <a:alpha val="59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17" name="TextBox 16">
            <a:hlinkClick r:id="" action="ppaction://noaction"/>
            <a:extLst>
              <a:ext uri="{FF2B5EF4-FFF2-40B4-BE49-F238E27FC236}">
                <a16:creationId xmlns:a16="http://schemas.microsoft.com/office/drawing/2014/main" id="{8CABDE33-8E8E-4345-9CCB-C5BA993578D0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18" name="TextBox 17">
            <a:hlinkClick r:id="" action="ppaction://noaction"/>
            <a:extLst>
              <a:ext uri="{FF2B5EF4-FFF2-40B4-BE49-F238E27FC236}">
                <a16:creationId xmlns:a16="http://schemas.microsoft.com/office/drawing/2014/main" id="{DC38FC2B-1F89-4A9F-8412-8963932859DD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7279586A-EBC7-462F-A704-370F5F17FC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A879FA47-52AD-4596-89A6-60C8133AC0E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54DC0EE-7736-4DAB-BB33-450665FCDA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45" name="Freeform 9">
            <a:extLst>
              <a:ext uri="{FF2B5EF4-FFF2-40B4-BE49-F238E27FC236}">
                <a16:creationId xmlns:a16="http://schemas.microsoft.com/office/drawing/2014/main" id="{2184A7EF-088C-43DB-86F2-8FD042E36E8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95767" y="4176118"/>
            <a:ext cx="181694" cy="212254"/>
          </a:xfrm>
          <a:custGeom>
            <a:avLst/>
            <a:gdLst>
              <a:gd name="T0" fmla="*/ 708 w 809"/>
              <a:gd name="T1" fmla="*/ 509 h 945"/>
              <a:gd name="T2" fmla="*/ 405 w 809"/>
              <a:gd name="T3" fmla="*/ 838 h 945"/>
              <a:gd name="T4" fmla="*/ 404 w 809"/>
              <a:gd name="T5" fmla="*/ 838 h 945"/>
              <a:gd name="T6" fmla="*/ 404 w 809"/>
              <a:gd name="T7" fmla="*/ 473 h 945"/>
              <a:gd name="T8" fmla="*/ 101 w 809"/>
              <a:gd name="T9" fmla="*/ 473 h 945"/>
              <a:gd name="T10" fmla="*/ 101 w 809"/>
              <a:gd name="T11" fmla="*/ 245 h 945"/>
              <a:gd name="T12" fmla="*/ 404 w 809"/>
              <a:gd name="T13" fmla="*/ 123 h 945"/>
              <a:gd name="T14" fmla="*/ 404 w 809"/>
              <a:gd name="T15" fmla="*/ 473 h 945"/>
              <a:gd name="T16" fmla="*/ 708 w 809"/>
              <a:gd name="T17" fmla="*/ 473 h 945"/>
              <a:gd name="T18" fmla="*/ 708 w 809"/>
              <a:gd name="T19" fmla="*/ 509 h 945"/>
              <a:gd name="T20" fmla="*/ 792 w 809"/>
              <a:gd name="T21" fmla="*/ 150 h 945"/>
              <a:gd name="T22" fmla="*/ 415 w 809"/>
              <a:gd name="T23" fmla="*/ 4 h 945"/>
              <a:gd name="T24" fmla="*/ 394 w 809"/>
              <a:gd name="T25" fmla="*/ 4 h 945"/>
              <a:gd name="T26" fmla="*/ 17 w 809"/>
              <a:gd name="T27" fmla="*/ 150 h 945"/>
              <a:gd name="T28" fmla="*/ 0 w 809"/>
              <a:gd name="T29" fmla="*/ 168 h 945"/>
              <a:gd name="T30" fmla="*/ 0 w 809"/>
              <a:gd name="T31" fmla="*/ 508 h 945"/>
              <a:gd name="T32" fmla="*/ 398 w 809"/>
              <a:gd name="T33" fmla="*/ 944 h 945"/>
              <a:gd name="T34" fmla="*/ 410 w 809"/>
              <a:gd name="T35" fmla="*/ 944 h 945"/>
              <a:gd name="T36" fmla="*/ 809 w 809"/>
              <a:gd name="T37" fmla="*/ 508 h 945"/>
              <a:gd name="T38" fmla="*/ 809 w 809"/>
              <a:gd name="T39" fmla="*/ 168 h 945"/>
              <a:gd name="T40" fmla="*/ 792 w 809"/>
              <a:gd name="T41" fmla="*/ 150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9" h="945">
                <a:moveTo>
                  <a:pt x="708" y="509"/>
                </a:moveTo>
                <a:cubicBezTo>
                  <a:pt x="708" y="713"/>
                  <a:pt x="483" y="811"/>
                  <a:pt x="405" y="838"/>
                </a:cubicBezTo>
                <a:cubicBezTo>
                  <a:pt x="405" y="838"/>
                  <a:pt x="404" y="838"/>
                  <a:pt x="404" y="838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101" y="473"/>
                  <a:pt x="101" y="473"/>
                  <a:pt x="101" y="473"/>
                </a:cubicBezTo>
                <a:cubicBezTo>
                  <a:pt x="101" y="245"/>
                  <a:pt x="101" y="245"/>
                  <a:pt x="101" y="245"/>
                </a:cubicBezTo>
                <a:cubicBezTo>
                  <a:pt x="185" y="231"/>
                  <a:pt x="288" y="197"/>
                  <a:pt x="404" y="123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708" y="473"/>
                  <a:pt x="708" y="473"/>
                  <a:pt x="708" y="473"/>
                </a:cubicBezTo>
                <a:lnTo>
                  <a:pt x="708" y="509"/>
                </a:lnTo>
                <a:close/>
                <a:moveTo>
                  <a:pt x="792" y="150"/>
                </a:moveTo>
                <a:cubicBezTo>
                  <a:pt x="691" y="146"/>
                  <a:pt x="562" y="109"/>
                  <a:pt x="415" y="4"/>
                </a:cubicBezTo>
                <a:cubicBezTo>
                  <a:pt x="409" y="0"/>
                  <a:pt x="400" y="0"/>
                  <a:pt x="394" y="4"/>
                </a:cubicBezTo>
                <a:cubicBezTo>
                  <a:pt x="247" y="109"/>
                  <a:pt x="118" y="146"/>
                  <a:pt x="17" y="150"/>
                </a:cubicBezTo>
                <a:cubicBezTo>
                  <a:pt x="7" y="150"/>
                  <a:pt x="0" y="158"/>
                  <a:pt x="0" y="168"/>
                </a:cubicBezTo>
                <a:cubicBezTo>
                  <a:pt x="0" y="209"/>
                  <a:pt x="0" y="325"/>
                  <a:pt x="0" y="508"/>
                </a:cubicBezTo>
                <a:cubicBezTo>
                  <a:pt x="0" y="792"/>
                  <a:pt x="348" y="926"/>
                  <a:pt x="398" y="944"/>
                </a:cubicBezTo>
                <a:cubicBezTo>
                  <a:pt x="402" y="945"/>
                  <a:pt x="406" y="945"/>
                  <a:pt x="410" y="944"/>
                </a:cubicBezTo>
                <a:cubicBezTo>
                  <a:pt x="460" y="926"/>
                  <a:pt x="809" y="792"/>
                  <a:pt x="809" y="508"/>
                </a:cubicBezTo>
                <a:cubicBezTo>
                  <a:pt x="809" y="325"/>
                  <a:pt x="809" y="209"/>
                  <a:pt x="809" y="168"/>
                </a:cubicBezTo>
                <a:cubicBezTo>
                  <a:pt x="809" y="158"/>
                  <a:pt x="801" y="150"/>
                  <a:pt x="792" y="15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46" name="Freeform 13">
            <a:extLst>
              <a:ext uri="{FF2B5EF4-FFF2-40B4-BE49-F238E27FC236}">
                <a16:creationId xmlns:a16="http://schemas.microsoft.com/office/drawing/2014/main" id="{EA3B4E5E-45C9-4036-A49B-40C634649AD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87920" y="5097137"/>
            <a:ext cx="218911" cy="197141"/>
          </a:xfrm>
          <a:custGeom>
            <a:avLst/>
            <a:gdLst>
              <a:gd name="T0" fmla="*/ 757 w 1043"/>
              <a:gd name="T1" fmla="*/ 313 h 939"/>
              <a:gd name="T2" fmla="*/ 313 w 1043"/>
              <a:gd name="T3" fmla="*/ 321 h 939"/>
              <a:gd name="T4" fmla="*/ 321 w 1043"/>
              <a:gd name="T5" fmla="*/ 348 h 939"/>
              <a:gd name="T6" fmla="*/ 765 w 1043"/>
              <a:gd name="T7" fmla="*/ 340 h 939"/>
              <a:gd name="T8" fmla="*/ 765 w 1043"/>
              <a:gd name="T9" fmla="*/ 251 h 939"/>
              <a:gd name="T10" fmla="*/ 321 w 1043"/>
              <a:gd name="T11" fmla="*/ 243 h 939"/>
              <a:gd name="T12" fmla="*/ 313 w 1043"/>
              <a:gd name="T13" fmla="*/ 270 h 939"/>
              <a:gd name="T14" fmla="*/ 757 w 1043"/>
              <a:gd name="T15" fmla="*/ 278 h 939"/>
              <a:gd name="T16" fmla="*/ 765 w 1043"/>
              <a:gd name="T17" fmla="*/ 251 h 939"/>
              <a:gd name="T18" fmla="*/ 757 w 1043"/>
              <a:gd name="T19" fmla="*/ 382 h 939"/>
              <a:gd name="T20" fmla="*/ 313 w 1043"/>
              <a:gd name="T21" fmla="*/ 390 h 939"/>
              <a:gd name="T22" fmla="*/ 321 w 1043"/>
              <a:gd name="T23" fmla="*/ 417 h 939"/>
              <a:gd name="T24" fmla="*/ 765 w 1043"/>
              <a:gd name="T25" fmla="*/ 409 h 939"/>
              <a:gd name="T26" fmla="*/ 765 w 1043"/>
              <a:gd name="T27" fmla="*/ 182 h 939"/>
              <a:gd name="T28" fmla="*/ 321 w 1043"/>
              <a:gd name="T29" fmla="*/ 174 h 939"/>
              <a:gd name="T30" fmla="*/ 313 w 1043"/>
              <a:gd name="T31" fmla="*/ 201 h 939"/>
              <a:gd name="T32" fmla="*/ 757 w 1043"/>
              <a:gd name="T33" fmla="*/ 209 h 939"/>
              <a:gd name="T34" fmla="*/ 765 w 1043"/>
              <a:gd name="T35" fmla="*/ 182 h 939"/>
              <a:gd name="T36" fmla="*/ 1027 w 1043"/>
              <a:gd name="T37" fmla="*/ 730 h 939"/>
              <a:gd name="T38" fmla="*/ 491 w 1043"/>
              <a:gd name="T39" fmla="*/ 735 h 939"/>
              <a:gd name="T40" fmla="*/ 487 w 1043"/>
              <a:gd name="T41" fmla="*/ 747 h 939"/>
              <a:gd name="T42" fmla="*/ 358 w 1043"/>
              <a:gd name="T43" fmla="*/ 869 h 939"/>
              <a:gd name="T44" fmla="*/ 243 w 1043"/>
              <a:gd name="T45" fmla="*/ 757 h 939"/>
              <a:gd name="T46" fmla="*/ 243 w 1043"/>
              <a:gd name="T47" fmla="*/ 139 h 939"/>
              <a:gd name="T48" fmla="*/ 742 w 1043"/>
              <a:gd name="T49" fmla="*/ 69 h 939"/>
              <a:gd name="T50" fmla="*/ 834 w 1043"/>
              <a:gd name="T51" fmla="*/ 695 h 939"/>
              <a:gd name="T52" fmla="*/ 904 w 1043"/>
              <a:gd name="T53" fmla="*/ 161 h 939"/>
              <a:gd name="T54" fmla="*/ 685 w 1043"/>
              <a:gd name="T55" fmla="*/ 0 h 939"/>
              <a:gd name="T56" fmla="*/ 0 w 1043"/>
              <a:gd name="T57" fmla="*/ 174 h 939"/>
              <a:gd name="T58" fmla="*/ 16 w 1043"/>
              <a:gd name="T59" fmla="*/ 209 h 939"/>
              <a:gd name="T60" fmla="*/ 174 w 1043"/>
              <a:gd name="T61" fmla="*/ 757 h 939"/>
              <a:gd name="T62" fmla="*/ 820 w 1043"/>
              <a:gd name="T63" fmla="*/ 939 h 939"/>
              <a:gd name="T64" fmla="*/ 1043 w 1043"/>
              <a:gd name="T65" fmla="*/ 765 h 939"/>
              <a:gd name="T66" fmla="*/ 765 w 1043"/>
              <a:gd name="T67" fmla="*/ 529 h 939"/>
              <a:gd name="T68" fmla="*/ 321 w 1043"/>
              <a:gd name="T69" fmla="*/ 522 h 939"/>
              <a:gd name="T70" fmla="*/ 313 w 1043"/>
              <a:gd name="T71" fmla="*/ 548 h 939"/>
              <a:gd name="T72" fmla="*/ 757 w 1043"/>
              <a:gd name="T73" fmla="*/ 556 h 939"/>
              <a:gd name="T74" fmla="*/ 765 w 1043"/>
              <a:gd name="T75" fmla="*/ 529 h 939"/>
              <a:gd name="T76" fmla="*/ 757 w 1043"/>
              <a:gd name="T77" fmla="*/ 452 h 939"/>
              <a:gd name="T78" fmla="*/ 313 w 1043"/>
              <a:gd name="T79" fmla="*/ 460 h 939"/>
              <a:gd name="T80" fmla="*/ 321 w 1043"/>
              <a:gd name="T81" fmla="*/ 487 h 939"/>
              <a:gd name="T82" fmla="*/ 765 w 1043"/>
              <a:gd name="T83" fmla="*/ 479 h 939"/>
              <a:gd name="T84" fmla="*/ 765 w 1043"/>
              <a:gd name="T85" fmla="*/ 599 h 939"/>
              <a:gd name="T86" fmla="*/ 757 w 1043"/>
              <a:gd name="T87" fmla="*/ 626 h 939"/>
              <a:gd name="T88" fmla="*/ 313 w 1043"/>
              <a:gd name="T89" fmla="*/ 618 h 939"/>
              <a:gd name="T90" fmla="*/ 321 w 1043"/>
              <a:gd name="T91" fmla="*/ 591 h 939"/>
              <a:gd name="T92" fmla="*/ 765 w 1043"/>
              <a:gd name="T93" fmla="*/ 59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43" h="939">
                <a:moveTo>
                  <a:pt x="765" y="321"/>
                </a:moveTo>
                <a:cubicBezTo>
                  <a:pt x="765" y="316"/>
                  <a:pt x="761" y="313"/>
                  <a:pt x="757" y="313"/>
                </a:cubicBezTo>
                <a:cubicBezTo>
                  <a:pt x="321" y="313"/>
                  <a:pt x="321" y="313"/>
                  <a:pt x="321" y="313"/>
                </a:cubicBezTo>
                <a:cubicBezTo>
                  <a:pt x="316" y="313"/>
                  <a:pt x="313" y="316"/>
                  <a:pt x="313" y="321"/>
                </a:cubicBezTo>
                <a:cubicBezTo>
                  <a:pt x="313" y="340"/>
                  <a:pt x="313" y="340"/>
                  <a:pt x="313" y="340"/>
                </a:cubicBezTo>
                <a:cubicBezTo>
                  <a:pt x="313" y="344"/>
                  <a:pt x="316" y="348"/>
                  <a:pt x="321" y="348"/>
                </a:cubicBezTo>
                <a:cubicBezTo>
                  <a:pt x="757" y="348"/>
                  <a:pt x="757" y="348"/>
                  <a:pt x="757" y="348"/>
                </a:cubicBezTo>
                <a:cubicBezTo>
                  <a:pt x="761" y="348"/>
                  <a:pt x="765" y="344"/>
                  <a:pt x="765" y="340"/>
                </a:cubicBezTo>
                <a:lnTo>
                  <a:pt x="765" y="321"/>
                </a:lnTo>
                <a:close/>
                <a:moveTo>
                  <a:pt x="765" y="251"/>
                </a:moveTo>
                <a:cubicBezTo>
                  <a:pt x="765" y="247"/>
                  <a:pt x="761" y="243"/>
                  <a:pt x="757" y="243"/>
                </a:cubicBezTo>
                <a:cubicBezTo>
                  <a:pt x="321" y="243"/>
                  <a:pt x="321" y="243"/>
                  <a:pt x="321" y="243"/>
                </a:cubicBezTo>
                <a:cubicBezTo>
                  <a:pt x="316" y="243"/>
                  <a:pt x="313" y="247"/>
                  <a:pt x="313" y="251"/>
                </a:cubicBezTo>
                <a:cubicBezTo>
                  <a:pt x="313" y="270"/>
                  <a:pt x="313" y="270"/>
                  <a:pt x="313" y="270"/>
                </a:cubicBezTo>
                <a:cubicBezTo>
                  <a:pt x="313" y="275"/>
                  <a:pt x="316" y="278"/>
                  <a:pt x="321" y="278"/>
                </a:cubicBezTo>
                <a:cubicBezTo>
                  <a:pt x="757" y="278"/>
                  <a:pt x="757" y="278"/>
                  <a:pt x="757" y="278"/>
                </a:cubicBezTo>
                <a:cubicBezTo>
                  <a:pt x="761" y="278"/>
                  <a:pt x="765" y="275"/>
                  <a:pt x="765" y="270"/>
                </a:cubicBezTo>
                <a:lnTo>
                  <a:pt x="765" y="251"/>
                </a:lnTo>
                <a:close/>
                <a:moveTo>
                  <a:pt x="765" y="390"/>
                </a:moveTo>
                <a:cubicBezTo>
                  <a:pt x="765" y="386"/>
                  <a:pt x="761" y="382"/>
                  <a:pt x="757" y="382"/>
                </a:cubicBezTo>
                <a:cubicBezTo>
                  <a:pt x="321" y="382"/>
                  <a:pt x="321" y="382"/>
                  <a:pt x="321" y="382"/>
                </a:cubicBezTo>
                <a:cubicBezTo>
                  <a:pt x="316" y="382"/>
                  <a:pt x="313" y="386"/>
                  <a:pt x="313" y="390"/>
                </a:cubicBezTo>
                <a:cubicBezTo>
                  <a:pt x="313" y="409"/>
                  <a:pt x="313" y="409"/>
                  <a:pt x="313" y="409"/>
                </a:cubicBezTo>
                <a:cubicBezTo>
                  <a:pt x="313" y="414"/>
                  <a:pt x="316" y="417"/>
                  <a:pt x="321" y="417"/>
                </a:cubicBezTo>
                <a:cubicBezTo>
                  <a:pt x="757" y="417"/>
                  <a:pt x="757" y="417"/>
                  <a:pt x="757" y="417"/>
                </a:cubicBezTo>
                <a:cubicBezTo>
                  <a:pt x="761" y="417"/>
                  <a:pt x="765" y="414"/>
                  <a:pt x="765" y="409"/>
                </a:cubicBezTo>
                <a:lnTo>
                  <a:pt x="765" y="390"/>
                </a:lnTo>
                <a:close/>
                <a:moveTo>
                  <a:pt x="765" y="182"/>
                </a:moveTo>
                <a:cubicBezTo>
                  <a:pt x="765" y="177"/>
                  <a:pt x="761" y="174"/>
                  <a:pt x="757" y="174"/>
                </a:cubicBezTo>
                <a:cubicBezTo>
                  <a:pt x="321" y="174"/>
                  <a:pt x="321" y="174"/>
                  <a:pt x="321" y="174"/>
                </a:cubicBezTo>
                <a:cubicBezTo>
                  <a:pt x="316" y="174"/>
                  <a:pt x="313" y="177"/>
                  <a:pt x="313" y="182"/>
                </a:cubicBezTo>
                <a:cubicBezTo>
                  <a:pt x="313" y="201"/>
                  <a:pt x="313" y="201"/>
                  <a:pt x="313" y="201"/>
                </a:cubicBezTo>
                <a:cubicBezTo>
                  <a:pt x="313" y="205"/>
                  <a:pt x="316" y="209"/>
                  <a:pt x="321" y="209"/>
                </a:cubicBezTo>
                <a:cubicBezTo>
                  <a:pt x="757" y="209"/>
                  <a:pt x="757" y="209"/>
                  <a:pt x="757" y="209"/>
                </a:cubicBezTo>
                <a:cubicBezTo>
                  <a:pt x="761" y="209"/>
                  <a:pt x="765" y="205"/>
                  <a:pt x="765" y="201"/>
                </a:cubicBezTo>
                <a:lnTo>
                  <a:pt x="765" y="182"/>
                </a:lnTo>
                <a:close/>
                <a:moveTo>
                  <a:pt x="1041" y="743"/>
                </a:moveTo>
                <a:cubicBezTo>
                  <a:pt x="1041" y="736"/>
                  <a:pt x="1034" y="730"/>
                  <a:pt x="1027" y="730"/>
                </a:cubicBezTo>
                <a:cubicBezTo>
                  <a:pt x="501" y="730"/>
                  <a:pt x="501" y="730"/>
                  <a:pt x="501" y="730"/>
                </a:cubicBezTo>
                <a:cubicBezTo>
                  <a:pt x="497" y="730"/>
                  <a:pt x="494" y="732"/>
                  <a:pt x="491" y="735"/>
                </a:cubicBezTo>
                <a:cubicBezTo>
                  <a:pt x="488" y="737"/>
                  <a:pt x="486" y="741"/>
                  <a:pt x="487" y="745"/>
                </a:cubicBezTo>
                <a:cubicBezTo>
                  <a:pt x="487" y="746"/>
                  <a:pt x="487" y="747"/>
                  <a:pt x="487" y="747"/>
                </a:cubicBezTo>
                <a:cubicBezTo>
                  <a:pt x="487" y="815"/>
                  <a:pt x="432" y="869"/>
                  <a:pt x="365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295" y="869"/>
                  <a:pt x="243" y="819"/>
                  <a:pt x="243" y="757"/>
                </a:cubicBezTo>
                <a:cubicBezTo>
                  <a:pt x="243" y="757"/>
                  <a:pt x="243" y="243"/>
                  <a:pt x="243" y="174"/>
                </a:cubicBezTo>
                <a:cubicBezTo>
                  <a:pt x="243" y="139"/>
                  <a:pt x="243" y="139"/>
                  <a:pt x="243" y="139"/>
                </a:cubicBezTo>
                <a:cubicBezTo>
                  <a:pt x="243" y="100"/>
                  <a:pt x="212" y="69"/>
                  <a:pt x="174" y="69"/>
                </a:cubicBezTo>
                <a:cubicBezTo>
                  <a:pt x="742" y="69"/>
                  <a:pt x="742" y="69"/>
                  <a:pt x="742" y="69"/>
                </a:cubicBezTo>
                <a:cubicBezTo>
                  <a:pt x="793" y="69"/>
                  <a:pt x="834" y="111"/>
                  <a:pt x="834" y="161"/>
                </a:cubicBezTo>
                <a:cubicBezTo>
                  <a:pt x="834" y="695"/>
                  <a:pt x="834" y="695"/>
                  <a:pt x="834" y="695"/>
                </a:cubicBezTo>
                <a:cubicBezTo>
                  <a:pt x="904" y="695"/>
                  <a:pt x="904" y="695"/>
                  <a:pt x="904" y="695"/>
                </a:cubicBezTo>
                <a:cubicBezTo>
                  <a:pt x="904" y="573"/>
                  <a:pt x="904" y="326"/>
                  <a:pt x="904" y="161"/>
                </a:cubicBezTo>
                <a:cubicBezTo>
                  <a:pt x="904" y="72"/>
                  <a:pt x="832" y="0"/>
                  <a:pt x="742" y="0"/>
                </a:cubicBezTo>
                <a:cubicBezTo>
                  <a:pt x="685" y="0"/>
                  <a:pt x="685" y="0"/>
                  <a:pt x="685" y="0"/>
                </a:cubicBezTo>
                <a:cubicBezTo>
                  <a:pt x="174" y="0"/>
                  <a:pt x="174" y="0"/>
                  <a:pt x="174" y="0"/>
                </a:cubicBezTo>
                <a:cubicBezTo>
                  <a:pt x="78" y="0"/>
                  <a:pt x="0" y="78"/>
                  <a:pt x="0" y="174"/>
                </a:cubicBezTo>
                <a:cubicBezTo>
                  <a:pt x="0" y="181"/>
                  <a:pt x="0" y="188"/>
                  <a:pt x="1" y="196"/>
                </a:cubicBezTo>
                <a:cubicBezTo>
                  <a:pt x="2" y="203"/>
                  <a:pt x="8" y="209"/>
                  <a:pt x="16" y="209"/>
                </a:cubicBezTo>
                <a:cubicBezTo>
                  <a:pt x="174" y="209"/>
                  <a:pt x="174" y="209"/>
                  <a:pt x="174" y="209"/>
                </a:cubicBezTo>
                <a:cubicBezTo>
                  <a:pt x="174" y="410"/>
                  <a:pt x="174" y="694"/>
                  <a:pt x="174" y="757"/>
                </a:cubicBezTo>
                <a:cubicBezTo>
                  <a:pt x="174" y="857"/>
                  <a:pt x="256" y="939"/>
                  <a:pt x="358" y="939"/>
                </a:cubicBezTo>
                <a:cubicBezTo>
                  <a:pt x="820" y="939"/>
                  <a:pt x="820" y="939"/>
                  <a:pt x="820" y="939"/>
                </a:cubicBezTo>
                <a:cubicBezTo>
                  <a:pt x="869" y="939"/>
                  <a:pt x="869" y="939"/>
                  <a:pt x="869" y="939"/>
                </a:cubicBezTo>
                <a:cubicBezTo>
                  <a:pt x="965" y="939"/>
                  <a:pt x="1043" y="861"/>
                  <a:pt x="1043" y="765"/>
                </a:cubicBezTo>
                <a:cubicBezTo>
                  <a:pt x="1043" y="757"/>
                  <a:pt x="1042" y="750"/>
                  <a:pt x="1041" y="743"/>
                </a:cubicBezTo>
                <a:close/>
                <a:moveTo>
                  <a:pt x="765" y="529"/>
                </a:moveTo>
                <a:cubicBezTo>
                  <a:pt x="765" y="525"/>
                  <a:pt x="761" y="522"/>
                  <a:pt x="757" y="522"/>
                </a:cubicBezTo>
                <a:cubicBezTo>
                  <a:pt x="321" y="522"/>
                  <a:pt x="321" y="522"/>
                  <a:pt x="321" y="522"/>
                </a:cubicBezTo>
                <a:cubicBezTo>
                  <a:pt x="316" y="522"/>
                  <a:pt x="313" y="525"/>
                  <a:pt x="313" y="529"/>
                </a:cubicBezTo>
                <a:cubicBezTo>
                  <a:pt x="313" y="548"/>
                  <a:pt x="313" y="548"/>
                  <a:pt x="313" y="548"/>
                </a:cubicBezTo>
                <a:cubicBezTo>
                  <a:pt x="313" y="553"/>
                  <a:pt x="316" y="556"/>
                  <a:pt x="321" y="556"/>
                </a:cubicBezTo>
                <a:cubicBezTo>
                  <a:pt x="757" y="556"/>
                  <a:pt x="757" y="556"/>
                  <a:pt x="757" y="556"/>
                </a:cubicBezTo>
                <a:cubicBezTo>
                  <a:pt x="761" y="556"/>
                  <a:pt x="765" y="553"/>
                  <a:pt x="765" y="548"/>
                </a:cubicBezTo>
                <a:lnTo>
                  <a:pt x="765" y="529"/>
                </a:lnTo>
                <a:close/>
                <a:moveTo>
                  <a:pt x="765" y="460"/>
                </a:moveTo>
                <a:cubicBezTo>
                  <a:pt x="765" y="456"/>
                  <a:pt x="761" y="452"/>
                  <a:pt x="757" y="452"/>
                </a:cubicBezTo>
                <a:cubicBezTo>
                  <a:pt x="321" y="452"/>
                  <a:pt x="321" y="452"/>
                  <a:pt x="321" y="452"/>
                </a:cubicBezTo>
                <a:cubicBezTo>
                  <a:pt x="316" y="452"/>
                  <a:pt x="313" y="456"/>
                  <a:pt x="313" y="460"/>
                </a:cubicBezTo>
                <a:cubicBezTo>
                  <a:pt x="313" y="479"/>
                  <a:pt x="313" y="479"/>
                  <a:pt x="313" y="479"/>
                </a:cubicBezTo>
                <a:cubicBezTo>
                  <a:pt x="313" y="483"/>
                  <a:pt x="316" y="487"/>
                  <a:pt x="321" y="487"/>
                </a:cubicBezTo>
                <a:cubicBezTo>
                  <a:pt x="757" y="487"/>
                  <a:pt x="757" y="487"/>
                  <a:pt x="757" y="487"/>
                </a:cubicBezTo>
                <a:cubicBezTo>
                  <a:pt x="761" y="487"/>
                  <a:pt x="765" y="483"/>
                  <a:pt x="765" y="479"/>
                </a:cubicBezTo>
                <a:lnTo>
                  <a:pt x="765" y="460"/>
                </a:lnTo>
                <a:close/>
                <a:moveTo>
                  <a:pt x="765" y="599"/>
                </a:moveTo>
                <a:cubicBezTo>
                  <a:pt x="765" y="618"/>
                  <a:pt x="765" y="618"/>
                  <a:pt x="765" y="618"/>
                </a:cubicBezTo>
                <a:cubicBezTo>
                  <a:pt x="765" y="622"/>
                  <a:pt x="761" y="626"/>
                  <a:pt x="757" y="626"/>
                </a:cubicBezTo>
                <a:cubicBezTo>
                  <a:pt x="321" y="626"/>
                  <a:pt x="321" y="626"/>
                  <a:pt x="321" y="626"/>
                </a:cubicBezTo>
                <a:cubicBezTo>
                  <a:pt x="316" y="626"/>
                  <a:pt x="313" y="622"/>
                  <a:pt x="313" y="618"/>
                </a:cubicBezTo>
                <a:cubicBezTo>
                  <a:pt x="313" y="599"/>
                  <a:pt x="313" y="599"/>
                  <a:pt x="313" y="599"/>
                </a:cubicBezTo>
                <a:cubicBezTo>
                  <a:pt x="313" y="595"/>
                  <a:pt x="316" y="591"/>
                  <a:pt x="321" y="591"/>
                </a:cubicBezTo>
                <a:cubicBezTo>
                  <a:pt x="757" y="591"/>
                  <a:pt x="757" y="591"/>
                  <a:pt x="757" y="591"/>
                </a:cubicBezTo>
                <a:cubicBezTo>
                  <a:pt x="761" y="591"/>
                  <a:pt x="765" y="595"/>
                  <a:pt x="765" y="5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2AD5CA17-A521-4C58-AAF0-AE32337323A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200260" y="2340801"/>
            <a:ext cx="182832" cy="231961"/>
            <a:chOff x="849313" y="-539751"/>
            <a:chExt cx="8375650" cy="10623551"/>
          </a:xfrm>
          <a:solidFill>
            <a:schemeClr val="bg1">
              <a:alpha val="70000"/>
            </a:schemeClr>
          </a:solidFill>
        </p:grpSpPr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6DCB26E7-0626-4F22-91D5-68959FE51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3" y="2670175"/>
              <a:ext cx="8375650" cy="7413625"/>
            </a:xfrm>
            <a:custGeom>
              <a:avLst/>
              <a:gdLst>
                <a:gd name="T0" fmla="*/ 116 w 741"/>
                <a:gd name="T1" fmla="*/ 656 h 656"/>
                <a:gd name="T2" fmla="*/ 165 w 741"/>
                <a:gd name="T3" fmla="*/ 561 h 656"/>
                <a:gd name="T4" fmla="*/ 92 w 741"/>
                <a:gd name="T5" fmla="*/ 506 h 656"/>
                <a:gd name="T6" fmla="*/ 0 w 741"/>
                <a:gd name="T7" fmla="*/ 284 h 656"/>
                <a:gd name="T8" fmla="*/ 181 w 741"/>
                <a:gd name="T9" fmla="*/ 0 h 656"/>
                <a:gd name="T10" fmla="*/ 210 w 741"/>
                <a:gd name="T11" fmla="*/ 118 h 656"/>
                <a:gd name="T12" fmla="*/ 118 w 741"/>
                <a:gd name="T13" fmla="*/ 275 h 656"/>
                <a:gd name="T14" fmla="*/ 347 w 741"/>
                <a:gd name="T15" fmla="*/ 437 h 656"/>
                <a:gd name="T16" fmla="*/ 663 w 741"/>
                <a:gd name="T17" fmla="*/ 353 h 656"/>
                <a:gd name="T18" fmla="*/ 699 w 741"/>
                <a:gd name="T19" fmla="*/ 374 h 656"/>
                <a:gd name="T20" fmla="*/ 678 w 741"/>
                <a:gd name="T21" fmla="*/ 410 h 656"/>
                <a:gd name="T22" fmla="*/ 373 w 741"/>
                <a:gd name="T23" fmla="*/ 491 h 656"/>
                <a:gd name="T24" fmla="*/ 386 w 741"/>
                <a:gd name="T25" fmla="*/ 539 h 656"/>
                <a:gd name="T26" fmla="*/ 623 w 741"/>
                <a:gd name="T27" fmla="*/ 539 h 656"/>
                <a:gd name="T28" fmla="*/ 741 w 741"/>
                <a:gd name="T29" fmla="*/ 656 h 656"/>
                <a:gd name="T30" fmla="*/ 116 w 741"/>
                <a:gd name="T31" fmla="*/ 656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1" h="656">
                  <a:moveTo>
                    <a:pt x="116" y="656"/>
                  </a:moveTo>
                  <a:cubicBezTo>
                    <a:pt x="116" y="617"/>
                    <a:pt x="136" y="582"/>
                    <a:pt x="165" y="561"/>
                  </a:cubicBezTo>
                  <a:cubicBezTo>
                    <a:pt x="138" y="546"/>
                    <a:pt x="113" y="528"/>
                    <a:pt x="92" y="506"/>
                  </a:cubicBezTo>
                  <a:cubicBezTo>
                    <a:pt x="35" y="449"/>
                    <a:pt x="0" y="371"/>
                    <a:pt x="0" y="284"/>
                  </a:cubicBezTo>
                  <a:cubicBezTo>
                    <a:pt x="0" y="162"/>
                    <a:pt x="71" y="52"/>
                    <a:pt x="181" y="0"/>
                  </a:cubicBezTo>
                  <a:cubicBezTo>
                    <a:pt x="171" y="41"/>
                    <a:pt x="182" y="86"/>
                    <a:pt x="210" y="118"/>
                  </a:cubicBezTo>
                  <a:cubicBezTo>
                    <a:pt x="156" y="151"/>
                    <a:pt x="120" y="210"/>
                    <a:pt x="118" y="275"/>
                  </a:cubicBezTo>
                  <a:cubicBezTo>
                    <a:pt x="114" y="385"/>
                    <a:pt x="226" y="466"/>
                    <a:pt x="347" y="437"/>
                  </a:cubicBezTo>
                  <a:cubicBezTo>
                    <a:pt x="663" y="353"/>
                    <a:pt x="663" y="353"/>
                    <a:pt x="663" y="353"/>
                  </a:cubicBezTo>
                  <a:cubicBezTo>
                    <a:pt x="678" y="349"/>
                    <a:pt x="694" y="358"/>
                    <a:pt x="699" y="374"/>
                  </a:cubicBezTo>
                  <a:cubicBezTo>
                    <a:pt x="703" y="389"/>
                    <a:pt x="693" y="406"/>
                    <a:pt x="678" y="410"/>
                  </a:cubicBezTo>
                  <a:cubicBezTo>
                    <a:pt x="373" y="491"/>
                    <a:pt x="373" y="491"/>
                    <a:pt x="373" y="491"/>
                  </a:cubicBezTo>
                  <a:cubicBezTo>
                    <a:pt x="386" y="539"/>
                    <a:pt x="386" y="539"/>
                    <a:pt x="386" y="539"/>
                  </a:cubicBezTo>
                  <a:cubicBezTo>
                    <a:pt x="623" y="539"/>
                    <a:pt x="623" y="539"/>
                    <a:pt x="623" y="539"/>
                  </a:cubicBezTo>
                  <a:cubicBezTo>
                    <a:pt x="688" y="539"/>
                    <a:pt x="741" y="591"/>
                    <a:pt x="741" y="656"/>
                  </a:cubicBezTo>
                  <a:lnTo>
                    <a:pt x="116" y="6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C349A7A9-667D-4568-9A9C-9875040D5D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1" y="5043487"/>
              <a:ext cx="2587625" cy="1231900"/>
            </a:xfrm>
            <a:custGeom>
              <a:avLst/>
              <a:gdLst>
                <a:gd name="T0" fmla="*/ 40 w 229"/>
                <a:gd name="T1" fmla="*/ 104 h 109"/>
                <a:gd name="T2" fmla="*/ 4 w 229"/>
                <a:gd name="T3" fmla="*/ 84 h 109"/>
                <a:gd name="T4" fmla="*/ 25 w 229"/>
                <a:gd name="T5" fmla="*/ 48 h 109"/>
                <a:gd name="T6" fmla="*/ 188 w 229"/>
                <a:gd name="T7" fmla="*/ 4 h 109"/>
                <a:gd name="T8" fmla="*/ 224 w 229"/>
                <a:gd name="T9" fmla="*/ 25 h 109"/>
                <a:gd name="T10" fmla="*/ 204 w 229"/>
                <a:gd name="T11" fmla="*/ 61 h 109"/>
                <a:gd name="T12" fmla="*/ 40 w 229"/>
                <a:gd name="T13" fmla="*/ 10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109">
                  <a:moveTo>
                    <a:pt x="40" y="104"/>
                  </a:moveTo>
                  <a:cubicBezTo>
                    <a:pt x="25" y="109"/>
                    <a:pt x="9" y="99"/>
                    <a:pt x="4" y="84"/>
                  </a:cubicBezTo>
                  <a:cubicBezTo>
                    <a:pt x="0" y="68"/>
                    <a:pt x="10" y="52"/>
                    <a:pt x="25" y="48"/>
                  </a:cubicBezTo>
                  <a:cubicBezTo>
                    <a:pt x="188" y="4"/>
                    <a:pt x="188" y="4"/>
                    <a:pt x="188" y="4"/>
                  </a:cubicBezTo>
                  <a:cubicBezTo>
                    <a:pt x="204" y="0"/>
                    <a:pt x="220" y="9"/>
                    <a:pt x="224" y="25"/>
                  </a:cubicBezTo>
                  <a:cubicBezTo>
                    <a:pt x="229" y="40"/>
                    <a:pt x="219" y="57"/>
                    <a:pt x="204" y="61"/>
                  </a:cubicBezTo>
                  <a:lnTo>
                    <a:pt x="4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9C103A8E-93E4-43FF-9868-CFD79DB750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4851" y="-539751"/>
              <a:ext cx="4092575" cy="5910263"/>
            </a:xfrm>
            <a:custGeom>
              <a:avLst/>
              <a:gdLst>
                <a:gd name="T0" fmla="*/ 105 w 362"/>
                <a:gd name="T1" fmla="*/ 348 h 523"/>
                <a:gd name="T2" fmla="*/ 69 w 362"/>
                <a:gd name="T3" fmla="*/ 327 h 523"/>
                <a:gd name="T4" fmla="*/ 90 w 362"/>
                <a:gd name="T5" fmla="*/ 291 h 523"/>
                <a:gd name="T6" fmla="*/ 126 w 362"/>
                <a:gd name="T7" fmla="*/ 312 h 523"/>
                <a:gd name="T8" fmla="*/ 105 w 362"/>
                <a:gd name="T9" fmla="*/ 348 h 523"/>
                <a:gd name="T10" fmla="*/ 358 w 362"/>
                <a:gd name="T11" fmla="*/ 441 h 523"/>
                <a:gd name="T12" fmla="*/ 271 w 362"/>
                <a:gd name="T13" fmla="*/ 115 h 523"/>
                <a:gd name="T14" fmla="*/ 233 w 362"/>
                <a:gd name="T15" fmla="*/ 93 h 523"/>
                <a:gd name="T16" fmla="*/ 206 w 362"/>
                <a:gd name="T17" fmla="*/ 101 h 523"/>
                <a:gd name="T18" fmla="*/ 182 w 362"/>
                <a:gd name="T19" fmla="*/ 12 h 523"/>
                <a:gd name="T20" fmla="*/ 164 w 362"/>
                <a:gd name="T21" fmla="*/ 2 h 523"/>
                <a:gd name="T22" fmla="*/ 93 w 362"/>
                <a:gd name="T23" fmla="*/ 21 h 523"/>
                <a:gd name="T24" fmla="*/ 83 w 362"/>
                <a:gd name="T25" fmla="*/ 39 h 523"/>
                <a:gd name="T26" fmla="*/ 107 w 362"/>
                <a:gd name="T27" fmla="*/ 127 h 523"/>
                <a:gd name="T28" fmla="*/ 80 w 362"/>
                <a:gd name="T29" fmla="*/ 135 h 523"/>
                <a:gd name="T30" fmla="*/ 58 w 362"/>
                <a:gd name="T31" fmla="*/ 172 h 523"/>
                <a:gd name="T32" fmla="*/ 75 w 362"/>
                <a:gd name="T33" fmla="*/ 235 h 523"/>
                <a:gd name="T34" fmla="*/ 12 w 362"/>
                <a:gd name="T35" fmla="*/ 342 h 523"/>
                <a:gd name="T36" fmla="*/ 120 w 362"/>
                <a:gd name="T37" fmla="*/ 405 h 523"/>
                <a:gd name="T38" fmla="*/ 120 w 362"/>
                <a:gd name="T39" fmla="*/ 405 h 523"/>
                <a:gd name="T40" fmla="*/ 145 w 362"/>
                <a:gd name="T41" fmla="*/ 498 h 523"/>
                <a:gd name="T42" fmla="*/ 181 w 362"/>
                <a:gd name="T43" fmla="*/ 518 h 523"/>
                <a:gd name="T44" fmla="*/ 337 w 362"/>
                <a:gd name="T45" fmla="*/ 477 h 523"/>
                <a:gd name="T46" fmla="*/ 358 w 362"/>
                <a:gd name="T47" fmla="*/ 441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2" h="523">
                  <a:moveTo>
                    <a:pt x="105" y="348"/>
                  </a:moveTo>
                  <a:cubicBezTo>
                    <a:pt x="89" y="352"/>
                    <a:pt x="73" y="343"/>
                    <a:pt x="69" y="327"/>
                  </a:cubicBezTo>
                  <a:cubicBezTo>
                    <a:pt x="65" y="311"/>
                    <a:pt x="74" y="295"/>
                    <a:pt x="90" y="291"/>
                  </a:cubicBezTo>
                  <a:cubicBezTo>
                    <a:pt x="106" y="287"/>
                    <a:pt x="122" y="296"/>
                    <a:pt x="126" y="312"/>
                  </a:cubicBezTo>
                  <a:cubicBezTo>
                    <a:pt x="130" y="328"/>
                    <a:pt x="121" y="344"/>
                    <a:pt x="105" y="348"/>
                  </a:cubicBezTo>
                  <a:close/>
                  <a:moveTo>
                    <a:pt x="358" y="441"/>
                  </a:moveTo>
                  <a:cubicBezTo>
                    <a:pt x="271" y="115"/>
                    <a:pt x="271" y="115"/>
                    <a:pt x="271" y="115"/>
                  </a:cubicBezTo>
                  <a:cubicBezTo>
                    <a:pt x="266" y="99"/>
                    <a:pt x="250" y="89"/>
                    <a:pt x="233" y="93"/>
                  </a:cubicBezTo>
                  <a:cubicBezTo>
                    <a:pt x="206" y="101"/>
                    <a:pt x="206" y="101"/>
                    <a:pt x="206" y="101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0" y="4"/>
                    <a:pt x="172" y="0"/>
                    <a:pt x="164" y="2"/>
                  </a:cubicBezTo>
                  <a:cubicBezTo>
                    <a:pt x="93" y="21"/>
                    <a:pt x="93" y="21"/>
                    <a:pt x="93" y="21"/>
                  </a:cubicBezTo>
                  <a:cubicBezTo>
                    <a:pt x="86" y="23"/>
                    <a:pt x="81" y="31"/>
                    <a:pt x="83" y="39"/>
                  </a:cubicBezTo>
                  <a:cubicBezTo>
                    <a:pt x="107" y="127"/>
                    <a:pt x="107" y="127"/>
                    <a:pt x="107" y="127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63" y="139"/>
                    <a:pt x="54" y="156"/>
                    <a:pt x="58" y="172"/>
                  </a:cubicBezTo>
                  <a:cubicBezTo>
                    <a:pt x="75" y="235"/>
                    <a:pt x="75" y="235"/>
                    <a:pt x="75" y="235"/>
                  </a:cubicBezTo>
                  <a:cubicBezTo>
                    <a:pt x="28" y="247"/>
                    <a:pt x="0" y="295"/>
                    <a:pt x="12" y="342"/>
                  </a:cubicBezTo>
                  <a:cubicBezTo>
                    <a:pt x="25" y="389"/>
                    <a:pt x="73" y="417"/>
                    <a:pt x="120" y="405"/>
                  </a:cubicBezTo>
                  <a:cubicBezTo>
                    <a:pt x="120" y="405"/>
                    <a:pt x="120" y="405"/>
                    <a:pt x="120" y="405"/>
                  </a:cubicBezTo>
                  <a:cubicBezTo>
                    <a:pt x="145" y="498"/>
                    <a:pt x="145" y="498"/>
                    <a:pt x="145" y="498"/>
                  </a:cubicBezTo>
                  <a:cubicBezTo>
                    <a:pt x="150" y="513"/>
                    <a:pt x="166" y="523"/>
                    <a:pt x="181" y="518"/>
                  </a:cubicBezTo>
                  <a:cubicBezTo>
                    <a:pt x="337" y="477"/>
                    <a:pt x="337" y="477"/>
                    <a:pt x="337" y="477"/>
                  </a:cubicBezTo>
                  <a:cubicBezTo>
                    <a:pt x="353" y="472"/>
                    <a:pt x="362" y="456"/>
                    <a:pt x="358" y="4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51" name="Freeform 47">
            <a:extLst>
              <a:ext uri="{FF2B5EF4-FFF2-40B4-BE49-F238E27FC236}">
                <a16:creationId xmlns:a16="http://schemas.microsoft.com/office/drawing/2014/main" id="{D4F40BA5-020F-4C82-BE5F-CDD42E86E6E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74781" y="3268800"/>
            <a:ext cx="201116" cy="201139"/>
          </a:xfrm>
          <a:custGeom>
            <a:avLst/>
            <a:gdLst>
              <a:gd name="T0" fmla="*/ 951 w 981"/>
              <a:gd name="T1" fmla="*/ 842 h 981"/>
              <a:gd name="T2" fmla="*/ 711 w 981"/>
              <a:gd name="T3" fmla="*/ 603 h 981"/>
              <a:gd name="T4" fmla="*/ 603 w 981"/>
              <a:gd name="T5" fmla="*/ 107 h 981"/>
              <a:gd name="T6" fmla="*/ 107 w 981"/>
              <a:gd name="T7" fmla="*/ 216 h 981"/>
              <a:gd name="T8" fmla="*/ 216 w 981"/>
              <a:gd name="T9" fmla="*/ 712 h 981"/>
              <a:gd name="T10" fmla="*/ 603 w 981"/>
              <a:gd name="T11" fmla="*/ 712 h 981"/>
              <a:gd name="T12" fmla="*/ 842 w 981"/>
              <a:gd name="T13" fmla="*/ 951 h 981"/>
              <a:gd name="T14" fmla="*/ 951 w 981"/>
              <a:gd name="T15" fmla="*/ 951 h 981"/>
              <a:gd name="T16" fmla="*/ 951 w 981"/>
              <a:gd name="T17" fmla="*/ 843 h 981"/>
              <a:gd name="T18" fmla="*/ 951 w 981"/>
              <a:gd name="T19" fmla="*/ 842 h 981"/>
              <a:gd name="T20" fmla="*/ 153 w 981"/>
              <a:gd name="T21" fmla="*/ 410 h 981"/>
              <a:gd name="T22" fmla="*/ 410 w 981"/>
              <a:gd name="T23" fmla="*/ 153 h 981"/>
              <a:gd name="T24" fmla="*/ 666 w 981"/>
              <a:gd name="T25" fmla="*/ 410 h 981"/>
              <a:gd name="T26" fmla="*/ 410 w 981"/>
              <a:gd name="T27" fmla="*/ 666 h 981"/>
              <a:gd name="T28" fmla="*/ 153 w 981"/>
              <a:gd name="T29" fmla="*/ 410 h 9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81" h="981">
                <a:moveTo>
                  <a:pt x="951" y="842"/>
                </a:moveTo>
                <a:cubicBezTo>
                  <a:pt x="711" y="603"/>
                  <a:pt x="711" y="603"/>
                  <a:pt x="711" y="603"/>
                </a:cubicBezTo>
                <a:cubicBezTo>
                  <a:pt x="818" y="436"/>
                  <a:pt x="770" y="214"/>
                  <a:pt x="603" y="107"/>
                </a:cubicBezTo>
                <a:cubicBezTo>
                  <a:pt x="436" y="0"/>
                  <a:pt x="214" y="49"/>
                  <a:pt x="107" y="216"/>
                </a:cubicBezTo>
                <a:cubicBezTo>
                  <a:pt x="0" y="383"/>
                  <a:pt x="49" y="605"/>
                  <a:pt x="216" y="712"/>
                </a:cubicBezTo>
                <a:cubicBezTo>
                  <a:pt x="334" y="787"/>
                  <a:pt x="485" y="787"/>
                  <a:pt x="603" y="712"/>
                </a:cubicBezTo>
                <a:cubicBezTo>
                  <a:pt x="842" y="951"/>
                  <a:pt x="842" y="951"/>
                  <a:pt x="842" y="951"/>
                </a:cubicBezTo>
                <a:cubicBezTo>
                  <a:pt x="872" y="981"/>
                  <a:pt x="921" y="981"/>
                  <a:pt x="951" y="951"/>
                </a:cubicBezTo>
                <a:cubicBezTo>
                  <a:pt x="981" y="921"/>
                  <a:pt x="981" y="873"/>
                  <a:pt x="951" y="843"/>
                </a:cubicBezTo>
                <a:cubicBezTo>
                  <a:pt x="951" y="843"/>
                  <a:pt x="951" y="842"/>
                  <a:pt x="951" y="842"/>
                </a:cubicBezTo>
                <a:close/>
                <a:moveTo>
                  <a:pt x="153" y="410"/>
                </a:moveTo>
                <a:cubicBezTo>
                  <a:pt x="153" y="268"/>
                  <a:pt x="268" y="153"/>
                  <a:pt x="410" y="153"/>
                </a:cubicBezTo>
                <a:cubicBezTo>
                  <a:pt x="551" y="153"/>
                  <a:pt x="666" y="268"/>
                  <a:pt x="666" y="410"/>
                </a:cubicBezTo>
                <a:cubicBezTo>
                  <a:pt x="666" y="551"/>
                  <a:pt x="551" y="666"/>
                  <a:pt x="410" y="666"/>
                </a:cubicBezTo>
                <a:cubicBezTo>
                  <a:pt x="268" y="666"/>
                  <a:pt x="153" y="551"/>
                  <a:pt x="153" y="41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6A5D3128-35B2-43D4-BCF3-094CFDCF6B3B}"/>
              </a:ext>
            </a:extLst>
          </p:cNvPr>
          <p:cNvGrpSpPr/>
          <p:nvPr userDrawn="1"/>
        </p:nvGrpSpPr>
        <p:grpSpPr>
          <a:xfrm>
            <a:off x="11169212" y="3702633"/>
            <a:ext cx="229989" cy="225311"/>
            <a:chOff x="2634853" y="3844528"/>
            <a:chExt cx="261938" cy="268319"/>
          </a:xfrm>
          <a:solidFill>
            <a:schemeClr val="bg1">
              <a:alpha val="80000"/>
            </a:schemeClr>
          </a:solidFill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051DFE30-C571-48B0-AFB0-2514604058AC}"/>
                </a:ext>
              </a:extLst>
            </p:cNvPr>
            <p:cNvSpPr/>
            <p:nvPr/>
          </p:nvSpPr>
          <p:spPr>
            <a:xfrm>
              <a:off x="2634853" y="3965972"/>
              <a:ext cx="34366" cy="108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068CF253-1993-405E-BB8B-7C03EF9C4401}"/>
                </a:ext>
              </a:extLst>
            </p:cNvPr>
            <p:cNvSpPr/>
            <p:nvPr/>
          </p:nvSpPr>
          <p:spPr>
            <a:xfrm>
              <a:off x="2691746" y="3894534"/>
              <a:ext cx="34366" cy="18024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A1F6DEA3-64B2-44C9-BCE8-6128477C3E3E}"/>
                </a:ext>
              </a:extLst>
            </p:cNvPr>
            <p:cNvSpPr/>
            <p:nvPr/>
          </p:nvSpPr>
          <p:spPr>
            <a:xfrm>
              <a:off x="2748639" y="3992166"/>
              <a:ext cx="34366" cy="826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38BAC219-D468-4E8F-B216-6ABE6C2DF6D8}"/>
                </a:ext>
              </a:extLst>
            </p:cNvPr>
            <p:cNvSpPr/>
            <p:nvPr/>
          </p:nvSpPr>
          <p:spPr>
            <a:xfrm>
              <a:off x="2805532" y="3942160"/>
              <a:ext cx="34366" cy="13261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D43847FC-5559-43D1-8E36-DE9CD9FDB278}"/>
                </a:ext>
              </a:extLst>
            </p:cNvPr>
            <p:cNvSpPr/>
            <p:nvPr/>
          </p:nvSpPr>
          <p:spPr>
            <a:xfrm>
              <a:off x="2862425" y="3844528"/>
              <a:ext cx="34366" cy="2302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9609645A-AFAE-4F7D-BB20-4B08D4E7DEED}"/>
                </a:ext>
              </a:extLst>
            </p:cNvPr>
            <p:cNvSpPr/>
            <p:nvPr/>
          </p:nvSpPr>
          <p:spPr>
            <a:xfrm>
              <a:off x="2634853" y="4094559"/>
              <a:ext cx="261938" cy="1828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C389DD10-98C1-4EF0-BF7F-1A2B944737E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43494" y="4609169"/>
            <a:ext cx="247314" cy="241130"/>
            <a:chOff x="2578100" y="0"/>
            <a:chExt cx="11628438" cy="11334750"/>
          </a:xfrm>
          <a:solidFill>
            <a:schemeClr val="bg1">
              <a:alpha val="80000"/>
            </a:schemeClr>
          </a:solidFill>
        </p:grpSpPr>
        <p:sp>
          <p:nvSpPr>
            <p:cNvPr id="55" name="Freeform 15">
              <a:extLst>
                <a:ext uri="{FF2B5EF4-FFF2-40B4-BE49-F238E27FC236}">
                  <a16:creationId xmlns:a16="http://schemas.microsoft.com/office/drawing/2014/main" id="{D1016259-178B-468C-AD8D-0A7E7A1BED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2263" y="0"/>
              <a:ext cx="4994275" cy="5073650"/>
            </a:xfrm>
            <a:custGeom>
              <a:avLst/>
              <a:gdLst>
                <a:gd name="T0" fmla="*/ 211 w 442"/>
                <a:gd name="T1" fmla="*/ 137 h 449"/>
                <a:gd name="T2" fmla="*/ 308 w 442"/>
                <a:gd name="T3" fmla="*/ 215 h 449"/>
                <a:gd name="T4" fmla="*/ 231 w 442"/>
                <a:gd name="T5" fmla="*/ 312 h 449"/>
                <a:gd name="T6" fmla="*/ 133 w 442"/>
                <a:gd name="T7" fmla="*/ 235 h 449"/>
                <a:gd name="T8" fmla="*/ 211 w 442"/>
                <a:gd name="T9" fmla="*/ 137 h 449"/>
                <a:gd name="T10" fmla="*/ 65 w 442"/>
                <a:gd name="T11" fmla="*/ 283 h 449"/>
                <a:gd name="T12" fmla="*/ 16 w 442"/>
                <a:gd name="T13" fmla="*/ 320 h 449"/>
                <a:gd name="T14" fmla="*/ 71 w 442"/>
                <a:gd name="T15" fmla="*/ 394 h 449"/>
                <a:gd name="T16" fmla="*/ 121 w 442"/>
                <a:gd name="T17" fmla="*/ 357 h 449"/>
                <a:gd name="T18" fmla="*/ 194 w 442"/>
                <a:gd name="T19" fmla="*/ 389 h 449"/>
                <a:gd name="T20" fmla="*/ 201 w 442"/>
                <a:gd name="T21" fmla="*/ 449 h 449"/>
                <a:gd name="T22" fmla="*/ 292 w 442"/>
                <a:gd name="T23" fmla="*/ 439 h 449"/>
                <a:gd name="T24" fmla="*/ 285 w 442"/>
                <a:gd name="T25" fmla="*/ 378 h 449"/>
                <a:gd name="T26" fmla="*/ 349 w 442"/>
                <a:gd name="T27" fmla="*/ 330 h 449"/>
                <a:gd name="T28" fmla="*/ 405 w 442"/>
                <a:gd name="T29" fmla="*/ 354 h 449"/>
                <a:gd name="T30" fmla="*/ 442 w 442"/>
                <a:gd name="T31" fmla="*/ 270 h 449"/>
                <a:gd name="T32" fmla="*/ 385 w 442"/>
                <a:gd name="T33" fmla="*/ 246 h 449"/>
                <a:gd name="T34" fmla="*/ 376 w 442"/>
                <a:gd name="T35" fmla="*/ 166 h 449"/>
                <a:gd name="T36" fmla="*/ 425 w 442"/>
                <a:gd name="T37" fmla="*/ 130 h 449"/>
                <a:gd name="T38" fmla="*/ 370 w 442"/>
                <a:gd name="T39" fmla="*/ 56 h 449"/>
                <a:gd name="T40" fmla="*/ 321 w 442"/>
                <a:gd name="T41" fmla="*/ 93 h 449"/>
                <a:gd name="T42" fmla="*/ 248 w 442"/>
                <a:gd name="T43" fmla="*/ 61 h 449"/>
                <a:gd name="T44" fmla="*/ 241 w 442"/>
                <a:gd name="T45" fmla="*/ 0 h 449"/>
                <a:gd name="T46" fmla="*/ 149 w 442"/>
                <a:gd name="T47" fmla="*/ 11 h 449"/>
                <a:gd name="T48" fmla="*/ 156 w 442"/>
                <a:gd name="T49" fmla="*/ 72 h 449"/>
                <a:gd name="T50" fmla="*/ 93 w 442"/>
                <a:gd name="T51" fmla="*/ 119 h 449"/>
                <a:gd name="T52" fmla="*/ 36 w 442"/>
                <a:gd name="T53" fmla="*/ 95 h 449"/>
                <a:gd name="T54" fmla="*/ 0 w 442"/>
                <a:gd name="T55" fmla="*/ 180 h 449"/>
                <a:gd name="T56" fmla="*/ 56 w 442"/>
                <a:gd name="T57" fmla="*/ 204 h 449"/>
                <a:gd name="T58" fmla="*/ 65 w 442"/>
                <a:gd name="T59" fmla="*/ 283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2" h="449">
                  <a:moveTo>
                    <a:pt x="211" y="137"/>
                  </a:moveTo>
                  <a:cubicBezTo>
                    <a:pt x="259" y="132"/>
                    <a:pt x="303" y="166"/>
                    <a:pt x="308" y="215"/>
                  </a:cubicBezTo>
                  <a:cubicBezTo>
                    <a:pt x="314" y="263"/>
                    <a:pt x="279" y="307"/>
                    <a:pt x="231" y="312"/>
                  </a:cubicBezTo>
                  <a:cubicBezTo>
                    <a:pt x="183" y="318"/>
                    <a:pt x="139" y="283"/>
                    <a:pt x="133" y="235"/>
                  </a:cubicBezTo>
                  <a:cubicBezTo>
                    <a:pt x="128" y="187"/>
                    <a:pt x="162" y="143"/>
                    <a:pt x="211" y="137"/>
                  </a:cubicBezTo>
                  <a:close/>
                  <a:moveTo>
                    <a:pt x="65" y="283"/>
                  </a:moveTo>
                  <a:cubicBezTo>
                    <a:pt x="16" y="320"/>
                    <a:pt x="16" y="320"/>
                    <a:pt x="16" y="320"/>
                  </a:cubicBezTo>
                  <a:cubicBezTo>
                    <a:pt x="71" y="394"/>
                    <a:pt x="71" y="394"/>
                    <a:pt x="71" y="394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94" y="389"/>
                    <a:pt x="194" y="389"/>
                    <a:pt x="194" y="389"/>
                  </a:cubicBezTo>
                  <a:cubicBezTo>
                    <a:pt x="201" y="449"/>
                    <a:pt x="201" y="449"/>
                    <a:pt x="201" y="449"/>
                  </a:cubicBezTo>
                  <a:cubicBezTo>
                    <a:pt x="292" y="439"/>
                    <a:pt x="292" y="439"/>
                    <a:pt x="292" y="439"/>
                  </a:cubicBezTo>
                  <a:cubicBezTo>
                    <a:pt x="285" y="378"/>
                    <a:pt x="285" y="378"/>
                    <a:pt x="285" y="378"/>
                  </a:cubicBezTo>
                  <a:cubicBezTo>
                    <a:pt x="349" y="330"/>
                    <a:pt x="349" y="330"/>
                    <a:pt x="349" y="330"/>
                  </a:cubicBezTo>
                  <a:cubicBezTo>
                    <a:pt x="405" y="354"/>
                    <a:pt x="405" y="354"/>
                    <a:pt x="405" y="354"/>
                  </a:cubicBezTo>
                  <a:cubicBezTo>
                    <a:pt x="442" y="270"/>
                    <a:pt x="442" y="270"/>
                    <a:pt x="442" y="270"/>
                  </a:cubicBezTo>
                  <a:cubicBezTo>
                    <a:pt x="385" y="246"/>
                    <a:pt x="385" y="246"/>
                    <a:pt x="385" y="246"/>
                  </a:cubicBezTo>
                  <a:cubicBezTo>
                    <a:pt x="376" y="166"/>
                    <a:pt x="376" y="166"/>
                    <a:pt x="376" y="166"/>
                  </a:cubicBezTo>
                  <a:cubicBezTo>
                    <a:pt x="425" y="130"/>
                    <a:pt x="425" y="130"/>
                    <a:pt x="425" y="130"/>
                  </a:cubicBezTo>
                  <a:cubicBezTo>
                    <a:pt x="370" y="56"/>
                    <a:pt x="370" y="56"/>
                    <a:pt x="370" y="56"/>
                  </a:cubicBezTo>
                  <a:cubicBezTo>
                    <a:pt x="321" y="93"/>
                    <a:pt x="321" y="93"/>
                    <a:pt x="321" y="93"/>
                  </a:cubicBezTo>
                  <a:cubicBezTo>
                    <a:pt x="248" y="61"/>
                    <a:pt x="248" y="61"/>
                    <a:pt x="248" y="61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56" y="72"/>
                    <a:pt x="156" y="72"/>
                    <a:pt x="156" y="72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36" y="95"/>
                    <a:pt x="36" y="95"/>
                    <a:pt x="36" y="95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56" y="204"/>
                    <a:pt x="56" y="204"/>
                    <a:pt x="56" y="204"/>
                  </a:cubicBezTo>
                  <a:lnTo>
                    <a:pt x="65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6" name="Freeform 16">
              <a:extLst>
                <a:ext uri="{FF2B5EF4-FFF2-40B4-BE49-F238E27FC236}">
                  <a16:creationId xmlns:a16="http://schemas.microsoft.com/office/drawing/2014/main" id="{C424F4EA-2EFF-47B6-8DE3-D99536ACAD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0313" y="6340475"/>
              <a:ext cx="5073650" cy="4994275"/>
            </a:xfrm>
            <a:custGeom>
              <a:avLst/>
              <a:gdLst>
                <a:gd name="T0" fmla="*/ 306 w 449"/>
                <a:gd name="T1" fmla="*/ 256 h 442"/>
                <a:gd name="T2" fmla="*/ 190 w 449"/>
                <a:gd name="T3" fmla="*/ 302 h 442"/>
                <a:gd name="T4" fmla="*/ 144 w 449"/>
                <a:gd name="T5" fmla="*/ 186 h 442"/>
                <a:gd name="T6" fmla="*/ 259 w 449"/>
                <a:gd name="T7" fmla="*/ 140 h 442"/>
                <a:gd name="T8" fmla="*/ 306 w 449"/>
                <a:gd name="T9" fmla="*/ 256 h 442"/>
                <a:gd name="T10" fmla="*/ 449 w 449"/>
                <a:gd name="T11" fmla="*/ 240 h 442"/>
                <a:gd name="T12" fmla="*/ 438 w 449"/>
                <a:gd name="T13" fmla="*/ 149 h 442"/>
                <a:gd name="T14" fmla="*/ 377 w 449"/>
                <a:gd name="T15" fmla="*/ 156 h 442"/>
                <a:gd name="T16" fmla="*/ 330 w 449"/>
                <a:gd name="T17" fmla="*/ 92 h 442"/>
                <a:gd name="T18" fmla="*/ 354 w 449"/>
                <a:gd name="T19" fmla="*/ 36 h 442"/>
                <a:gd name="T20" fmla="*/ 269 w 449"/>
                <a:gd name="T21" fmla="*/ 0 h 442"/>
                <a:gd name="T22" fmla="*/ 245 w 449"/>
                <a:gd name="T23" fmla="*/ 56 h 442"/>
                <a:gd name="T24" fmla="*/ 166 w 449"/>
                <a:gd name="T25" fmla="*/ 66 h 442"/>
                <a:gd name="T26" fmla="*/ 129 w 449"/>
                <a:gd name="T27" fmla="*/ 17 h 442"/>
                <a:gd name="T28" fmla="*/ 55 w 449"/>
                <a:gd name="T29" fmla="*/ 72 h 442"/>
                <a:gd name="T30" fmla="*/ 92 w 449"/>
                <a:gd name="T31" fmla="*/ 121 h 442"/>
                <a:gd name="T32" fmla="*/ 61 w 449"/>
                <a:gd name="T33" fmla="*/ 194 h 442"/>
                <a:gd name="T34" fmla="*/ 0 w 449"/>
                <a:gd name="T35" fmla="*/ 202 h 442"/>
                <a:gd name="T36" fmla="*/ 11 w 449"/>
                <a:gd name="T37" fmla="*/ 293 h 442"/>
                <a:gd name="T38" fmla="*/ 72 w 449"/>
                <a:gd name="T39" fmla="*/ 286 h 442"/>
                <a:gd name="T40" fmla="*/ 120 w 449"/>
                <a:gd name="T41" fmla="*/ 350 h 442"/>
                <a:gd name="T42" fmla="*/ 96 w 449"/>
                <a:gd name="T43" fmla="*/ 406 h 442"/>
                <a:gd name="T44" fmla="*/ 180 w 449"/>
                <a:gd name="T45" fmla="*/ 442 h 442"/>
                <a:gd name="T46" fmla="*/ 205 w 449"/>
                <a:gd name="T47" fmla="*/ 386 h 442"/>
                <a:gd name="T48" fmla="*/ 284 w 449"/>
                <a:gd name="T49" fmla="*/ 376 h 442"/>
                <a:gd name="T50" fmla="*/ 320 w 449"/>
                <a:gd name="T51" fmla="*/ 425 h 442"/>
                <a:gd name="T52" fmla="*/ 394 w 449"/>
                <a:gd name="T53" fmla="*/ 370 h 442"/>
                <a:gd name="T54" fmla="*/ 357 w 449"/>
                <a:gd name="T55" fmla="*/ 321 h 442"/>
                <a:gd name="T56" fmla="*/ 389 w 449"/>
                <a:gd name="T57" fmla="*/ 248 h 442"/>
                <a:gd name="T58" fmla="*/ 449 w 449"/>
                <a:gd name="T59" fmla="*/ 24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9" h="442">
                  <a:moveTo>
                    <a:pt x="306" y="256"/>
                  </a:moveTo>
                  <a:cubicBezTo>
                    <a:pt x="287" y="300"/>
                    <a:pt x="235" y="321"/>
                    <a:pt x="190" y="302"/>
                  </a:cubicBezTo>
                  <a:cubicBezTo>
                    <a:pt x="145" y="283"/>
                    <a:pt x="125" y="231"/>
                    <a:pt x="144" y="186"/>
                  </a:cubicBezTo>
                  <a:cubicBezTo>
                    <a:pt x="163" y="142"/>
                    <a:pt x="215" y="121"/>
                    <a:pt x="259" y="140"/>
                  </a:cubicBezTo>
                  <a:cubicBezTo>
                    <a:pt x="304" y="159"/>
                    <a:pt x="325" y="211"/>
                    <a:pt x="306" y="256"/>
                  </a:cubicBezTo>
                  <a:close/>
                  <a:moveTo>
                    <a:pt x="449" y="240"/>
                  </a:moveTo>
                  <a:cubicBezTo>
                    <a:pt x="438" y="149"/>
                    <a:pt x="438" y="149"/>
                    <a:pt x="438" y="149"/>
                  </a:cubicBezTo>
                  <a:cubicBezTo>
                    <a:pt x="377" y="156"/>
                    <a:pt x="377" y="156"/>
                    <a:pt x="377" y="156"/>
                  </a:cubicBezTo>
                  <a:cubicBezTo>
                    <a:pt x="330" y="92"/>
                    <a:pt x="330" y="92"/>
                    <a:pt x="330" y="92"/>
                  </a:cubicBezTo>
                  <a:cubicBezTo>
                    <a:pt x="354" y="36"/>
                    <a:pt x="354" y="36"/>
                    <a:pt x="354" y="36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245" y="56"/>
                    <a:pt x="245" y="56"/>
                    <a:pt x="245" y="56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92" y="121"/>
                    <a:pt x="92" y="121"/>
                    <a:pt x="92" y="121"/>
                  </a:cubicBezTo>
                  <a:cubicBezTo>
                    <a:pt x="61" y="194"/>
                    <a:pt x="61" y="194"/>
                    <a:pt x="61" y="194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11" y="293"/>
                    <a:pt x="11" y="293"/>
                    <a:pt x="11" y="293"/>
                  </a:cubicBezTo>
                  <a:cubicBezTo>
                    <a:pt x="72" y="286"/>
                    <a:pt x="72" y="286"/>
                    <a:pt x="72" y="286"/>
                  </a:cubicBezTo>
                  <a:cubicBezTo>
                    <a:pt x="120" y="350"/>
                    <a:pt x="120" y="350"/>
                    <a:pt x="120" y="350"/>
                  </a:cubicBezTo>
                  <a:cubicBezTo>
                    <a:pt x="96" y="406"/>
                    <a:pt x="96" y="406"/>
                    <a:pt x="96" y="406"/>
                  </a:cubicBezTo>
                  <a:cubicBezTo>
                    <a:pt x="180" y="442"/>
                    <a:pt x="180" y="442"/>
                    <a:pt x="180" y="442"/>
                  </a:cubicBezTo>
                  <a:cubicBezTo>
                    <a:pt x="205" y="386"/>
                    <a:pt x="205" y="386"/>
                    <a:pt x="205" y="386"/>
                  </a:cubicBezTo>
                  <a:cubicBezTo>
                    <a:pt x="284" y="376"/>
                    <a:pt x="284" y="376"/>
                    <a:pt x="284" y="376"/>
                  </a:cubicBezTo>
                  <a:cubicBezTo>
                    <a:pt x="320" y="425"/>
                    <a:pt x="320" y="425"/>
                    <a:pt x="320" y="425"/>
                  </a:cubicBezTo>
                  <a:cubicBezTo>
                    <a:pt x="394" y="370"/>
                    <a:pt x="394" y="370"/>
                    <a:pt x="394" y="370"/>
                  </a:cubicBezTo>
                  <a:cubicBezTo>
                    <a:pt x="357" y="321"/>
                    <a:pt x="357" y="321"/>
                    <a:pt x="357" y="321"/>
                  </a:cubicBezTo>
                  <a:cubicBezTo>
                    <a:pt x="389" y="248"/>
                    <a:pt x="389" y="248"/>
                    <a:pt x="389" y="248"/>
                  </a:cubicBezTo>
                  <a:lnTo>
                    <a:pt x="449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7" name="Freeform 17">
              <a:extLst>
                <a:ext uri="{FF2B5EF4-FFF2-40B4-BE49-F238E27FC236}">
                  <a16:creationId xmlns:a16="http://schemas.microsoft.com/office/drawing/2014/main" id="{AD53AE3C-DB99-4C7F-AC71-CF557975A6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8100" y="1638300"/>
              <a:ext cx="7627938" cy="7616825"/>
            </a:xfrm>
            <a:custGeom>
              <a:avLst/>
              <a:gdLst>
                <a:gd name="T0" fmla="*/ 337 w 675"/>
                <a:gd name="T1" fmla="*/ 485 h 674"/>
                <a:gd name="T2" fmla="*/ 189 w 675"/>
                <a:gd name="T3" fmla="*/ 337 h 674"/>
                <a:gd name="T4" fmla="*/ 337 w 675"/>
                <a:gd name="T5" fmla="*/ 189 h 674"/>
                <a:gd name="T6" fmla="*/ 486 w 675"/>
                <a:gd name="T7" fmla="*/ 337 h 674"/>
                <a:gd name="T8" fmla="*/ 337 w 675"/>
                <a:gd name="T9" fmla="*/ 485 h 674"/>
                <a:gd name="T10" fmla="*/ 571 w 675"/>
                <a:gd name="T11" fmla="*/ 479 h 674"/>
                <a:gd name="T12" fmla="*/ 602 w 675"/>
                <a:gd name="T13" fmla="*/ 401 h 674"/>
                <a:gd name="T14" fmla="*/ 675 w 675"/>
                <a:gd name="T15" fmla="*/ 395 h 674"/>
                <a:gd name="T16" fmla="*/ 675 w 675"/>
                <a:gd name="T17" fmla="*/ 279 h 674"/>
                <a:gd name="T18" fmla="*/ 602 w 675"/>
                <a:gd name="T19" fmla="*/ 272 h 674"/>
                <a:gd name="T20" fmla="*/ 571 w 675"/>
                <a:gd name="T21" fmla="*/ 195 h 674"/>
                <a:gd name="T22" fmla="*/ 617 w 675"/>
                <a:gd name="T23" fmla="*/ 139 h 674"/>
                <a:gd name="T24" fmla="*/ 535 w 675"/>
                <a:gd name="T25" fmla="*/ 57 h 674"/>
                <a:gd name="T26" fmla="*/ 479 w 675"/>
                <a:gd name="T27" fmla="*/ 104 h 674"/>
                <a:gd name="T28" fmla="*/ 402 w 675"/>
                <a:gd name="T29" fmla="*/ 72 h 674"/>
                <a:gd name="T30" fmla="*/ 395 w 675"/>
                <a:gd name="T31" fmla="*/ 0 h 674"/>
                <a:gd name="T32" fmla="*/ 279 w 675"/>
                <a:gd name="T33" fmla="*/ 0 h 674"/>
                <a:gd name="T34" fmla="*/ 273 w 675"/>
                <a:gd name="T35" fmla="*/ 72 h 674"/>
                <a:gd name="T36" fmla="*/ 195 w 675"/>
                <a:gd name="T37" fmla="*/ 103 h 674"/>
                <a:gd name="T38" fmla="*/ 140 w 675"/>
                <a:gd name="T39" fmla="*/ 57 h 674"/>
                <a:gd name="T40" fmla="*/ 58 w 675"/>
                <a:gd name="T41" fmla="*/ 139 h 674"/>
                <a:gd name="T42" fmla="*/ 104 w 675"/>
                <a:gd name="T43" fmla="*/ 195 h 674"/>
                <a:gd name="T44" fmla="*/ 72 w 675"/>
                <a:gd name="T45" fmla="*/ 272 h 674"/>
                <a:gd name="T46" fmla="*/ 0 w 675"/>
                <a:gd name="T47" fmla="*/ 279 h 674"/>
                <a:gd name="T48" fmla="*/ 0 w 675"/>
                <a:gd name="T49" fmla="*/ 395 h 674"/>
                <a:gd name="T50" fmla="*/ 72 w 675"/>
                <a:gd name="T51" fmla="*/ 401 h 674"/>
                <a:gd name="T52" fmla="*/ 104 w 675"/>
                <a:gd name="T53" fmla="*/ 479 h 674"/>
                <a:gd name="T54" fmla="*/ 58 w 675"/>
                <a:gd name="T55" fmla="*/ 534 h 674"/>
                <a:gd name="T56" fmla="*/ 140 w 675"/>
                <a:gd name="T57" fmla="*/ 616 h 674"/>
                <a:gd name="T58" fmla="*/ 195 w 675"/>
                <a:gd name="T59" fmla="*/ 570 h 674"/>
                <a:gd name="T60" fmla="*/ 273 w 675"/>
                <a:gd name="T61" fmla="*/ 602 h 674"/>
                <a:gd name="T62" fmla="*/ 279 w 675"/>
                <a:gd name="T63" fmla="*/ 674 h 674"/>
                <a:gd name="T64" fmla="*/ 395 w 675"/>
                <a:gd name="T65" fmla="*/ 674 h 674"/>
                <a:gd name="T66" fmla="*/ 402 w 675"/>
                <a:gd name="T67" fmla="*/ 602 h 674"/>
                <a:gd name="T68" fmla="*/ 479 w 675"/>
                <a:gd name="T69" fmla="*/ 570 h 674"/>
                <a:gd name="T70" fmla="*/ 535 w 675"/>
                <a:gd name="T71" fmla="*/ 616 h 674"/>
                <a:gd name="T72" fmla="*/ 617 w 675"/>
                <a:gd name="T73" fmla="*/ 534 h 674"/>
                <a:gd name="T74" fmla="*/ 571 w 675"/>
                <a:gd name="T75" fmla="*/ 479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5" h="674">
                  <a:moveTo>
                    <a:pt x="337" y="485"/>
                  </a:moveTo>
                  <a:cubicBezTo>
                    <a:pt x="255" y="485"/>
                    <a:pt x="189" y="419"/>
                    <a:pt x="189" y="337"/>
                  </a:cubicBezTo>
                  <a:cubicBezTo>
                    <a:pt x="189" y="255"/>
                    <a:pt x="255" y="189"/>
                    <a:pt x="337" y="189"/>
                  </a:cubicBezTo>
                  <a:cubicBezTo>
                    <a:pt x="419" y="189"/>
                    <a:pt x="486" y="255"/>
                    <a:pt x="486" y="337"/>
                  </a:cubicBezTo>
                  <a:cubicBezTo>
                    <a:pt x="486" y="419"/>
                    <a:pt x="419" y="485"/>
                    <a:pt x="337" y="485"/>
                  </a:cubicBezTo>
                  <a:close/>
                  <a:moveTo>
                    <a:pt x="571" y="479"/>
                  </a:moveTo>
                  <a:cubicBezTo>
                    <a:pt x="602" y="401"/>
                    <a:pt x="602" y="401"/>
                    <a:pt x="602" y="401"/>
                  </a:cubicBezTo>
                  <a:cubicBezTo>
                    <a:pt x="675" y="395"/>
                    <a:pt x="675" y="395"/>
                    <a:pt x="675" y="395"/>
                  </a:cubicBezTo>
                  <a:cubicBezTo>
                    <a:pt x="675" y="279"/>
                    <a:pt x="675" y="279"/>
                    <a:pt x="675" y="279"/>
                  </a:cubicBezTo>
                  <a:cubicBezTo>
                    <a:pt x="602" y="272"/>
                    <a:pt x="602" y="272"/>
                    <a:pt x="602" y="272"/>
                  </a:cubicBezTo>
                  <a:cubicBezTo>
                    <a:pt x="571" y="195"/>
                    <a:pt x="571" y="195"/>
                    <a:pt x="571" y="195"/>
                  </a:cubicBezTo>
                  <a:cubicBezTo>
                    <a:pt x="617" y="139"/>
                    <a:pt x="617" y="139"/>
                    <a:pt x="617" y="139"/>
                  </a:cubicBezTo>
                  <a:cubicBezTo>
                    <a:pt x="535" y="57"/>
                    <a:pt x="535" y="57"/>
                    <a:pt x="535" y="57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02" y="72"/>
                    <a:pt x="402" y="72"/>
                    <a:pt x="402" y="72"/>
                  </a:cubicBezTo>
                  <a:cubicBezTo>
                    <a:pt x="395" y="0"/>
                    <a:pt x="395" y="0"/>
                    <a:pt x="395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3" y="72"/>
                    <a:pt x="273" y="72"/>
                    <a:pt x="273" y="72"/>
                  </a:cubicBezTo>
                  <a:cubicBezTo>
                    <a:pt x="195" y="103"/>
                    <a:pt x="195" y="103"/>
                    <a:pt x="195" y="103"/>
                  </a:cubicBezTo>
                  <a:cubicBezTo>
                    <a:pt x="140" y="57"/>
                    <a:pt x="140" y="57"/>
                    <a:pt x="140" y="57"/>
                  </a:cubicBezTo>
                  <a:cubicBezTo>
                    <a:pt x="58" y="139"/>
                    <a:pt x="58" y="139"/>
                    <a:pt x="58" y="139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72" y="272"/>
                    <a:pt x="72" y="272"/>
                    <a:pt x="72" y="272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0" y="395"/>
                    <a:pt x="0" y="395"/>
                    <a:pt x="0" y="395"/>
                  </a:cubicBezTo>
                  <a:cubicBezTo>
                    <a:pt x="72" y="401"/>
                    <a:pt x="72" y="401"/>
                    <a:pt x="72" y="401"/>
                  </a:cubicBezTo>
                  <a:cubicBezTo>
                    <a:pt x="104" y="479"/>
                    <a:pt x="104" y="479"/>
                    <a:pt x="104" y="479"/>
                  </a:cubicBezTo>
                  <a:cubicBezTo>
                    <a:pt x="58" y="534"/>
                    <a:pt x="58" y="534"/>
                    <a:pt x="58" y="534"/>
                  </a:cubicBezTo>
                  <a:cubicBezTo>
                    <a:pt x="140" y="616"/>
                    <a:pt x="140" y="616"/>
                    <a:pt x="140" y="616"/>
                  </a:cubicBezTo>
                  <a:cubicBezTo>
                    <a:pt x="195" y="570"/>
                    <a:pt x="195" y="570"/>
                    <a:pt x="195" y="570"/>
                  </a:cubicBezTo>
                  <a:cubicBezTo>
                    <a:pt x="273" y="602"/>
                    <a:pt x="273" y="602"/>
                    <a:pt x="273" y="602"/>
                  </a:cubicBezTo>
                  <a:cubicBezTo>
                    <a:pt x="279" y="674"/>
                    <a:pt x="279" y="674"/>
                    <a:pt x="279" y="674"/>
                  </a:cubicBezTo>
                  <a:cubicBezTo>
                    <a:pt x="395" y="674"/>
                    <a:pt x="395" y="674"/>
                    <a:pt x="395" y="674"/>
                  </a:cubicBezTo>
                  <a:cubicBezTo>
                    <a:pt x="402" y="602"/>
                    <a:pt x="402" y="602"/>
                    <a:pt x="402" y="602"/>
                  </a:cubicBezTo>
                  <a:cubicBezTo>
                    <a:pt x="479" y="570"/>
                    <a:pt x="479" y="570"/>
                    <a:pt x="479" y="570"/>
                  </a:cubicBezTo>
                  <a:cubicBezTo>
                    <a:pt x="535" y="616"/>
                    <a:pt x="535" y="616"/>
                    <a:pt x="535" y="616"/>
                  </a:cubicBezTo>
                  <a:cubicBezTo>
                    <a:pt x="617" y="534"/>
                    <a:pt x="617" y="534"/>
                    <a:pt x="617" y="534"/>
                  </a:cubicBezTo>
                  <a:lnTo>
                    <a:pt x="571" y="4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97B430DC-E8DC-4EE1-B83B-83940D72F26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870359" y="2786642"/>
            <a:ext cx="219317" cy="283896"/>
            <a:chOff x="10758416" y="1419641"/>
            <a:chExt cx="3297184" cy="4266944"/>
          </a:xfrm>
          <a:solidFill>
            <a:schemeClr val="bg1">
              <a:alpha val="80000"/>
            </a:schemeClr>
          </a:solidFill>
        </p:grpSpPr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2EE471DF-BFB0-4727-A9CA-740173FA8CDC}"/>
                </a:ext>
              </a:extLst>
            </p:cNvPr>
            <p:cNvSpPr/>
            <p:nvPr/>
          </p:nvSpPr>
          <p:spPr>
            <a:xfrm>
              <a:off x="10758416" y="1419641"/>
              <a:ext cx="3297184" cy="4266944"/>
            </a:xfrm>
            <a:custGeom>
              <a:avLst/>
              <a:gdLst>
                <a:gd name="connsiteX0" fmla="*/ 2763817 w 3297184"/>
                <a:gd name="connsiteY0" fmla="*/ 1939520 h 4266944"/>
                <a:gd name="connsiteX1" fmla="*/ 2424401 w 3297184"/>
                <a:gd name="connsiteY1" fmla="*/ 1600104 h 4266944"/>
                <a:gd name="connsiteX2" fmla="*/ 2763817 w 3297184"/>
                <a:gd name="connsiteY2" fmla="*/ 1260688 h 4266944"/>
                <a:gd name="connsiteX3" fmla="*/ 3103233 w 3297184"/>
                <a:gd name="connsiteY3" fmla="*/ 1600104 h 4266944"/>
                <a:gd name="connsiteX4" fmla="*/ 2763817 w 3297184"/>
                <a:gd name="connsiteY4" fmla="*/ 1939520 h 4266944"/>
                <a:gd name="connsiteX5" fmla="*/ 3297185 w 3297184"/>
                <a:gd name="connsiteY5" fmla="*/ 1600104 h 4266944"/>
                <a:gd name="connsiteX6" fmla="*/ 2763817 w 3297184"/>
                <a:gd name="connsiteY6" fmla="*/ 1066736 h 4266944"/>
                <a:gd name="connsiteX7" fmla="*/ 2230449 w 3297184"/>
                <a:gd name="connsiteY7" fmla="*/ 1600104 h 4266944"/>
                <a:gd name="connsiteX8" fmla="*/ 2618353 w 3297184"/>
                <a:gd name="connsiteY8" fmla="*/ 2114077 h 4266944"/>
                <a:gd name="connsiteX9" fmla="*/ 2618353 w 3297184"/>
                <a:gd name="connsiteY9" fmla="*/ 3248697 h 4266944"/>
                <a:gd name="connsiteX10" fmla="*/ 1891032 w 3297184"/>
                <a:gd name="connsiteY10" fmla="*/ 3976017 h 4266944"/>
                <a:gd name="connsiteX11" fmla="*/ 1163712 w 3297184"/>
                <a:gd name="connsiteY11" fmla="*/ 3248697 h 4266944"/>
                <a:gd name="connsiteX12" fmla="*/ 1163712 w 3297184"/>
                <a:gd name="connsiteY12" fmla="*/ 2754119 h 4266944"/>
                <a:gd name="connsiteX13" fmla="*/ 2036496 w 3297184"/>
                <a:gd name="connsiteY13" fmla="*/ 1745568 h 4266944"/>
                <a:gd name="connsiteX14" fmla="*/ 1939520 w 3297184"/>
                <a:gd name="connsiteY14" fmla="*/ 1580709 h 4266944"/>
                <a:gd name="connsiteX15" fmla="*/ 1939520 w 3297184"/>
                <a:gd name="connsiteY15" fmla="*/ 387904 h 4266944"/>
                <a:gd name="connsiteX16" fmla="*/ 1687383 w 3297184"/>
                <a:gd name="connsiteY16" fmla="*/ 101825 h 4266944"/>
                <a:gd name="connsiteX17" fmla="*/ 1551616 w 3297184"/>
                <a:gd name="connsiteY17" fmla="*/ 0 h 4266944"/>
                <a:gd name="connsiteX18" fmla="*/ 1503128 w 3297184"/>
                <a:gd name="connsiteY18" fmla="*/ 0 h 4266944"/>
                <a:gd name="connsiteX19" fmla="*/ 1309176 w 3297184"/>
                <a:gd name="connsiteY19" fmla="*/ 193952 h 4266944"/>
                <a:gd name="connsiteX20" fmla="*/ 1503128 w 3297184"/>
                <a:gd name="connsiteY20" fmla="*/ 387904 h 4266944"/>
                <a:gd name="connsiteX21" fmla="*/ 1551616 w 3297184"/>
                <a:gd name="connsiteY21" fmla="*/ 387904 h 4266944"/>
                <a:gd name="connsiteX22" fmla="*/ 1687383 w 3297184"/>
                <a:gd name="connsiteY22" fmla="*/ 300626 h 4266944"/>
                <a:gd name="connsiteX23" fmla="*/ 1745568 w 3297184"/>
                <a:gd name="connsiteY23" fmla="*/ 387904 h 4266944"/>
                <a:gd name="connsiteX24" fmla="*/ 1745568 w 3297184"/>
                <a:gd name="connsiteY24" fmla="*/ 1580709 h 4266944"/>
                <a:gd name="connsiteX25" fmla="*/ 1648592 w 3297184"/>
                <a:gd name="connsiteY25" fmla="*/ 1745568 h 4266944"/>
                <a:gd name="connsiteX26" fmla="*/ 1018248 w 3297184"/>
                <a:gd name="connsiteY26" fmla="*/ 2375913 h 4266944"/>
                <a:gd name="connsiteX27" fmla="*/ 387904 w 3297184"/>
                <a:gd name="connsiteY27" fmla="*/ 1745568 h 4266944"/>
                <a:gd name="connsiteX28" fmla="*/ 290928 w 3297184"/>
                <a:gd name="connsiteY28" fmla="*/ 1580709 h 4266944"/>
                <a:gd name="connsiteX29" fmla="*/ 290928 w 3297184"/>
                <a:gd name="connsiteY29" fmla="*/ 387904 h 4266944"/>
                <a:gd name="connsiteX30" fmla="*/ 349114 w 3297184"/>
                <a:gd name="connsiteY30" fmla="*/ 300626 h 4266944"/>
                <a:gd name="connsiteX31" fmla="*/ 484880 w 3297184"/>
                <a:gd name="connsiteY31" fmla="*/ 387904 h 4266944"/>
                <a:gd name="connsiteX32" fmla="*/ 533368 w 3297184"/>
                <a:gd name="connsiteY32" fmla="*/ 387904 h 4266944"/>
                <a:gd name="connsiteX33" fmla="*/ 727320 w 3297184"/>
                <a:gd name="connsiteY33" fmla="*/ 193952 h 4266944"/>
                <a:gd name="connsiteX34" fmla="*/ 533368 w 3297184"/>
                <a:gd name="connsiteY34" fmla="*/ 0 h 4266944"/>
                <a:gd name="connsiteX35" fmla="*/ 484880 w 3297184"/>
                <a:gd name="connsiteY35" fmla="*/ 0 h 4266944"/>
                <a:gd name="connsiteX36" fmla="*/ 349114 w 3297184"/>
                <a:gd name="connsiteY36" fmla="*/ 101825 h 4266944"/>
                <a:gd name="connsiteX37" fmla="*/ 96976 w 3297184"/>
                <a:gd name="connsiteY37" fmla="*/ 387904 h 4266944"/>
                <a:gd name="connsiteX38" fmla="*/ 96976 w 3297184"/>
                <a:gd name="connsiteY38" fmla="*/ 1580709 h 4266944"/>
                <a:gd name="connsiteX39" fmla="*/ 0 w 3297184"/>
                <a:gd name="connsiteY39" fmla="*/ 1745568 h 4266944"/>
                <a:gd name="connsiteX40" fmla="*/ 872784 w 3297184"/>
                <a:gd name="connsiteY40" fmla="*/ 2754119 h 4266944"/>
                <a:gd name="connsiteX41" fmla="*/ 872784 w 3297184"/>
                <a:gd name="connsiteY41" fmla="*/ 3248697 h 4266944"/>
                <a:gd name="connsiteX42" fmla="*/ 1891032 w 3297184"/>
                <a:gd name="connsiteY42" fmla="*/ 4266945 h 4266944"/>
                <a:gd name="connsiteX43" fmla="*/ 2909281 w 3297184"/>
                <a:gd name="connsiteY43" fmla="*/ 3248697 h 4266944"/>
                <a:gd name="connsiteX44" fmla="*/ 2909281 w 3297184"/>
                <a:gd name="connsiteY44" fmla="*/ 2114077 h 4266944"/>
                <a:gd name="connsiteX45" fmla="*/ 3297185 w 3297184"/>
                <a:gd name="connsiteY45" fmla="*/ 1600104 h 4266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3297184" h="4266944">
                  <a:moveTo>
                    <a:pt x="2763817" y="1939520"/>
                  </a:moveTo>
                  <a:cubicBezTo>
                    <a:pt x="2574713" y="1939520"/>
                    <a:pt x="2424401" y="1789208"/>
                    <a:pt x="2424401" y="1600104"/>
                  </a:cubicBezTo>
                  <a:cubicBezTo>
                    <a:pt x="2424401" y="1411001"/>
                    <a:pt x="2574713" y="1260688"/>
                    <a:pt x="2763817" y="1260688"/>
                  </a:cubicBezTo>
                  <a:cubicBezTo>
                    <a:pt x="2952920" y="1260688"/>
                    <a:pt x="3103233" y="1411001"/>
                    <a:pt x="3103233" y="1600104"/>
                  </a:cubicBezTo>
                  <a:cubicBezTo>
                    <a:pt x="3103233" y="1789208"/>
                    <a:pt x="2952920" y="1939520"/>
                    <a:pt x="2763817" y="1939520"/>
                  </a:cubicBezTo>
                  <a:close/>
                  <a:moveTo>
                    <a:pt x="3297185" y="1600104"/>
                  </a:moveTo>
                  <a:cubicBezTo>
                    <a:pt x="3297185" y="1304328"/>
                    <a:pt x="3059594" y="1066736"/>
                    <a:pt x="2763817" y="1066736"/>
                  </a:cubicBezTo>
                  <a:cubicBezTo>
                    <a:pt x="2468040" y="1066736"/>
                    <a:pt x="2230449" y="1304328"/>
                    <a:pt x="2230449" y="1600104"/>
                  </a:cubicBezTo>
                  <a:cubicBezTo>
                    <a:pt x="2230449" y="1842544"/>
                    <a:pt x="2395308" y="2051043"/>
                    <a:pt x="2618353" y="2114077"/>
                  </a:cubicBezTo>
                  <a:lnTo>
                    <a:pt x="2618353" y="3248697"/>
                  </a:lnTo>
                  <a:cubicBezTo>
                    <a:pt x="2618353" y="3651147"/>
                    <a:pt x="2293483" y="3976017"/>
                    <a:pt x="1891032" y="3976017"/>
                  </a:cubicBezTo>
                  <a:cubicBezTo>
                    <a:pt x="1488582" y="3976017"/>
                    <a:pt x="1163712" y="3651147"/>
                    <a:pt x="1163712" y="3248697"/>
                  </a:cubicBezTo>
                  <a:lnTo>
                    <a:pt x="1163712" y="2754119"/>
                  </a:lnTo>
                  <a:cubicBezTo>
                    <a:pt x="1658290" y="2681387"/>
                    <a:pt x="2036496" y="2259541"/>
                    <a:pt x="2036496" y="1745568"/>
                  </a:cubicBezTo>
                  <a:cubicBezTo>
                    <a:pt x="2036496" y="1672836"/>
                    <a:pt x="1997706" y="1609802"/>
                    <a:pt x="1939520" y="1580709"/>
                  </a:cubicBezTo>
                  <a:lnTo>
                    <a:pt x="1939520" y="387904"/>
                  </a:lnTo>
                  <a:cubicBezTo>
                    <a:pt x="1939520" y="242440"/>
                    <a:pt x="1827998" y="121220"/>
                    <a:pt x="1687383" y="101825"/>
                  </a:cubicBezTo>
                  <a:cubicBezTo>
                    <a:pt x="1667988" y="43639"/>
                    <a:pt x="1614651" y="0"/>
                    <a:pt x="1551616" y="0"/>
                  </a:cubicBezTo>
                  <a:lnTo>
                    <a:pt x="1503128" y="0"/>
                  </a:lnTo>
                  <a:cubicBezTo>
                    <a:pt x="1396455" y="0"/>
                    <a:pt x="1309176" y="87278"/>
                    <a:pt x="1309176" y="193952"/>
                  </a:cubicBezTo>
                  <a:cubicBezTo>
                    <a:pt x="1309176" y="300626"/>
                    <a:pt x="1396455" y="387904"/>
                    <a:pt x="1503128" y="387904"/>
                  </a:cubicBezTo>
                  <a:lnTo>
                    <a:pt x="1551616" y="387904"/>
                  </a:lnTo>
                  <a:cubicBezTo>
                    <a:pt x="1609802" y="387904"/>
                    <a:pt x="1663139" y="349114"/>
                    <a:pt x="1687383" y="300626"/>
                  </a:cubicBezTo>
                  <a:cubicBezTo>
                    <a:pt x="1721324" y="315172"/>
                    <a:pt x="1745568" y="349114"/>
                    <a:pt x="1745568" y="387904"/>
                  </a:cubicBezTo>
                  <a:lnTo>
                    <a:pt x="1745568" y="1580709"/>
                  </a:lnTo>
                  <a:cubicBezTo>
                    <a:pt x="1687383" y="1614651"/>
                    <a:pt x="1648592" y="1677685"/>
                    <a:pt x="1648592" y="1745568"/>
                  </a:cubicBezTo>
                  <a:cubicBezTo>
                    <a:pt x="1648592" y="2094682"/>
                    <a:pt x="1367362" y="2375913"/>
                    <a:pt x="1018248" y="2375913"/>
                  </a:cubicBezTo>
                  <a:cubicBezTo>
                    <a:pt x="669135" y="2375913"/>
                    <a:pt x="387904" y="2094682"/>
                    <a:pt x="387904" y="1745568"/>
                  </a:cubicBezTo>
                  <a:cubicBezTo>
                    <a:pt x="387904" y="1672836"/>
                    <a:pt x="349114" y="1609802"/>
                    <a:pt x="290928" y="1580709"/>
                  </a:cubicBezTo>
                  <a:lnTo>
                    <a:pt x="290928" y="387904"/>
                  </a:lnTo>
                  <a:cubicBezTo>
                    <a:pt x="290928" y="349114"/>
                    <a:pt x="315172" y="315172"/>
                    <a:pt x="349114" y="300626"/>
                  </a:cubicBezTo>
                  <a:cubicBezTo>
                    <a:pt x="373358" y="353963"/>
                    <a:pt x="421846" y="387904"/>
                    <a:pt x="484880" y="387904"/>
                  </a:cubicBezTo>
                  <a:lnTo>
                    <a:pt x="533368" y="387904"/>
                  </a:lnTo>
                  <a:cubicBezTo>
                    <a:pt x="640042" y="387904"/>
                    <a:pt x="727320" y="300626"/>
                    <a:pt x="727320" y="193952"/>
                  </a:cubicBezTo>
                  <a:cubicBezTo>
                    <a:pt x="727320" y="87278"/>
                    <a:pt x="640042" y="0"/>
                    <a:pt x="533368" y="0"/>
                  </a:cubicBezTo>
                  <a:lnTo>
                    <a:pt x="484880" y="0"/>
                  </a:lnTo>
                  <a:cubicBezTo>
                    <a:pt x="421846" y="0"/>
                    <a:pt x="368509" y="43639"/>
                    <a:pt x="349114" y="101825"/>
                  </a:cubicBezTo>
                  <a:cubicBezTo>
                    <a:pt x="208498" y="121220"/>
                    <a:pt x="96976" y="242440"/>
                    <a:pt x="96976" y="387904"/>
                  </a:cubicBezTo>
                  <a:lnTo>
                    <a:pt x="96976" y="1580709"/>
                  </a:lnTo>
                  <a:cubicBezTo>
                    <a:pt x="38790" y="1614651"/>
                    <a:pt x="0" y="1677685"/>
                    <a:pt x="0" y="1745568"/>
                  </a:cubicBezTo>
                  <a:cubicBezTo>
                    <a:pt x="0" y="2259541"/>
                    <a:pt x="378206" y="2681387"/>
                    <a:pt x="872784" y="2754119"/>
                  </a:cubicBezTo>
                  <a:lnTo>
                    <a:pt x="872784" y="3248697"/>
                  </a:lnTo>
                  <a:cubicBezTo>
                    <a:pt x="872784" y="3811158"/>
                    <a:pt x="1328572" y="4266945"/>
                    <a:pt x="1891032" y="4266945"/>
                  </a:cubicBezTo>
                  <a:cubicBezTo>
                    <a:pt x="2453493" y="4266945"/>
                    <a:pt x="2909281" y="3811158"/>
                    <a:pt x="2909281" y="3248697"/>
                  </a:cubicBezTo>
                  <a:lnTo>
                    <a:pt x="2909281" y="2114077"/>
                  </a:lnTo>
                  <a:cubicBezTo>
                    <a:pt x="3132326" y="2051043"/>
                    <a:pt x="3297185" y="1842544"/>
                    <a:pt x="3297185" y="1600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836117D2-3E9D-4E65-A4E6-3E6664A90EE7}"/>
                </a:ext>
              </a:extLst>
            </p:cNvPr>
            <p:cNvSpPr/>
            <p:nvPr/>
          </p:nvSpPr>
          <p:spPr>
            <a:xfrm>
              <a:off x="13279792" y="2777305"/>
              <a:ext cx="484880" cy="484880"/>
            </a:xfrm>
            <a:custGeom>
              <a:avLst/>
              <a:gdLst>
                <a:gd name="connsiteX0" fmla="*/ 484880 w 484880"/>
                <a:gd name="connsiteY0" fmla="*/ 242440 h 484880"/>
                <a:gd name="connsiteX1" fmla="*/ 242440 w 484880"/>
                <a:gd name="connsiteY1" fmla="*/ 484880 h 484880"/>
                <a:gd name="connsiteX2" fmla="*/ 0 w 484880"/>
                <a:gd name="connsiteY2" fmla="*/ 242440 h 484880"/>
                <a:gd name="connsiteX3" fmla="*/ 242440 w 484880"/>
                <a:gd name="connsiteY3" fmla="*/ 0 h 484880"/>
                <a:gd name="connsiteX4" fmla="*/ 484880 w 484880"/>
                <a:gd name="connsiteY4" fmla="*/ 242440 h 484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880" h="484880">
                  <a:moveTo>
                    <a:pt x="484880" y="242440"/>
                  </a:moveTo>
                  <a:cubicBezTo>
                    <a:pt x="484880" y="376336"/>
                    <a:pt x="376336" y="484880"/>
                    <a:pt x="242440" y="484880"/>
                  </a:cubicBezTo>
                  <a:cubicBezTo>
                    <a:pt x="108544" y="484880"/>
                    <a:pt x="0" y="376336"/>
                    <a:pt x="0" y="242440"/>
                  </a:cubicBezTo>
                  <a:cubicBezTo>
                    <a:pt x="0" y="108544"/>
                    <a:pt x="108544" y="0"/>
                    <a:pt x="242440" y="0"/>
                  </a:cubicBezTo>
                  <a:cubicBezTo>
                    <a:pt x="376336" y="0"/>
                    <a:pt x="484880" y="108544"/>
                    <a:pt x="484880" y="2424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1B26A1C3-7FD4-429D-AB2F-238ABE748B02}"/>
              </a:ext>
            </a:extLst>
          </p:cNvPr>
          <p:cNvGrpSpPr/>
          <p:nvPr userDrawn="1"/>
        </p:nvGrpSpPr>
        <p:grpSpPr>
          <a:xfrm>
            <a:off x="11217797" y="1860685"/>
            <a:ext cx="192111" cy="290045"/>
            <a:chOff x="-3947158" y="1719597"/>
            <a:chExt cx="3385092" cy="5109416"/>
          </a:xfrm>
          <a:solidFill>
            <a:schemeClr val="bg1">
              <a:alpha val="80000"/>
            </a:schemeClr>
          </a:solidFill>
        </p:grpSpPr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41CD92CE-7550-4BC1-9EB1-518B7EFF0A89}"/>
                </a:ext>
              </a:extLst>
            </p:cNvPr>
            <p:cNvSpPr/>
            <p:nvPr/>
          </p:nvSpPr>
          <p:spPr>
            <a:xfrm>
              <a:off x="-3624517" y="2322583"/>
              <a:ext cx="3062451" cy="218046"/>
            </a:xfrm>
            <a:prstGeom prst="rect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F8B1211E-628F-43CE-A985-745BC614ED58}"/>
                </a:ext>
              </a:extLst>
            </p:cNvPr>
            <p:cNvSpPr/>
            <p:nvPr/>
          </p:nvSpPr>
          <p:spPr>
            <a:xfrm>
              <a:off x="-3947158" y="3738067"/>
              <a:ext cx="1988090" cy="3089947"/>
            </a:xfrm>
            <a:custGeom>
              <a:avLst/>
              <a:gdLst>
                <a:gd name="connsiteX0" fmla="*/ 1536585 w 1988090"/>
                <a:gd name="connsiteY0" fmla="*/ 279 h 3089947"/>
                <a:gd name="connsiteX1" fmla="*/ 1493799 w 1988090"/>
                <a:gd name="connsiteY1" fmla="*/ 6084 h 3089947"/>
                <a:gd name="connsiteX2" fmla="*/ 994045 w 1988090"/>
                <a:gd name="connsiteY2" fmla="*/ 201257 h 3089947"/>
                <a:gd name="connsiteX3" fmla="*/ 494330 w 1988090"/>
                <a:gd name="connsiteY3" fmla="*/ 6122 h 3089947"/>
                <a:gd name="connsiteX4" fmla="*/ 451390 w 1988090"/>
                <a:gd name="connsiteY4" fmla="*/ 317 h 3089947"/>
                <a:gd name="connsiteX5" fmla="*/ 362549 w 1988090"/>
                <a:gd name="connsiteY5" fmla="*/ 12004 h 3089947"/>
                <a:gd name="connsiteX6" fmla="*/ 126819 w 1988090"/>
                <a:gd name="connsiteY6" fmla="*/ 305590 h 3089947"/>
                <a:gd name="connsiteX7" fmla="*/ 36 w 1988090"/>
                <a:gd name="connsiteY7" fmla="*/ 1551706 h 3089947"/>
                <a:gd name="connsiteX8" fmla="*/ 56470 w 1988090"/>
                <a:gd name="connsiteY8" fmla="*/ 1695481 h 3089947"/>
                <a:gd name="connsiteX9" fmla="*/ 198053 w 1988090"/>
                <a:gd name="connsiteY9" fmla="*/ 1757220 h 3089947"/>
                <a:gd name="connsiteX10" fmla="*/ 199975 w 1988090"/>
                <a:gd name="connsiteY10" fmla="*/ 1757258 h 3089947"/>
                <a:gd name="connsiteX11" fmla="*/ 201898 w 1988090"/>
                <a:gd name="connsiteY11" fmla="*/ 1757258 h 3089947"/>
                <a:gd name="connsiteX12" fmla="*/ 290969 w 1988090"/>
                <a:gd name="connsiteY12" fmla="*/ 1736154 h 3089947"/>
                <a:gd name="connsiteX13" fmla="*/ 359743 w 1988090"/>
                <a:gd name="connsiteY13" fmla="*/ 1679873 h 3089947"/>
                <a:gd name="connsiteX14" fmla="*/ 359743 w 1988090"/>
                <a:gd name="connsiteY14" fmla="*/ 2240751 h 3089947"/>
                <a:gd name="connsiteX15" fmla="*/ 359743 w 1988090"/>
                <a:gd name="connsiteY15" fmla="*/ 2801628 h 3089947"/>
                <a:gd name="connsiteX16" fmla="*/ 444201 w 1988090"/>
                <a:gd name="connsiteY16" fmla="*/ 3005489 h 3089947"/>
                <a:gd name="connsiteX17" fmla="*/ 648062 w 1988090"/>
                <a:gd name="connsiteY17" fmla="*/ 3089947 h 3089947"/>
                <a:gd name="connsiteX18" fmla="*/ 851923 w 1988090"/>
                <a:gd name="connsiteY18" fmla="*/ 3005489 h 3089947"/>
                <a:gd name="connsiteX19" fmla="*/ 936382 w 1988090"/>
                <a:gd name="connsiteY19" fmla="*/ 2801628 h 3089947"/>
                <a:gd name="connsiteX20" fmla="*/ 936382 w 1988090"/>
                <a:gd name="connsiteY20" fmla="*/ 2340317 h 3089947"/>
                <a:gd name="connsiteX21" fmla="*/ 936382 w 1988090"/>
                <a:gd name="connsiteY21" fmla="*/ 1879006 h 3089947"/>
                <a:gd name="connsiteX22" fmla="*/ 994045 w 1988090"/>
                <a:gd name="connsiteY22" fmla="*/ 1879006 h 3089947"/>
                <a:gd name="connsiteX23" fmla="*/ 1051709 w 1988090"/>
                <a:gd name="connsiteY23" fmla="*/ 1879006 h 3089947"/>
                <a:gd name="connsiteX24" fmla="*/ 1051709 w 1988090"/>
                <a:gd name="connsiteY24" fmla="*/ 2340317 h 3089947"/>
                <a:gd name="connsiteX25" fmla="*/ 1051709 w 1988090"/>
                <a:gd name="connsiteY25" fmla="*/ 2801628 h 3089947"/>
                <a:gd name="connsiteX26" fmla="*/ 1136167 w 1988090"/>
                <a:gd name="connsiteY26" fmla="*/ 3005489 h 3089947"/>
                <a:gd name="connsiteX27" fmla="*/ 1340029 w 1988090"/>
                <a:gd name="connsiteY27" fmla="*/ 3089947 h 3089947"/>
                <a:gd name="connsiteX28" fmla="*/ 1543889 w 1988090"/>
                <a:gd name="connsiteY28" fmla="*/ 3005489 h 3089947"/>
                <a:gd name="connsiteX29" fmla="*/ 1628348 w 1988090"/>
                <a:gd name="connsiteY29" fmla="*/ 2801628 h 3089947"/>
                <a:gd name="connsiteX30" fmla="*/ 1628348 w 1988090"/>
                <a:gd name="connsiteY30" fmla="*/ 2263432 h 3089947"/>
                <a:gd name="connsiteX31" fmla="*/ 1628348 w 1988090"/>
                <a:gd name="connsiteY31" fmla="*/ 1725313 h 3089947"/>
                <a:gd name="connsiteX32" fmla="*/ 1628348 w 1988090"/>
                <a:gd name="connsiteY32" fmla="*/ 1725236 h 3089947"/>
                <a:gd name="connsiteX33" fmla="*/ 1628348 w 1988090"/>
                <a:gd name="connsiteY33" fmla="*/ 1725159 h 3089947"/>
                <a:gd name="connsiteX34" fmla="*/ 1628348 w 1988090"/>
                <a:gd name="connsiteY34" fmla="*/ 1702478 h 3089947"/>
                <a:gd name="connsiteX35" fmla="*/ 1628348 w 1988090"/>
                <a:gd name="connsiteY35" fmla="*/ 1679797 h 3089947"/>
                <a:gd name="connsiteX36" fmla="*/ 1697122 w 1988090"/>
                <a:gd name="connsiteY36" fmla="*/ 1736115 h 3089947"/>
                <a:gd name="connsiteX37" fmla="*/ 1786193 w 1988090"/>
                <a:gd name="connsiteY37" fmla="*/ 1757220 h 3089947"/>
                <a:gd name="connsiteX38" fmla="*/ 1788115 w 1988090"/>
                <a:gd name="connsiteY38" fmla="*/ 1757220 h 3089947"/>
                <a:gd name="connsiteX39" fmla="*/ 1790037 w 1988090"/>
                <a:gd name="connsiteY39" fmla="*/ 1757182 h 3089947"/>
                <a:gd name="connsiteX40" fmla="*/ 1931621 w 1988090"/>
                <a:gd name="connsiteY40" fmla="*/ 1695443 h 3089947"/>
                <a:gd name="connsiteX41" fmla="*/ 1988055 w 1988090"/>
                <a:gd name="connsiteY41" fmla="*/ 1551668 h 3089947"/>
                <a:gd name="connsiteX42" fmla="*/ 1861233 w 1988090"/>
                <a:gd name="connsiteY42" fmla="*/ 305552 h 3089947"/>
                <a:gd name="connsiteX43" fmla="*/ 1625465 w 1988090"/>
                <a:gd name="connsiteY43" fmla="*/ 11966 h 3089947"/>
                <a:gd name="connsiteX44" fmla="*/ 1536585 w 1988090"/>
                <a:gd name="connsiteY44" fmla="*/ 279 h 308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988090" h="3089947">
                  <a:moveTo>
                    <a:pt x="1536585" y="279"/>
                  </a:moveTo>
                  <a:cubicBezTo>
                    <a:pt x="1521939" y="971"/>
                    <a:pt x="1507676" y="3008"/>
                    <a:pt x="1493799" y="6084"/>
                  </a:cubicBezTo>
                  <a:cubicBezTo>
                    <a:pt x="1361787" y="126870"/>
                    <a:pt x="1186643" y="201257"/>
                    <a:pt x="994045" y="201257"/>
                  </a:cubicBezTo>
                  <a:cubicBezTo>
                    <a:pt x="801448" y="201257"/>
                    <a:pt x="626342" y="126870"/>
                    <a:pt x="494330" y="6122"/>
                  </a:cubicBezTo>
                  <a:cubicBezTo>
                    <a:pt x="480414" y="3047"/>
                    <a:pt x="466075" y="1009"/>
                    <a:pt x="451390" y="317"/>
                  </a:cubicBezTo>
                  <a:cubicBezTo>
                    <a:pt x="422827" y="-1028"/>
                    <a:pt x="392996" y="2432"/>
                    <a:pt x="362549" y="12004"/>
                  </a:cubicBezTo>
                  <a:cubicBezTo>
                    <a:pt x="277591" y="38683"/>
                    <a:pt x="193133" y="92772"/>
                    <a:pt x="126819" y="305590"/>
                  </a:cubicBezTo>
                  <a:cubicBezTo>
                    <a:pt x="60506" y="518408"/>
                    <a:pt x="12337" y="889994"/>
                    <a:pt x="36" y="1551706"/>
                  </a:cubicBezTo>
                  <a:cubicBezTo>
                    <a:pt x="-1002" y="1607409"/>
                    <a:pt x="20641" y="1658308"/>
                    <a:pt x="56470" y="1695481"/>
                  </a:cubicBezTo>
                  <a:cubicBezTo>
                    <a:pt x="92298" y="1732655"/>
                    <a:pt x="142312" y="1756221"/>
                    <a:pt x="198053" y="1757220"/>
                  </a:cubicBezTo>
                  <a:cubicBezTo>
                    <a:pt x="198707" y="1757220"/>
                    <a:pt x="199322" y="1757220"/>
                    <a:pt x="199975" y="1757258"/>
                  </a:cubicBezTo>
                  <a:cubicBezTo>
                    <a:pt x="200629" y="1757297"/>
                    <a:pt x="201244" y="1757258"/>
                    <a:pt x="201898" y="1757258"/>
                  </a:cubicBezTo>
                  <a:cubicBezTo>
                    <a:pt x="233920" y="1757258"/>
                    <a:pt x="264136" y="1749647"/>
                    <a:pt x="290969" y="1736154"/>
                  </a:cubicBezTo>
                  <a:cubicBezTo>
                    <a:pt x="317802" y="1722660"/>
                    <a:pt x="341214" y="1703323"/>
                    <a:pt x="359743" y="1679873"/>
                  </a:cubicBezTo>
                  <a:lnTo>
                    <a:pt x="359743" y="2240751"/>
                  </a:lnTo>
                  <a:lnTo>
                    <a:pt x="359743" y="2801628"/>
                  </a:lnTo>
                  <a:cubicBezTo>
                    <a:pt x="359743" y="2881243"/>
                    <a:pt x="391996" y="2953323"/>
                    <a:pt x="444201" y="3005489"/>
                  </a:cubicBezTo>
                  <a:cubicBezTo>
                    <a:pt x="496406" y="3057656"/>
                    <a:pt x="568447" y="3089947"/>
                    <a:pt x="648062" y="3089947"/>
                  </a:cubicBezTo>
                  <a:cubicBezTo>
                    <a:pt x="727677" y="3089947"/>
                    <a:pt x="799757" y="3057694"/>
                    <a:pt x="851923" y="3005489"/>
                  </a:cubicBezTo>
                  <a:cubicBezTo>
                    <a:pt x="904090" y="2953284"/>
                    <a:pt x="936382" y="2881243"/>
                    <a:pt x="936382" y="2801628"/>
                  </a:cubicBezTo>
                  <a:lnTo>
                    <a:pt x="936382" y="2340317"/>
                  </a:lnTo>
                  <a:lnTo>
                    <a:pt x="936382" y="1879006"/>
                  </a:lnTo>
                  <a:lnTo>
                    <a:pt x="994045" y="1879006"/>
                  </a:lnTo>
                  <a:lnTo>
                    <a:pt x="1051709" y="1879006"/>
                  </a:lnTo>
                  <a:lnTo>
                    <a:pt x="1051709" y="2340317"/>
                  </a:lnTo>
                  <a:lnTo>
                    <a:pt x="1051709" y="2801628"/>
                  </a:lnTo>
                  <a:cubicBezTo>
                    <a:pt x="1051709" y="2881243"/>
                    <a:pt x="1083962" y="2953323"/>
                    <a:pt x="1136167" y="3005489"/>
                  </a:cubicBezTo>
                  <a:cubicBezTo>
                    <a:pt x="1188372" y="3057656"/>
                    <a:pt x="1260414" y="3089947"/>
                    <a:pt x="1340029" y="3089947"/>
                  </a:cubicBezTo>
                  <a:cubicBezTo>
                    <a:pt x="1419643" y="3089947"/>
                    <a:pt x="1491723" y="3057694"/>
                    <a:pt x="1543889" y="3005489"/>
                  </a:cubicBezTo>
                  <a:cubicBezTo>
                    <a:pt x="1596056" y="2953284"/>
                    <a:pt x="1628348" y="2881243"/>
                    <a:pt x="1628348" y="2801628"/>
                  </a:cubicBezTo>
                  <a:lnTo>
                    <a:pt x="1628348" y="2263432"/>
                  </a:lnTo>
                  <a:lnTo>
                    <a:pt x="1628348" y="1725313"/>
                  </a:lnTo>
                  <a:cubicBezTo>
                    <a:pt x="1628348" y="1725274"/>
                    <a:pt x="1628348" y="1725274"/>
                    <a:pt x="1628348" y="1725236"/>
                  </a:cubicBezTo>
                  <a:cubicBezTo>
                    <a:pt x="1628348" y="1725197"/>
                    <a:pt x="1628348" y="1725197"/>
                    <a:pt x="1628348" y="1725159"/>
                  </a:cubicBezTo>
                  <a:lnTo>
                    <a:pt x="1628348" y="1702478"/>
                  </a:lnTo>
                  <a:lnTo>
                    <a:pt x="1628348" y="1679797"/>
                  </a:lnTo>
                  <a:cubicBezTo>
                    <a:pt x="1646839" y="1703247"/>
                    <a:pt x="1670289" y="1722622"/>
                    <a:pt x="1697122" y="1736115"/>
                  </a:cubicBezTo>
                  <a:cubicBezTo>
                    <a:pt x="1723955" y="1749609"/>
                    <a:pt x="1754170" y="1757220"/>
                    <a:pt x="1786193" y="1757220"/>
                  </a:cubicBezTo>
                  <a:cubicBezTo>
                    <a:pt x="1786847" y="1757220"/>
                    <a:pt x="1787461" y="1757220"/>
                    <a:pt x="1788115" y="1757220"/>
                  </a:cubicBezTo>
                  <a:cubicBezTo>
                    <a:pt x="1788769" y="1757220"/>
                    <a:pt x="1789384" y="1757220"/>
                    <a:pt x="1790037" y="1757182"/>
                  </a:cubicBezTo>
                  <a:cubicBezTo>
                    <a:pt x="1845779" y="1756144"/>
                    <a:pt x="1895793" y="1732617"/>
                    <a:pt x="1931621" y="1695443"/>
                  </a:cubicBezTo>
                  <a:cubicBezTo>
                    <a:pt x="1967450" y="1658269"/>
                    <a:pt x="1989093" y="1607371"/>
                    <a:pt x="1988055" y="1551668"/>
                  </a:cubicBezTo>
                  <a:cubicBezTo>
                    <a:pt x="1975715" y="889955"/>
                    <a:pt x="1927585" y="518370"/>
                    <a:pt x="1861233" y="305552"/>
                  </a:cubicBezTo>
                  <a:cubicBezTo>
                    <a:pt x="1794881" y="92733"/>
                    <a:pt x="1710423" y="38683"/>
                    <a:pt x="1625465" y="11966"/>
                  </a:cubicBezTo>
                  <a:cubicBezTo>
                    <a:pt x="1594980" y="2393"/>
                    <a:pt x="1565148" y="-1066"/>
                    <a:pt x="1536585" y="27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D6BD5B54-B1F7-429A-8D9C-1052A68343F1}"/>
                </a:ext>
              </a:extLst>
            </p:cNvPr>
            <p:cNvSpPr/>
            <p:nvPr/>
          </p:nvSpPr>
          <p:spPr>
            <a:xfrm>
              <a:off x="-3541246" y="2609288"/>
              <a:ext cx="1176265" cy="1176265"/>
            </a:xfrm>
            <a:custGeom>
              <a:avLst/>
              <a:gdLst>
                <a:gd name="connsiteX0" fmla="*/ 1176266 w 1176265"/>
                <a:gd name="connsiteY0" fmla="*/ 588133 h 1176265"/>
                <a:gd name="connsiteX1" fmla="*/ 588133 w 1176265"/>
                <a:gd name="connsiteY1" fmla="*/ 1176266 h 1176265"/>
                <a:gd name="connsiteX2" fmla="*/ 0 w 1176265"/>
                <a:gd name="connsiteY2" fmla="*/ 588133 h 1176265"/>
                <a:gd name="connsiteX3" fmla="*/ 588133 w 1176265"/>
                <a:gd name="connsiteY3" fmla="*/ 0 h 1176265"/>
                <a:gd name="connsiteX4" fmla="*/ 1176266 w 1176265"/>
                <a:gd name="connsiteY4" fmla="*/ 588133 h 117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6265" h="1176265">
                  <a:moveTo>
                    <a:pt x="1176266" y="588133"/>
                  </a:moveTo>
                  <a:cubicBezTo>
                    <a:pt x="1176266" y="912950"/>
                    <a:pt x="912950" y="1176266"/>
                    <a:pt x="588133" y="1176266"/>
                  </a:cubicBezTo>
                  <a:cubicBezTo>
                    <a:pt x="263316" y="1176266"/>
                    <a:pt x="0" y="912950"/>
                    <a:pt x="0" y="588133"/>
                  </a:cubicBezTo>
                  <a:cubicBezTo>
                    <a:pt x="0" y="263316"/>
                    <a:pt x="263316" y="0"/>
                    <a:pt x="588133" y="0"/>
                  </a:cubicBezTo>
                  <a:cubicBezTo>
                    <a:pt x="912950" y="0"/>
                    <a:pt x="1176266" y="263316"/>
                    <a:pt x="1176266" y="5881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2CD4E737-CD2C-4333-9930-ACA1F7D465CF}"/>
                </a:ext>
              </a:extLst>
            </p:cNvPr>
            <p:cNvSpPr/>
            <p:nvPr/>
          </p:nvSpPr>
          <p:spPr>
            <a:xfrm>
              <a:off x="-1697617" y="2605328"/>
              <a:ext cx="956528" cy="4223685"/>
            </a:xfrm>
            <a:custGeom>
              <a:avLst/>
              <a:gdLst>
                <a:gd name="connsiteX0" fmla="*/ 956528 w 956528"/>
                <a:gd name="connsiteY0" fmla="*/ 4223686 h 4223685"/>
                <a:gd name="connsiteX1" fmla="*/ 956528 w 956528"/>
                <a:gd name="connsiteY1" fmla="*/ 0 h 4223685"/>
                <a:gd name="connsiteX2" fmla="*/ 900248 w 956528"/>
                <a:gd name="connsiteY2" fmla="*/ 0 h 4223685"/>
                <a:gd name="connsiteX3" fmla="*/ 900248 w 956528"/>
                <a:gd name="connsiteY3" fmla="*/ 4167445 h 4223685"/>
                <a:gd name="connsiteX4" fmla="*/ 56280 w 956528"/>
                <a:gd name="connsiteY4" fmla="*/ 4167445 h 4223685"/>
                <a:gd name="connsiteX5" fmla="*/ 56280 w 956528"/>
                <a:gd name="connsiteY5" fmla="*/ 3998643 h 4223685"/>
                <a:gd name="connsiteX6" fmla="*/ 337603 w 956528"/>
                <a:gd name="connsiteY6" fmla="*/ 3998643 h 4223685"/>
                <a:gd name="connsiteX7" fmla="*/ 337603 w 956528"/>
                <a:gd name="connsiteY7" fmla="*/ 3942363 h 4223685"/>
                <a:gd name="connsiteX8" fmla="*/ 56280 w 956528"/>
                <a:gd name="connsiteY8" fmla="*/ 3942363 h 4223685"/>
                <a:gd name="connsiteX9" fmla="*/ 56280 w 956528"/>
                <a:gd name="connsiteY9" fmla="*/ 3773562 h 4223685"/>
                <a:gd name="connsiteX10" fmla="*/ 337603 w 956528"/>
                <a:gd name="connsiteY10" fmla="*/ 3773562 h 4223685"/>
                <a:gd name="connsiteX11" fmla="*/ 337603 w 956528"/>
                <a:gd name="connsiteY11" fmla="*/ 3717321 h 4223685"/>
                <a:gd name="connsiteX12" fmla="*/ 56280 w 956528"/>
                <a:gd name="connsiteY12" fmla="*/ 3717321 h 4223685"/>
                <a:gd name="connsiteX13" fmla="*/ 56280 w 956528"/>
                <a:gd name="connsiteY13" fmla="*/ 3548519 h 4223685"/>
                <a:gd name="connsiteX14" fmla="*/ 337603 w 956528"/>
                <a:gd name="connsiteY14" fmla="*/ 3548519 h 4223685"/>
                <a:gd name="connsiteX15" fmla="*/ 337603 w 956528"/>
                <a:gd name="connsiteY15" fmla="*/ 3492239 h 4223685"/>
                <a:gd name="connsiteX16" fmla="*/ 56280 w 956528"/>
                <a:gd name="connsiteY16" fmla="*/ 3492239 h 4223685"/>
                <a:gd name="connsiteX17" fmla="*/ 56280 w 956528"/>
                <a:gd name="connsiteY17" fmla="*/ 3323438 h 4223685"/>
                <a:gd name="connsiteX18" fmla="*/ 675205 w 956528"/>
                <a:gd name="connsiteY18" fmla="*/ 3323438 h 4223685"/>
                <a:gd name="connsiteX19" fmla="*/ 675205 w 956528"/>
                <a:gd name="connsiteY19" fmla="*/ 3267158 h 4223685"/>
                <a:gd name="connsiteX20" fmla="*/ 56280 w 956528"/>
                <a:gd name="connsiteY20" fmla="*/ 3267158 h 4223685"/>
                <a:gd name="connsiteX21" fmla="*/ 56280 w 956528"/>
                <a:gd name="connsiteY21" fmla="*/ 3098395 h 4223685"/>
                <a:gd name="connsiteX22" fmla="*/ 337603 w 956528"/>
                <a:gd name="connsiteY22" fmla="*/ 3098395 h 4223685"/>
                <a:gd name="connsiteX23" fmla="*/ 337603 w 956528"/>
                <a:gd name="connsiteY23" fmla="*/ 3042115 h 4223685"/>
                <a:gd name="connsiteX24" fmla="*/ 56280 w 956528"/>
                <a:gd name="connsiteY24" fmla="*/ 3042115 h 4223685"/>
                <a:gd name="connsiteX25" fmla="*/ 56280 w 956528"/>
                <a:gd name="connsiteY25" fmla="*/ 2873314 h 4223685"/>
                <a:gd name="connsiteX26" fmla="*/ 337603 w 956528"/>
                <a:gd name="connsiteY26" fmla="*/ 2873314 h 4223685"/>
                <a:gd name="connsiteX27" fmla="*/ 337603 w 956528"/>
                <a:gd name="connsiteY27" fmla="*/ 2817034 h 4223685"/>
                <a:gd name="connsiteX28" fmla="*/ 56280 w 956528"/>
                <a:gd name="connsiteY28" fmla="*/ 2817034 h 4223685"/>
                <a:gd name="connsiteX29" fmla="*/ 56280 w 956528"/>
                <a:gd name="connsiteY29" fmla="*/ 2648233 h 4223685"/>
                <a:gd name="connsiteX30" fmla="*/ 337603 w 956528"/>
                <a:gd name="connsiteY30" fmla="*/ 2648233 h 4223685"/>
                <a:gd name="connsiteX31" fmla="*/ 337603 w 956528"/>
                <a:gd name="connsiteY31" fmla="*/ 2591991 h 4223685"/>
                <a:gd name="connsiteX32" fmla="*/ 56280 w 956528"/>
                <a:gd name="connsiteY32" fmla="*/ 2591991 h 4223685"/>
                <a:gd name="connsiteX33" fmla="*/ 56280 w 956528"/>
                <a:gd name="connsiteY33" fmla="*/ 2423190 h 4223685"/>
                <a:gd name="connsiteX34" fmla="*/ 675205 w 956528"/>
                <a:gd name="connsiteY34" fmla="*/ 2423190 h 4223685"/>
                <a:gd name="connsiteX35" fmla="*/ 675205 w 956528"/>
                <a:gd name="connsiteY35" fmla="*/ 2366909 h 4223685"/>
                <a:gd name="connsiteX36" fmla="*/ 56280 w 956528"/>
                <a:gd name="connsiteY36" fmla="*/ 2366909 h 4223685"/>
                <a:gd name="connsiteX37" fmla="*/ 56280 w 956528"/>
                <a:gd name="connsiteY37" fmla="*/ 2198108 h 4223685"/>
                <a:gd name="connsiteX38" fmla="*/ 337603 w 956528"/>
                <a:gd name="connsiteY38" fmla="*/ 2198108 h 4223685"/>
                <a:gd name="connsiteX39" fmla="*/ 337603 w 956528"/>
                <a:gd name="connsiteY39" fmla="*/ 2141867 h 4223685"/>
                <a:gd name="connsiteX40" fmla="*/ 56280 w 956528"/>
                <a:gd name="connsiteY40" fmla="*/ 2141867 h 4223685"/>
                <a:gd name="connsiteX41" fmla="*/ 56280 w 956528"/>
                <a:gd name="connsiteY41" fmla="*/ 1973065 h 4223685"/>
                <a:gd name="connsiteX42" fmla="*/ 337603 w 956528"/>
                <a:gd name="connsiteY42" fmla="*/ 1973065 h 4223685"/>
                <a:gd name="connsiteX43" fmla="*/ 337603 w 956528"/>
                <a:gd name="connsiteY43" fmla="*/ 1916785 h 4223685"/>
                <a:gd name="connsiteX44" fmla="*/ 56280 w 956528"/>
                <a:gd name="connsiteY44" fmla="*/ 1916785 h 4223685"/>
                <a:gd name="connsiteX45" fmla="*/ 56280 w 956528"/>
                <a:gd name="connsiteY45" fmla="*/ 1747984 h 4223685"/>
                <a:gd name="connsiteX46" fmla="*/ 337603 w 956528"/>
                <a:gd name="connsiteY46" fmla="*/ 1747984 h 4223685"/>
                <a:gd name="connsiteX47" fmla="*/ 337603 w 956528"/>
                <a:gd name="connsiteY47" fmla="*/ 1691704 h 4223685"/>
                <a:gd name="connsiteX48" fmla="*/ 56280 w 956528"/>
                <a:gd name="connsiteY48" fmla="*/ 1691704 h 4223685"/>
                <a:gd name="connsiteX49" fmla="*/ 56280 w 956528"/>
                <a:gd name="connsiteY49" fmla="*/ 1522941 h 4223685"/>
                <a:gd name="connsiteX50" fmla="*/ 675205 w 956528"/>
                <a:gd name="connsiteY50" fmla="*/ 1522941 h 4223685"/>
                <a:gd name="connsiteX51" fmla="*/ 675205 w 956528"/>
                <a:gd name="connsiteY51" fmla="*/ 1466661 h 4223685"/>
                <a:gd name="connsiteX52" fmla="*/ 56280 w 956528"/>
                <a:gd name="connsiteY52" fmla="*/ 1466661 h 4223685"/>
                <a:gd name="connsiteX53" fmla="*/ 56280 w 956528"/>
                <a:gd name="connsiteY53" fmla="*/ 1297860 h 4223685"/>
                <a:gd name="connsiteX54" fmla="*/ 337603 w 956528"/>
                <a:gd name="connsiteY54" fmla="*/ 1297860 h 4223685"/>
                <a:gd name="connsiteX55" fmla="*/ 337603 w 956528"/>
                <a:gd name="connsiteY55" fmla="*/ 1241580 h 4223685"/>
                <a:gd name="connsiteX56" fmla="*/ 56280 w 956528"/>
                <a:gd name="connsiteY56" fmla="*/ 1241580 h 4223685"/>
                <a:gd name="connsiteX57" fmla="*/ 56280 w 956528"/>
                <a:gd name="connsiteY57" fmla="*/ 1072779 h 4223685"/>
                <a:gd name="connsiteX58" fmla="*/ 337603 w 956528"/>
                <a:gd name="connsiteY58" fmla="*/ 1072779 h 4223685"/>
                <a:gd name="connsiteX59" fmla="*/ 337603 w 956528"/>
                <a:gd name="connsiteY59" fmla="*/ 1016537 h 4223685"/>
                <a:gd name="connsiteX60" fmla="*/ 56280 w 956528"/>
                <a:gd name="connsiteY60" fmla="*/ 1016537 h 4223685"/>
                <a:gd name="connsiteX61" fmla="*/ 56280 w 956528"/>
                <a:gd name="connsiteY61" fmla="*/ 847736 h 4223685"/>
                <a:gd name="connsiteX62" fmla="*/ 337603 w 956528"/>
                <a:gd name="connsiteY62" fmla="*/ 847736 h 4223685"/>
                <a:gd name="connsiteX63" fmla="*/ 337603 w 956528"/>
                <a:gd name="connsiteY63" fmla="*/ 791456 h 4223685"/>
                <a:gd name="connsiteX64" fmla="*/ 56280 w 956528"/>
                <a:gd name="connsiteY64" fmla="*/ 791456 h 4223685"/>
                <a:gd name="connsiteX65" fmla="*/ 56280 w 956528"/>
                <a:gd name="connsiteY65" fmla="*/ 622654 h 4223685"/>
                <a:gd name="connsiteX66" fmla="*/ 675205 w 956528"/>
                <a:gd name="connsiteY66" fmla="*/ 622654 h 4223685"/>
                <a:gd name="connsiteX67" fmla="*/ 675205 w 956528"/>
                <a:gd name="connsiteY67" fmla="*/ 566413 h 4223685"/>
                <a:gd name="connsiteX68" fmla="*/ 56280 w 956528"/>
                <a:gd name="connsiteY68" fmla="*/ 566413 h 4223685"/>
                <a:gd name="connsiteX69" fmla="*/ 56280 w 956528"/>
                <a:gd name="connsiteY69" fmla="*/ 397612 h 4223685"/>
                <a:gd name="connsiteX70" fmla="*/ 337603 w 956528"/>
                <a:gd name="connsiteY70" fmla="*/ 397612 h 4223685"/>
                <a:gd name="connsiteX71" fmla="*/ 337603 w 956528"/>
                <a:gd name="connsiteY71" fmla="*/ 341332 h 4223685"/>
                <a:gd name="connsiteX72" fmla="*/ 56280 w 956528"/>
                <a:gd name="connsiteY72" fmla="*/ 341332 h 4223685"/>
                <a:gd name="connsiteX73" fmla="*/ 56280 w 956528"/>
                <a:gd name="connsiteY73" fmla="*/ 172530 h 4223685"/>
                <a:gd name="connsiteX74" fmla="*/ 337603 w 956528"/>
                <a:gd name="connsiteY74" fmla="*/ 172530 h 4223685"/>
                <a:gd name="connsiteX75" fmla="*/ 337603 w 956528"/>
                <a:gd name="connsiteY75" fmla="*/ 116250 h 4223685"/>
                <a:gd name="connsiteX76" fmla="*/ 56280 w 956528"/>
                <a:gd name="connsiteY76" fmla="*/ 116250 h 4223685"/>
                <a:gd name="connsiteX77" fmla="*/ 56280 w 956528"/>
                <a:gd name="connsiteY77" fmla="*/ 0 h 4223685"/>
                <a:gd name="connsiteX78" fmla="*/ 0 w 956528"/>
                <a:gd name="connsiteY78" fmla="*/ 0 h 4223685"/>
                <a:gd name="connsiteX79" fmla="*/ 0 w 956528"/>
                <a:gd name="connsiteY79" fmla="*/ 4223686 h 4223685"/>
                <a:gd name="connsiteX80" fmla="*/ 56280 w 956528"/>
                <a:gd name="connsiteY80" fmla="*/ 4223686 h 4223685"/>
                <a:gd name="connsiteX81" fmla="*/ 900248 w 956528"/>
                <a:gd name="connsiteY81" fmla="*/ 4223686 h 422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956528" h="4223685">
                  <a:moveTo>
                    <a:pt x="956528" y="4223686"/>
                  </a:moveTo>
                  <a:lnTo>
                    <a:pt x="956528" y="0"/>
                  </a:lnTo>
                  <a:lnTo>
                    <a:pt x="900248" y="0"/>
                  </a:lnTo>
                  <a:lnTo>
                    <a:pt x="900248" y="4167445"/>
                  </a:lnTo>
                  <a:lnTo>
                    <a:pt x="56280" y="4167445"/>
                  </a:lnTo>
                  <a:lnTo>
                    <a:pt x="56280" y="3998643"/>
                  </a:lnTo>
                  <a:lnTo>
                    <a:pt x="337603" y="3998643"/>
                  </a:lnTo>
                  <a:lnTo>
                    <a:pt x="337603" y="3942363"/>
                  </a:lnTo>
                  <a:lnTo>
                    <a:pt x="56280" y="3942363"/>
                  </a:lnTo>
                  <a:lnTo>
                    <a:pt x="56280" y="3773562"/>
                  </a:lnTo>
                  <a:lnTo>
                    <a:pt x="337603" y="3773562"/>
                  </a:lnTo>
                  <a:lnTo>
                    <a:pt x="337603" y="3717321"/>
                  </a:lnTo>
                  <a:lnTo>
                    <a:pt x="56280" y="3717321"/>
                  </a:lnTo>
                  <a:lnTo>
                    <a:pt x="56280" y="3548519"/>
                  </a:lnTo>
                  <a:lnTo>
                    <a:pt x="337603" y="3548519"/>
                  </a:lnTo>
                  <a:lnTo>
                    <a:pt x="337603" y="3492239"/>
                  </a:lnTo>
                  <a:lnTo>
                    <a:pt x="56280" y="3492239"/>
                  </a:lnTo>
                  <a:lnTo>
                    <a:pt x="56280" y="3323438"/>
                  </a:lnTo>
                  <a:lnTo>
                    <a:pt x="675205" y="3323438"/>
                  </a:lnTo>
                  <a:lnTo>
                    <a:pt x="675205" y="3267158"/>
                  </a:lnTo>
                  <a:lnTo>
                    <a:pt x="56280" y="3267158"/>
                  </a:lnTo>
                  <a:lnTo>
                    <a:pt x="56280" y="3098395"/>
                  </a:lnTo>
                  <a:lnTo>
                    <a:pt x="337603" y="3098395"/>
                  </a:lnTo>
                  <a:lnTo>
                    <a:pt x="337603" y="3042115"/>
                  </a:lnTo>
                  <a:lnTo>
                    <a:pt x="56280" y="3042115"/>
                  </a:lnTo>
                  <a:lnTo>
                    <a:pt x="56280" y="2873314"/>
                  </a:lnTo>
                  <a:lnTo>
                    <a:pt x="337603" y="2873314"/>
                  </a:lnTo>
                  <a:lnTo>
                    <a:pt x="337603" y="2817034"/>
                  </a:lnTo>
                  <a:lnTo>
                    <a:pt x="56280" y="2817034"/>
                  </a:lnTo>
                  <a:lnTo>
                    <a:pt x="56280" y="2648233"/>
                  </a:lnTo>
                  <a:lnTo>
                    <a:pt x="337603" y="2648233"/>
                  </a:lnTo>
                  <a:lnTo>
                    <a:pt x="337603" y="2591991"/>
                  </a:lnTo>
                  <a:lnTo>
                    <a:pt x="56280" y="2591991"/>
                  </a:lnTo>
                  <a:lnTo>
                    <a:pt x="56280" y="2423190"/>
                  </a:lnTo>
                  <a:lnTo>
                    <a:pt x="675205" y="2423190"/>
                  </a:lnTo>
                  <a:lnTo>
                    <a:pt x="675205" y="2366909"/>
                  </a:lnTo>
                  <a:lnTo>
                    <a:pt x="56280" y="2366909"/>
                  </a:lnTo>
                  <a:lnTo>
                    <a:pt x="56280" y="2198108"/>
                  </a:lnTo>
                  <a:lnTo>
                    <a:pt x="337603" y="2198108"/>
                  </a:lnTo>
                  <a:lnTo>
                    <a:pt x="337603" y="2141867"/>
                  </a:lnTo>
                  <a:lnTo>
                    <a:pt x="56280" y="2141867"/>
                  </a:lnTo>
                  <a:lnTo>
                    <a:pt x="56280" y="1973065"/>
                  </a:lnTo>
                  <a:lnTo>
                    <a:pt x="337603" y="1973065"/>
                  </a:lnTo>
                  <a:lnTo>
                    <a:pt x="337603" y="1916785"/>
                  </a:lnTo>
                  <a:lnTo>
                    <a:pt x="56280" y="1916785"/>
                  </a:lnTo>
                  <a:lnTo>
                    <a:pt x="56280" y="1747984"/>
                  </a:lnTo>
                  <a:lnTo>
                    <a:pt x="337603" y="1747984"/>
                  </a:lnTo>
                  <a:lnTo>
                    <a:pt x="337603" y="1691704"/>
                  </a:lnTo>
                  <a:lnTo>
                    <a:pt x="56280" y="1691704"/>
                  </a:lnTo>
                  <a:lnTo>
                    <a:pt x="56280" y="1522941"/>
                  </a:lnTo>
                  <a:lnTo>
                    <a:pt x="675205" y="1522941"/>
                  </a:lnTo>
                  <a:lnTo>
                    <a:pt x="675205" y="1466661"/>
                  </a:lnTo>
                  <a:lnTo>
                    <a:pt x="56280" y="1466661"/>
                  </a:lnTo>
                  <a:lnTo>
                    <a:pt x="56280" y="1297860"/>
                  </a:lnTo>
                  <a:lnTo>
                    <a:pt x="337603" y="1297860"/>
                  </a:lnTo>
                  <a:lnTo>
                    <a:pt x="337603" y="1241580"/>
                  </a:lnTo>
                  <a:lnTo>
                    <a:pt x="56280" y="1241580"/>
                  </a:lnTo>
                  <a:lnTo>
                    <a:pt x="56280" y="1072779"/>
                  </a:lnTo>
                  <a:lnTo>
                    <a:pt x="337603" y="1072779"/>
                  </a:lnTo>
                  <a:lnTo>
                    <a:pt x="337603" y="1016537"/>
                  </a:lnTo>
                  <a:lnTo>
                    <a:pt x="56280" y="1016537"/>
                  </a:lnTo>
                  <a:lnTo>
                    <a:pt x="56280" y="847736"/>
                  </a:lnTo>
                  <a:lnTo>
                    <a:pt x="337603" y="847736"/>
                  </a:lnTo>
                  <a:lnTo>
                    <a:pt x="337603" y="791456"/>
                  </a:lnTo>
                  <a:lnTo>
                    <a:pt x="56280" y="791456"/>
                  </a:lnTo>
                  <a:lnTo>
                    <a:pt x="56280" y="622654"/>
                  </a:lnTo>
                  <a:lnTo>
                    <a:pt x="675205" y="622654"/>
                  </a:lnTo>
                  <a:lnTo>
                    <a:pt x="675205" y="566413"/>
                  </a:lnTo>
                  <a:lnTo>
                    <a:pt x="56280" y="566413"/>
                  </a:lnTo>
                  <a:lnTo>
                    <a:pt x="56280" y="397612"/>
                  </a:lnTo>
                  <a:lnTo>
                    <a:pt x="337603" y="397612"/>
                  </a:lnTo>
                  <a:lnTo>
                    <a:pt x="337603" y="341332"/>
                  </a:lnTo>
                  <a:lnTo>
                    <a:pt x="56280" y="341332"/>
                  </a:lnTo>
                  <a:lnTo>
                    <a:pt x="56280" y="172530"/>
                  </a:lnTo>
                  <a:lnTo>
                    <a:pt x="337603" y="172530"/>
                  </a:lnTo>
                  <a:lnTo>
                    <a:pt x="337603" y="116250"/>
                  </a:lnTo>
                  <a:lnTo>
                    <a:pt x="56280" y="116250"/>
                  </a:lnTo>
                  <a:lnTo>
                    <a:pt x="56280" y="0"/>
                  </a:lnTo>
                  <a:lnTo>
                    <a:pt x="0" y="0"/>
                  </a:lnTo>
                  <a:lnTo>
                    <a:pt x="0" y="4223686"/>
                  </a:lnTo>
                  <a:lnTo>
                    <a:pt x="56280" y="4223686"/>
                  </a:lnTo>
                  <a:lnTo>
                    <a:pt x="900248" y="42236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088618CA-5732-4A12-9C65-EDAF4D6B16CC}"/>
                </a:ext>
              </a:extLst>
            </p:cNvPr>
            <p:cNvSpPr/>
            <p:nvPr/>
          </p:nvSpPr>
          <p:spPr>
            <a:xfrm>
              <a:off x="-1697617" y="1719597"/>
              <a:ext cx="337603" cy="538326"/>
            </a:xfrm>
            <a:custGeom>
              <a:avLst/>
              <a:gdLst>
                <a:gd name="connsiteX0" fmla="*/ 0 w 337603"/>
                <a:gd name="connsiteY0" fmla="*/ 0 h 538326"/>
                <a:gd name="connsiteX1" fmla="*/ 56280 w 337603"/>
                <a:gd name="connsiteY1" fmla="*/ 0 h 538326"/>
                <a:gd name="connsiteX2" fmla="*/ 56280 w 337603"/>
                <a:gd name="connsiteY2" fmla="*/ 101734 h 538326"/>
                <a:gd name="connsiteX3" fmla="*/ 337603 w 337603"/>
                <a:gd name="connsiteY3" fmla="*/ 101734 h 538326"/>
                <a:gd name="connsiteX4" fmla="*/ 337603 w 337603"/>
                <a:gd name="connsiteY4" fmla="*/ 158014 h 538326"/>
                <a:gd name="connsiteX5" fmla="*/ 56280 w 337603"/>
                <a:gd name="connsiteY5" fmla="*/ 158014 h 538326"/>
                <a:gd name="connsiteX6" fmla="*/ 56280 w 337603"/>
                <a:gd name="connsiteY6" fmla="*/ 326815 h 538326"/>
                <a:gd name="connsiteX7" fmla="*/ 337603 w 337603"/>
                <a:gd name="connsiteY7" fmla="*/ 326815 h 538326"/>
                <a:gd name="connsiteX8" fmla="*/ 337603 w 337603"/>
                <a:gd name="connsiteY8" fmla="*/ 383056 h 538326"/>
                <a:gd name="connsiteX9" fmla="*/ 56280 w 337603"/>
                <a:gd name="connsiteY9" fmla="*/ 383056 h 538326"/>
                <a:gd name="connsiteX10" fmla="*/ 56280 w 337603"/>
                <a:gd name="connsiteY10" fmla="*/ 538326 h 538326"/>
                <a:gd name="connsiteX11" fmla="*/ 0 w 337603"/>
                <a:gd name="connsiteY11" fmla="*/ 538326 h 538326"/>
                <a:gd name="connsiteX12" fmla="*/ 0 w 337603"/>
                <a:gd name="connsiteY12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7603" h="538326">
                  <a:moveTo>
                    <a:pt x="0" y="0"/>
                  </a:moveTo>
                  <a:lnTo>
                    <a:pt x="56280" y="0"/>
                  </a:lnTo>
                  <a:lnTo>
                    <a:pt x="56280" y="101734"/>
                  </a:lnTo>
                  <a:lnTo>
                    <a:pt x="337603" y="101734"/>
                  </a:lnTo>
                  <a:lnTo>
                    <a:pt x="337603" y="158014"/>
                  </a:lnTo>
                  <a:lnTo>
                    <a:pt x="56280" y="158014"/>
                  </a:lnTo>
                  <a:lnTo>
                    <a:pt x="56280" y="326815"/>
                  </a:lnTo>
                  <a:lnTo>
                    <a:pt x="337603" y="326815"/>
                  </a:lnTo>
                  <a:lnTo>
                    <a:pt x="337603" y="383056"/>
                  </a:lnTo>
                  <a:lnTo>
                    <a:pt x="56280" y="383056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471390C6-3178-4A25-BDE7-D5DADE814311}"/>
                </a:ext>
              </a:extLst>
            </p:cNvPr>
            <p:cNvSpPr/>
            <p:nvPr/>
          </p:nvSpPr>
          <p:spPr>
            <a:xfrm>
              <a:off x="-797368" y="1719597"/>
              <a:ext cx="56280" cy="538326"/>
            </a:xfrm>
            <a:custGeom>
              <a:avLst/>
              <a:gdLst>
                <a:gd name="connsiteX0" fmla="*/ 0 w 56280"/>
                <a:gd name="connsiteY0" fmla="*/ 0 h 538326"/>
                <a:gd name="connsiteX1" fmla="*/ 56280 w 56280"/>
                <a:gd name="connsiteY1" fmla="*/ 0 h 538326"/>
                <a:gd name="connsiteX2" fmla="*/ 56280 w 56280"/>
                <a:gd name="connsiteY2" fmla="*/ 538326 h 538326"/>
                <a:gd name="connsiteX3" fmla="*/ 0 w 56280"/>
                <a:gd name="connsiteY3" fmla="*/ 538326 h 538326"/>
                <a:gd name="connsiteX4" fmla="*/ 0 w 56280"/>
                <a:gd name="connsiteY4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80" h="538326">
                  <a:moveTo>
                    <a:pt x="0" y="0"/>
                  </a:moveTo>
                  <a:lnTo>
                    <a:pt x="56280" y="0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</p:grpSp>
      <p:sp>
        <p:nvSpPr>
          <p:cNvPr id="58" name="Round Same-side Corner of Rectangle 79">
            <a:extLst>
              <a:ext uri="{FF2B5EF4-FFF2-40B4-BE49-F238E27FC236}">
                <a16:creationId xmlns:a16="http://schemas.microsoft.com/office/drawing/2014/main" id="{84B29423-0FA6-45B6-9235-B6C5771AADB9}"/>
              </a:ext>
            </a:extLst>
          </p:cNvPr>
          <p:cNvSpPr/>
          <p:nvPr userDrawn="1"/>
        </p:nvSpPr>
        <p:spPr>
          <a:xfrm rot="5400000">
            <a:off x="10613117" y="550943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9" name="TextBox 58">
            <a:hlinkClick r:id="" action="ppaction://noaction"/>
            <a:extLst>
              <a:ext uri="{FF2B5EF4-FFF2-40B4-BE49-F238E27FC236}">
                <a16:creationId xmlns:a16="http://schemas.microsoft.com/office/drawing/2014/main" id="{9AB488E1-34BE-4E5B-BE14-9756F649CE90}"/>
              </a:ext>
            </a:extLst>
          </p:cNvPr>
          <p:cNvSpPr txBox="1"/>
          <p:nvPr userDrawn="1"/>
        </p:nvSpPr>
        <p:spPr>
          <a:xfrm>
            <a:off x="10870644" y="555078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60" name="Round Same-side Corner of Rectangle 79">
            <a:extLst>
              <a:ext uri="{FF2B5EF4-FFF2-40B4-BE49-F238E27FC236}">
                <a16:creationId xmlns:a16="http://schemas.microsoft.com/office/drawing/2014/main" id="{A41FE126-628E-4A2A-B35A-D8764B4C5828}"/>
              </a:ext>
            </a:extLst>
          </p:cNvPr>
          <p:cNvSpPr/>
          <p:nvPr userDrawn="1"/>
        </p:nvSpPr>
        <p:spPr>
          <a:xfrm rot="5400000">
            <a:off x="10613117" y="5784862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1" name="TextBox 60">
            <a:hlinkClick r:id="" action="ppaction://noaction"/>
            <a:extLst>
              <a:ext uri="{FF2B5EF4-FFF2-40B4-BE49-F238E27FC236}">
                <a16:creationId xmlns:a16="http://schemas.microsoft.com/office/drawing/2014/main" id="{C8589D74-7D70-437A-B23F-92110637B992}"/>
              </a:ext>
            </a:extLst>
          </p:cNvPr>
          <p:cNvSpPr txBox="1"/>
          <p:nvPr userDrawn="1"/>
        </p:nvSpPr>
        <p:spPr>
          <a:xfrm>
            <a:off x="10870644" y="5826211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75" name="Freeform 25">
            <a:extLst>
              <a:ext uri="{FF2B5EF4-FFF2-40B4-BE49-F238E27FC236}">
                <a16:creationId xmlns:a16="http://schemas.microsoft.com/office/drawing/2014/main" id="{FF90A827-6A74-44A8-8D61-A435DFE7EAA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5549100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76" name="Round Same-side Corner of Rectangle 79">
            <a:extLst>
              <a:ext uri="{FF2B5EF4-FFF2-40B4-BE49-F238E27FC236}">
                <a16:creationId xmlns:a16="http://schemas.microsoft.com/office/drawing/2014/main" id="{3B8DC362-09AB-4AA4-BB31-78083FE2CB7F}"/>
              </a:ext>
            </a:extLst>
          </p:cNvPr>
          <p:cNvSpPr/>
          <p:nvPr userDrawn="1"/>
        </p:nvSpPr>
        <p:spPr>
          <a:xfrm rot="5400000">
            <a:off x="10615976" y="606635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77" name="TextBox 76">
            <a:hlinkClick r:id="" action="ppaction://noaction"/>
            <a:extLst>
              <a:ext uri="{FF2B5EF4-FFF2-40B4-BE49-F238E27FC236}">
                <a16:creationId xmlns:a16="http://schemas.microsoft.com/office/drawing/2014/main" id="{278C707B-57C6-4486-98BC-EA2E3E1C0083}"/>
              </a:ext>
            </a:extLst>
          </p:cNvPr>
          <p:cNvSpPr txBox="1"/>
          <p:nvPr userDrawn="1"/>
        </p:nvSpPr>
        <p:spPr>
          <a:xfrm>
            <a:off x="10873503" y="6107704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81" name="Freeform 21">
            <a:extLst>
              <a:ext uri="{FF2B5EF4-FFF2-40B4-BE49-F238E27FC236}">
                <a16:creationId xmlns:a16="http://schemas.microsoft.com/office/drawing/2014/main" id="{E7397726-9BF9-40DE-949C-7BD65C5D3D7B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6115929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82" name="Graphic 28" descr="List">
            <a:extLst>
              <a:ext uri="{FF2B5EF4-FFF2-40B4-BE49-F238E27FC236}">
                <a16:creationId xmlns:a16="http://schemas.microsoft.com/office/drawing/2014/main" id="{B0CAE1AD-DC51-417F-AA25-272308E0F4C9}"/>
              </a:ext>
            </a:extLst>
          </p:cNvPr>
          <p:cNvGrpSpPr/>
          <p:nvPr userDrawn="1"/>
        </p:nvGrpSpPr>
        <p:grpSpPr>
          <a:xfrm>
            <a:off x="10657446" y="5818069"/>
            <a:ext cx="103548" cy="146640"/>
            <a:chOff x="981871" y="1231905"/>
            <a:chExt cx="246063" cy="317501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53C21142-4F5E-4352-9873-DCC26E5D18CB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BAF7A768-1118-420C-8782-619CA1A21BEA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8863D26-858B-4D98-858B-414C4A1856B7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34F77F76-EB91-4937-B045-CC583AC23E12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1715608-F576-4FC5-9DB7-EC31EDCE5C77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0248881B-55A6-4917-8D97-74705219309C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A8505433-DEBA-432D-A0FD-6C349441DDAE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39DB633E-2D30-4ECF-8822-C26D2BB9547B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F66E42EF-A980-4170-BE5A-4F731B787D2E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80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B54C23CB-8948-4C6B-9B93-48B062F57416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3CF95FB8-5FF5-45CB-BAAA-4B2B4DC38798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7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698AECB6-AB61-4159-B207-02570AEDE01F}"/>
              </a:ext>
            </a:extLst>
          </p:cNvPr>
          <p:cNvSpPr/>
          <p:nvPr userDrawn="1"/>
        </p:nvSpPr>
        <p:spPr>
          <a:xfrm rot="5400000">
            <a:off x="11280167" y="4840571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9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52D829BC-EB06-4764-833C-C4256A7E0760}"/>
              </a:ext>
            </a:extLst>
          </p:cNvPr>
          <p:cNvSpPr/>
          <p:nvPr userDrawn="1"/>
        </p:nvSpPr>
        <p:spPr>
          <a:xfrm rot="5400000">
            <a:off x="11280167" y="5116475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0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DF661F1A-9947-49F1-AB24-8C912A363F59}"/>
              </a:ext>
            </a:extLst>
          </p:cNvPr>
          <p:cNvSpPr/>
          <p:nvPr userDrawn="1"/>
        </p:nvSpPr>
        <p:spPr>
          <a:xfrm rot="5400000">
            <a:off x="11280167" y="5392379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1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C78A4F22-CF8B-4D0E-AAF8-9250E500FDDF}"/>
              </a:ext>
            </a:extLst>
          </p:cNvPr>
          <p:cNvSpPr/>
          <p:nvPr userDrawn="1"/>
        </p:nvSpPr>
        <p:spPr>
          <a:xfrm rot="5400000">
            <a:off x="11473096" y="1472755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2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44FD5665-9D76-4308-AC76-302AA1B65B9A}"/>
              </a:ext>
            </a:extLst>
          </p:cNvPr>
          <p:cNvSpPr/>
          <p:nvPr userDrawn="1"/>
        </p:nvSpPr>
        <p:spPr>
          <a:xfrm rot="5400000">
            <a:off x="11473096" y="192820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3" name="Round Same-side Corner of Rectangle 79">
            <a:hlinkClick r:id="rId5" action="ppaction://hlinksldjump"/>
            <a:extLst>
              <a:ext uri="{FF2B5EF4-FFF2-40B4-BE49-F238E27FC236}">
                <a16:creationId xmlns:a16="http://schemas.microsoft.com/office/drawing/2014/main" id="{0080881F-AEA4-442D-917F-1DF3818B86A1}"/>
              </a:ext>
            </a:extLst>
          </p:cNvPr>
          <p:cNvSpPr/>
          <p:nvPr userDrawn="1"/>
        </p:nvSpPr>
        <p:spPr>
          <a:xfrm rot="5400000">
            <a:off x="11283961" y="2191599"/>
            <a:ext cx="349171" cy="1460557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1C276563-C7D2-4F6D-B1B2-4267813AD958}"/>
              </a:ext>
            </a:extLst>
          </p:cNvPr>
          <p:cNvSpPr/>
          <p:nvPr userDrawn="1"/>
        </p:nvSpPr>
        <p:spPr>
          <a:xfrm rot="5400000">
            <a:off x="11473096" y="2833262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3CA02637-FE53-4381-A12C-CF1C0AF00943}"/>
              </a:ext>
            </a:extLst>
          </p:cNvPr>
          <p:cNvSpPr/>
          <p:nvPr userDrawn="1"/>
        </p:nvSpPr>
        <p:spPr>
          <a:xfrm rot="5400000">
            <a:off x="11473096" y="3285790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6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8D08F48D-F031-4320-93D8-35E0F3F9D57E}"/>
              </a:ext>
            </a:extLst>
          </p:cNvPr>
          <p:cNvSpPr/>
          <p:nvPr userDrawn="1"/>
        </p:nvSpPr>
        <p:spPr>
          <a:xfrm rot="5400000">
            <a:off x="11473096" y="3738318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7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F398BF26-8474-4F60-A96A-1F2C2981AF03}"/>
              </a:ext>
            </a:extLst>
          </p:cNvPr>
          <p:cNvSpPr/>
          <p:nvPr userDrawn="1"/>
        </p:nvSpPr>
        <p:spPr>
          <a:xfrm rot="5400000">
            <a:off x="11473096" y="419084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8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9F3EC765-6674-4F9C-864F-EB2F509D0D55}"/>
              </a:ext>
            </a:extLst>
          </p:cNvPr>
          <p:cNvSpPr/>
          <p:nvPr userDrawn="1"/>
        </p:nvSpPr>
        <p:spPr>
          <a:xfrm rot="5400000">
            <a:off x="11473096" y="464337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9897006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Pilla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group of children posing for a photo&#10;&#10;Description automatically generated with medium confidence">
            <a:extLst>
              <a:ext uri="{FF2B5EF4-FFF2-40B4-BE49-F238E27FC236}">
                <a16:creationId xmlns:a16="http://schemas.microsoft.com/office/drawing/2014/main" id="{06C30DB0-BE47-493C-9152-9592CE6AB5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843403" y="0"/>
            <a:ext cx="10284321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52DACC8-F68A-4E7E-B68C-7F1399D9114E}"/>
              </a:ext>
            </a:extLst>
          </p:cNvPr>
          <p:cNvSpPr/>
          <p:nvPr userDrawn="1"/>
        </p:nvSpPr>
        <p:spPr>
          <a:xfrm>
            <a:off x="2072100" y="6705600"/>
            <a:ext cx="8044625" cy="15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800">
                <a:solidFill>
                  <a:schemeClr val="tx1"/>
                </a:solidFill>
                <a:ea typeface="MS PGothic" pitchFamily="34" charset="-128"/>
              </a:rPr>
              <a:t>Pfizer Confidential – Internal Use Only, Not for Further Distribution</a:t>
            </a:r>
            <a:endParaRPr lang="en-US" sz="800">
              <a:solidFill>
                <a:schemeClr val="tx1"/>
              </a:solidFill>
              <a:ea typeface="MS PGothic" pitchFamily="34" charset="-128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C514C5-2143-4E16-837F-CF028230C903}"/>
              </a:ext>
            </a:extLst>
          </p:cNvPr>
          <p:cNvSpPr/>
          <p:nvPr userDrawn="1"/>
        </p:nvSpPr>
        <p:spPr>
          <a:xfrm>
            <a:off x="0" y="0"/>
            <a:ext cx="2011157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E1FD921-B9B9-4E01-8593-A27B37592D89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27281B-F7F1-4E3B-B238-0D64683B763A}"/>
              </a:ext>
            </a:extLst>
          </p:cNvPr>
          <p:cNvSpPr/>
          <p:nvPr userDrawn="1"/>
        </p:nvSpPr>
        <p:spPr>
          <a:xfrm>
            <a:off x="1897132" y="0"/>
            <a:ext cx="138452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3941344-CBA3-46F5-9801-595985401D8A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D2612D66-723A-4927-9CE6-16C13A003646}"/>
              </a:ext>
            </a:extLst>
          </p:cNvPr>
          <p:cNvSpPr/>
          <p:nvPr/>
        </p:nvSpPr>
        <p:spPr>
          <a:xfrm>
            <a:off x="0" y="141677"/>
            <a:ext cx="324007" cy="6853150"/>
          </a:xfrm>
          <a:custGeom>
            <a:avLst/>
            <a:gdLst>
              <a:gd name="connsiteX0" fmla="*/ 0 w 324091"/>
              <a:gd name="connsiteY0" fmla="*/ 6807430 h 6853150"/>
              <a:gd name="connsiteX1" fmla="*/ 81776 w 324091"/>
              <a:gd name="connsiteY1" fmla="*/ 6807430 h 6853150"/>
              <a:gd name="connsiteX2" fmla="*/ 104636 w 324091"/>
              <a:gd name="connsiteY2" fmla="*/ 6830290 h 6853150"/>
              <a:gd name="connsiteX3" fmla="*/ 104635 w 324091"/>
              <a:gd name="connsiteY3" fmla="*/ 6830290 h 6853150"/>
              <a:gd name="connsiteX4" fmla="*/ 81775 w 324091"/>
              <a:gd name="connsiteY4" fmla="*/ 6853150 h 6853150"/>
              <a:gd name="connsiteX5" fmla="*/ 0 w 324091"/>
              <a:gd name="connsiteY5" fmla="*/ 6853150 h 6853150"/>
              <a:gd name="connsiteX6" fmla="*/ 0 w 324091"/>
              <a:gd name="connsiteY6" fmla="*/ 6653902 h 6853150"/>
              <a:gd name="connsiteX7" fmla="*/ 173216 w 324091"/>
              <a:gd name="connsiteY7" fmla="*/ 6653902 h 6853150"/>
              <a:gd name="connsiteX8" fmla="*/ 196076 w 324091"/>
              <a:gd name="connsiteY8" fmla="*/ 6676762 h 6853150"/>
              <a:gd name="connsiteX9" fmla="*/ 196075 w 324091"/>
              <a:gd name="connsiteY9" fmla="*/ 6676762 h 6853150"/>
              <a:gd name="connsiteX10" fmla="*/ 173215 w 324091"/>
              <a:gd name="connsiteY10" fmla="*/ 6699622 h 6853150"/>
              <a:gd name="connsiteX11" fmla="*/ 0 w 324091"/>
              <a:gd name="connsiteY11" fmla="*/ 6699622 h 6853150"/>
              <a:gd name="connsiteX12" fmla="*/ 0 w 324091"/>
              <a:gd name="connsiteY12" fmla="*/ 6500374 h 6853150"/>
              <a:gd name="connsiteX13" fmla="*/ 81776 w 324091"/>
              <a:gd name="connsiteY13" fmla="*/ 6500374 h 6853150"/>
              <a:gd name="connsiteX14" fmla="*/ 104636 w 324091"/>
              <a:gd name="connsiteY14" fmla="*/ 6523234 h 6853150"/>
              <a:gd name="connsiteX15" fmla="*/ 104635 w 324091"/>
              <a:gd name="connsiteY15" fmla="*/ 6523234 h 6853150"/>
              <a:gd name="connsiteX16" fmla="*/ 81775 w 324091"/>
              <a:gd name="connsiteY16" fmla="*/ 6546094 h 6853150"/>
              <a:gd name="connsiteX17" fmla="*/ 0 w 324091"/>
              <a:gd name="connsiteY17" fmla="*/ 6546094 h 6853150"/>
              <a:gd name="connsiteX18" fmla="*/ 0 w 324091"/>
              <a:gd name="connsiteY18" fmla="*/ 6302591 h 6853150"/>
              <a:gd name="connsiteX19" fmla="*/ 279104 w 324091"/>
              <a:gd name="connsiteY19" fmla="*/ 6302591 h 6853150"/>
              <a:gd name="connsiteX20" fmla="*/ 324091 w 324091"/>
              <a:gd name="connsiteY20" fmla="*/ 6347578 h 6853150"/>
              <a:gd name="connsiteX21" fmla="*/ 279104 w 324091"/>
              <a:gd name="connsiteY21" fmla="*/ 6392565 h 6853150"/>
              <a:gd name="connsiteX22" fmla="*/ 0 w 324091"/>
              <a:gd name="connsiteY22" fmla="*/ 6392565 h 6853150"/>
              <a:gd name="connsiteX23" fmla="*/ 0 w 324091"/>
              <a:gd name="connsiteY23" fmla="*/ 6124755 h 6853150"/>
              <a:gd name="connsiteX24" fmla="*/ 81776 w 324091"/>
              <a:gd name="connsiteY24" fmla="*/ 6124755 h 6853150"/>
              <a:gd name="connsiteX25" fmla="*/ 104636 w 324091"/>
              <a:gd name="connsiteY25" fmla="*/ 6147615 h 6853150"/>
              <a:gd name="connsiteX26" fmla="*/ 104635 w 324091"/>
              <a:gd name="connsiteY26" fmla="*/ 6147615 h 6853150"/>
              <a:gd name="connsiteX27" fmla="*/ 81775 w 324091"/>
              <a:gd name="connsiteY27" fmla="*/ 6170475 h 6853150"/>
              <a:gd name="connsiteX28" fmla="*/ 0 w 324091"/>
              <a:gd name="connsiteY28" fmla="*/ 6170475 h 6853150"/>
              <a:gd name="connsiteX29" fmla="*/ 0 w 324091"/>
              <a:gd name="connsiteY29" fmla="*/ 5971227 h 6853150"/>
              <a:gd name="connsiteX30" fmla="*/ 173216 w 324091"/>
              <a:gd name="connsiteY30" fmla="*/ 5971227 h 6853150"/>
              <a:gd name="connsiteX31" fmla="*/ 196076 w 324091"/>
              <a:gd name="connsiteY31" fmla="*/ 5994087 h 6853150"/>
              <a:gd name="connsiteX32" fmla="*/ 196075 w 324091"/>
              <a:gd name="connsiteY32" fmla="*/ 5994087 h 6853150"/>
              <a:gd name="connsiteX33" fmla="*/ 173215 w 324091"/>
              <a:gd name="connsiteY33" fmla="*/ 6016947 h 6853150"/>
              <a:gd name="connsiteX34" fmla="*/ 0 w 324091"/>
              <a:gd name="connsiteY34" fmla="*/ 6016947 h 6853150"/>
              <a:gd name="connsiteX35" fmla="*/ 0 w 324091"/>
              <a:gd name="connsiteY35" fmla="*/ 5817699 h 6853150"/>
              <a:gd name="connsiteX36" fmla="*/ 81776 w 324091"/>
              <a:gd name="connsiteY36" fmla="*/ 5817699 h 6853150"/>
              <a:gd name="connsiteX37" fmla="*/ 104636 w 324091"/>
              <a:gd name="connsiteY37" fmla="*/ 5840559 h 6853150"/>
              <a:gd name="connsiteX38" fmla="*/ 104635 w 324091"/>
              <a:gd name="connsiteY38" fmla="*/ 5840559 h 6853150"/>
              <a:gd name="connsiteX39" fmla="*/ 81775 w 324091"/>
              <a:gd name="connsiteY39" fmla="*/ 5863419 h 6853150"/>
              <a:gd name="connsiteX40" fmla="*/ 0 w 324091"/>
              <a:gd name="connsiteY40" fmla="*/ 5863419 h 6853150"/>
              <a:gd name="connsiteX41" fmla="*/ 0 w 324091"/>
              <a:gd name="connsiteY41" fmla="*/ 5619916 h 6853150"/>
              <a:gd name="connsiteX42" fmla="*/ 279104 w 324091"/>
              <a:gd name="connsiteY42" fmla="*/ 5619916 h 6853150"/>
              <a:gd name="connsiteX43" fmla="*/ 324091 w 324091"/>
              <a:gd name="connsiteY43" fmla="*/ 5664903 h 6853150"/>
              <a:gd name="connsiteX44" fmla="*/ 279104 w 324091"/>
              <a:gd name="connsiteY44" fmla="*/ 5709890 h 6853150"/>
              <a:gd name="connsiteX45" fmla="*/ 0 w 324091"/>
              <a:gd name="connsiteY45" fmla="*/ 5709890 h 6853150"/>
              <a:gd name="connsiteX46" fmla="*/ 0 w 324091"/>
              <a:gd name="connsiteY46" fmla="*/ 5442077 h 6853150"/>
              <a:gd name="connsiteX47" fmla="*/ 81776 w 324091"/>
              <a:gd name="connsiteY47" fmla="*/ 5442077 h 6853150"/>
              <a:gd name="connsiteX48" fmla="*/ 104636 w 324091"/>
              <a:gd name="connsiteY48" fmla="*/ 5464937 h 6853150"/>
              <a:gd name="connsiteX49" fmla="*/ 104635 w 324091"/>
              <a:gd name="connsiteY49" fmla="*/ 5464937 h 6853150"/>
              <a:gd name="connsiteX50" fmla="*/ 81775 w 324091"/>
              <a:gd name="connsiteY50" fmla="*/ 5487797 h 6853150"/>
              <a:gd name="connsiteX51" fmla="*/ 0 w 324091"/>
              <a:gd name="connsiteY51" fmla="*/ 5487797 h 6853150"/>
              <a:gd name="connsiteX52" fmla="*/ 0 w 324091"/>
              <a:gd name="connsiteY52" fmla="*/ 5288549 h 6853150"/>
              <a:gd name="connsiteX53" fmla="*/ 173216 w 324091"/>
              <a:gd name="connsiteY53" fmla="*/ 5288549 h 6853150"/>
              <a:gd name="connsiteX54" fmla="*/ 196076 w 324091"/>
              <a:gd name="connsiteY54" fmla="*/ 5311409 h 6853150"/>
              <a:gd name="connsiteX55" fmla="*/ 196075 w 324091"/>
              <a:gd name="connsiteY55" fmla="*/ 5311409 h 6853150"/>
              <a:gd name="connsiteX56" fmla="*/ 173215 w 324091"/>
              <a:gd name="connsiteY56" fmla="*/ 5334269 h 6853150"/>
              <a:gd name="connsiteX57" fmla="*/ 0 w 324091"/>
              <a:gd name="connsiteY57" fmla="*/ 5334269 h 6853150"/>
              <a:gd name="connsiteX58" fmla="*/ 0 w 324091"/>
              <a:gd name="connsiteY58" fmla="*/ 5135021 h 6853150"/>
              <a:gd name="connsiteX59" fmla="*/ 81776 w 324091"/>
              <a:gd name="connsiteY59" fmla="*/ 5135021 h 6853150"/>
              <a:gd name="connsiteX60" fmla="*/ 104636 w 324091"/>
              <a:gd name="connsiteY60" fmla="*/ 5157881 h 6853150"/>
              <a:gd name="connsiteX61" fmla="*/ 104635 w 324091"/>
              <a:gd name="connsiteY61" fmla="*/ 5157881 h 6853150"/>
              <a:gd name="connsiteX62" fmla="*/ 81775 w 324091"/>
              <a:gd name="connsiteY62" fmla="*/ 5180741 h 6853150"/>
              <a:gd name="connsiteX63" fmla="*/ 0 w 324091"/>
              <a:gd name="connsiteY63" fmla="*/ 5180741 h 6853150"/>
              <a:gd name="connsiteX64" fmla="*/ 0 w 324091"/>
              <a:gd name="connsiteY64" fmla="*/ 4937238 h 6853150"/>
              <a:gd name="connsiteX65" fmla="*/ 279104 w 324091"/>
              <a:gd name="connsiteY65" fmla="*/ 4937238 h 6853150"/>
              <a:gd name="connsiteX66" fmla="*/ 324091 w 324091"/>
              <a:gd name="connsiteY66" fmla="*/ 4982225 h 6853150"/>
              <a:gd name="connsiteX67" fmla="*/ 279104 w 324091"/>
              <a:gd name="connsiteY67" fmla="*/ 5027212 h 6853150"/>
              <a:gd name="connsiteX68" fmla="*/ 0 w 324091"/>
              <a:gd name="connsiteY68" fmla="*/ 5027212 h 6853150"/>
              <a:gd name="connsiteX69" fmla="*/ 0 w 324091"/>
              <a:gd name="connsiteY69" fmla="*/ 4759399 h 6853150"/>
              <a:gd name="connsiteX70" fmla="*/ 81776 w 324091"/>
              <a:gd name="connsiteY70" fmla="*/ 4759399 h 6853150"/>
              <a:gd name="connsiteX71" fmla="*/ 104636 w 324091"/>
              <a:gd name="connsiteY71" fmla="*/ 4782259 h 6853150"/>
              <a:gd name="connsiteX72" fmla="*/ 104635 w 324091"/>
              <a:gd name="connsiteY72" fmla="*/ 4782259 h 6853150"/>
              <a:gd name="connsiteX73" fmla="*/ 81775 w 324091"/>
              <a:gd name="connsiteY73" fmla="*/ 4805119 h 6853150"/>
              <a:gd name="connsiteX74" fmla="*/ 0 w 324091"/>
              <a:gd name="connsiteY74" fmla="*/ 4805119 h 6853150"/>
              <a:gd name="connsiteX75" fmla="*/ 0 w 324091"/>
              <a:gd name="connsiteY75" fmla="*/ 4605871 h 6853150"/>
              <a:gd name="connsiteX76" fmla="*/ 173216 w 324091"/>
              <a:gd name="connsiteY76" fmla="*/ 4605871 h 6853150"/>
              <a:gd name="connsiteX77" fmla="*/ 196076 w 324091"/>
              <a:gd name="connsiteY77" fmla="*/ 4628731 h 6853150"/>
              <a:gd name="connsiteX78" fmla="*/ 196075 w 324091"/>
              <a:gd name="connsiteY78" fmla="*/ 4628731 h 6853150"/>
              <a:gd name="connsiteX79" fmla="*/ 173215 w 324091"/>
              <a:gd name="connsiteY79" fmla="*/ 4651591 h 6853150"/>
              <a:gd name="connsiteX80" fmla="*/ 0 w 324091"/>
              <a:gd name="connsiteY80" fmla="*/ 4651591 h 6853150"/>
              <a:gd name="connsiteX81" fmla="*/ 0 w 324091"/>
              <a:gd name="connsiteY81" fmla="*/ 4452343 h 6853150"/>
              <a:gd name="connsiteX82" fmla="*/ 81776 w 324091"/>
              <a:gd name="connsiteY82" fmla="*/ 4452343 h 6853150"/>
              <a:gd name="connsiteX83" fmla="*/ 104636 w 324091"/>
              <a:gd name="connsiteY83" fmla="*/ 4475203 h 6853150"/>
              <a:gd name="connsiteX84" fmla="*/ 104635 w 324091"/>
              <a:gd name="connsiteY84" fmla="*/ 4475203 h 6853150"/>
              <a:gd name="connsiteX85" fmla="*/ 81775 w 324091"/>
              <a:gd name="connsiteY85" fmla="*/ 4498063 h 6853150"/>
              <a:gd name="connsiteX86" fmla="*/ 0 w 324091"/>
              <a:gd name="connsiteY86" fmla="*/ 4498063 h 6853150"/>
              <a:gd name="connsiteX87" fmla="*/ 0 w 324091"/>
              <a:gd name="connsiteY87" fmla="*/ 4254560 h 6853150"/>
              <a:gd name="connsiteX88" fmla="*/ 279104 w 324091"/>
              <a:gd name="connsiteY88" fmla="*/ 4254560 h 6853150"/>
              <a:gd name="connsiteX89" fmla="*/ 324091 w 324091"/>
              <a:gd name="connsiteY89" fmla="*/ 4299547 h 6853150"/>
              <a:gd name="connsiteX90" fmla="*/ 279104 w 324091"/>
              <a:gd name="connsiteY90" fmla="*/ 4344534 h 6853150"/>
              <a:gd name="connsiteX91" fmla="*/ 0 w 324091"/>
              <a:gd name="connsiteY91" fmla="*/ 4344534 h 6853150"/>
              <a:gd name="connsiteX92" fmla="*/ 0 w 324091"/>
              <a:gd name="connsiteY92" fmla="*/ 4076721 h 6853150"/>
              <a:gd name="connsiteX93" fmla="*/ 81776 w 324091"/>
              <a:gd name="connsiteY93" fmla="*/ 4076721 h 6853150"/>
              <a:gd name="connsiteX94" fmla="*/ 104636 w 324091"/>
              <a:gd name="connsiteY94" fmla="*/ 4099581 h 6853150"/>
              <a:gd name="connsiteX95" fmla="*/ 104635 w 324091"/>
              <a:gd name="connsiteY95" fmla="*/ 4099581 h 6853150"/>
              <a:gd name="connsiteX96" fmla="*/ 81775 w 324091"/>
              <a:gd name="connsiteY96" fmla="*/ 4122441 h 6853150"/>
              <a:gd name="connsiteX97" fmla="*/ 0 w 324091"/>
              <a:gd name="connsiteY97" fmla="*/ 4122441 h 6853150"/>
              <a:gd name="connsiteX98" fmla="*/ 0 w 324091"/>
              <a:gd name="connsiteY98" fmla="*/ 3923193 h 6853150"/>
              <a:gd name="connsiteX99" fmla="*/ 173216 w 324091"/>
              <a:gd name="connsiteY99" fmla="*/ 3923193 h 6853150"/>
              <a:gd name="connsiteX100" fmla="*/ 196076 w 324091"/>
              <a:gd name="connsiteY100" fmla="*/ 3946053 h 6853150"/>
              <a:gd name="connsiteX101" fmla="*/ 196075 w 324091"/>
              <a:gd name="connsiteY101" fmla="*/ 3946053 h 6853150"/>
              <a:gd name="connsiteX102" fmla="*/ 173215 w 324091"/>
              <a:gd name="connsiteY102" fmla="*/ 3968913 h 6853150"/>
              <a:gd name="connsiteX103" fmla="*/ 0 w 324091"/>
              <a:gd name="connsiteY103" fmla="*/ 3968913 h 6853150"/>
              <a:gd name="connsiteX104" fmla="*/ 0 w 324091"/>
              <a:gd name="connsiteY104" fmla="*/ 3769665 h 6853150"/>
              <a:gd name="connsiteX105" fmla="*/ 81776 w 324091"/>
              <a:gd name="connsiteY105" fmla="*/ 3769665 h 6853150"/>
              <a:gd name="connsiteX106" fmla="*/ 104636 w 324091"/>
              <a:gd name="connsiteY106" fmla="*/ 3792525 h 6853150"/>
              <a:gd name="connsiteX107" fmla="*/ 104635 w 324091"/>
              <a:gd name="connsiteY107" fmla="*/ 3792525 h 6853150"/>
              <a:gd name="connsiteX108" fmla="*/ 81775 w 324091"/>
              <a:gd name="connsiteY108" fmla="*/ 3815385 h 6853150"/>
              <a:gd name="connsiteX109" fmla="*/ 0 w 324091"/>
              <a:gd name="connsiteY109" fmla="*/ 3815385 h 6853150"/>
              <a:gd name="connsiteX110" fmla="*/ 0 w 324091"/>
              <a:gd name="connsiteY110" fmla="*/ 3571882 h 6853150"/>
              <a:gd name="connsiteX111" fmla="*/ 279104 w 324091"/>
              <a:gd name="connsiteY111" fmla="*/ 3571882 h 6853150"/>
              <a:gd name="connsiteX112" fmla="*/ 324091 w 324091"/>
              <a:gd name="connsiteY112" fmla="*/ 3616869 h 6853150"/>
              <a:gd name="connsiteX113" fmla="*/ 279104 w 324091"/>
              <a:gd name="connsiteY113" fmla="*/ 3661856 h 6853150"/>
              <a:gd name="connsiteX114" fmla="*/ 0 w 324091"/>
              <a:gd name="connsiteY114" fmla="*/ 3661856 h 6853150"/>
              <a:gd name="connsiteX115" fmla="*/ 0 w 324091"/>
              <a:gd name="connsiteY115" fmla="*/ 3394043 h 6853150"/>
              <a:gd name="connsiteX116" fmla="*/ 81776 w 324091"/>
              <a:gd name="connsiteY116" fmla="*/ 3394043 h 6853150"/>
              <a:gd name="connsiteX117" fmla="*/ 104636 w 324091"/>
              <a:gd name="connsiteY117" fmla="*/ 3416905 h 6853150"/>
              <a:gd name="connsiteX118" fmla="*/ 104635 w 324091"/>
              <a:gd name="connsiteY118" fmla="*/ 3416905 h 6853150"/>
              <a:gd name="connsiteX119" fmla="*/ 81775 w 324091"/>
              <a:gd name="connsiteY119" fmla="*/ 3439763 h 6853150"/>
              <a:gd name="connsiteX120" fmla="*/ 0 w 324091"/>
              <a:gd name="connsiteY120" fmla="*/ 3439763 h 6853150"/>
              <a:gd name="connsiteX121" fmla="*/ 0 w 324091"/>
              <a:gd name="connsiteY121" fmla="*/ 3240516 h 6853150"/>
              <a:gd name="connsiteX122" fmla="*/ 173216 w 324091"/>
              <a:gd name="connsiteY122" fmla="*/ 3240516 h 6853150"/>
              <a:gd name="connsiteX123" fmla="*/ 196076 w 324091"/>
              <a:gd name="connsiteY123" fmla="*/ 3263376 h 6853150"/>
              <a:gd name="connsiteX124" fmla="*/ 196075 w 324091"/>
              <a:gd name="connsiteY124" fmla="*/ 3263376 h 6853150"/>
              <a:gd name="connsiteX125" fmla="*/ 173215 w 324091"/>
              <a:gd name="connsiteY125" fmla="*/ 3286236 h 6853150"/>
              <a:gd name="connsiteX126" fmla="*/ 0 w 324091"/>
              <a:gd name="connsiteY126" fmla="*/ 3286236 h 6853150"/>
              <a:gd name="connsiteX127" fmla="*/ 0 w 324091"/>
              <a:gd name="connsiteY127" fmla="*/ 3086989 h 6853150"/>
              <a:gd name="connsiteX128" fmla="*/ 81776 w 324091"/>
              <a:gd name="connsiteY128" fmla="*/ 3086989 h 6853150"/>
              <a:gd name="connsiteX129" fmla="*/ 104636 w 324091"/>
              <a:gd name="connsiteY129" fmla="*/ 3109849 h 6853150"/>
              <a:gd name="connsiteX130" fmla="*/ 104635 w 324091"/>
              <a:gd name="connsiteY130" fmla="*/ 3109849 h 6853150"/>
              <a:gd name="connsiteX131" fmla="*/ 81775 w 324091"/>
              <a:gd name="connsiteY131" fmla="*/ 3132709 h 6853150"/>
              <a:gd name="connsiteX132" fmla="*/ 0 w 324091"/>
              <a:gd name="connsiteY132" fmla="*/ 3132709 h 6853150"/>
              <a:gd name="connsiteX133" fmla="*/ 0 w 324091"/>
              <a:gd name="connsiteY133" fmla="*/ 2889206 h 6853150"/>
              <a:gd name="connsiteX134" fmla="*/ 279104 w 324091"/>
              <a:gd name="connsiteY134" fmla="*/ 2889206 h 6853150"/>
              <a:gd name="connsiteX135" fmla="*/ 324091 w 324091"/>
              <a:gd name="connsiteY135" fmla="*/ 2934194 h 6853150"/>
              <a:gd name="connsiteX136" fmla="*/ 279104 w 324091"/>
              <a:gd name="connsiteY136" fmla="*/ 2979180 h 6853150"/>
              <a:gd name="connsiteX137" fmla="*/ 0 w 324091"/>
              <a:gd name="connsiteY137" fmla="*/ 2979180 h 6853150"/>
              <a:gd name="connsiteX138" fmla="*/ 0 w 324091"/>
              <a:gd name="connsiteY138" fmla="*/ 2711367 h 6853150"/>
              <a:gd name="connsiteX139" fmla="*/ 81776 w 324091"/>
              <a:gd name="connsiteY139" fmla="*/ 2711367 h 6853150"/>
              <a:gd name="connsiteX140" fmla="*/ 104636 w 324091"/>
              <a:gd name="connsiteY140" fmla="*/ 2734227 h 6853150"/>
              <a:gd name="connsiteX141" fmla="*/ 104635 w 324091"/>
              <a:gd name="connsiteY141" fmla="*/ 2734227 h 6853150"/>
              <a:gd name="connsiteX142" fmla="*/ 81775 w 324091"/>
              <a:gd name="connsiteY142" fmla="*/ 2757087 h 6853150"/>
              <a:gd name="connsiteX143" fmla="*/ 0 w 324091"/>
              <a:gd name="connsiteY143" fmla="*/ 2757087 h 6853150"/>
              <a:gd name="connsiteX144" fmla="*/ 0 w 324091"/>
              <a:gd name="connsiteY144" fmla="*/ 2557839 h 6853150"/>
              <a:gd name="connsiteX145" fmla="*/ 173216 w 324091"/>
              <a:gd name="connsiteY145" fmla="*/ 2557839 h 6853150"/>
              <a:gd name="connsiteX146" fmla="*/ 196076 w 324091"/>
              <a:gd name="connsiteY146" fmla="*/ 2580699 h 6853150"/>
              <a:gd name="connsiteX147" fmla="*/ 196075 w 324091"/>
              <a:gd name="connsiteY147" fmla="*/ 2580699 h 6853150"/>
              <a:gd name="connsiteX148" fmla="*/ 173215 w 324091"/>
              <a:gd name="connsiteY148" fmla="*/ 2603559 h 6853150"/>
              <a:gd name="connsiteX149" fmla="*/ 0 w 324091"/>
              <a:gd name="connsiteY149" fmla="*/ 2603559 h 6853150"/>
              <a:gd name="connsiteX150" fmla="*/ 0 w 324091"/>
              <a:gd name="connsiteY150" fmla="*/ 2404312 h 6853150"/>
              <a:gd name="connsiteX151" fmla="*/ 81776 w 324091"/>
              <a:gd name="connsiteY151" fmla="*/ 2404312 h 6853150"/>
              <a:gd name="connsiteX152" fmla="*/ 104636 w 324091"/>
              <a:gd name="connsiteY152" fmla="*/ 2427171 h 6853150"/>
              <a:gd name="connsiteX153" fmla="*/ 104635 w 324091"/>
              <a:gd name="connsiteY153" fmla="*/ 2427171 h 6853150"/>
              <a:gd name="connsiteX154" fmla="*/ 81775 w 324091"/>
              <a:gd name="connsiteY154" fmla="*/ 2450032 h 6853150"/>
              <a:gd name="connsiteX155" fmla="*/ 0 w 324091"/>
              <a:gd name="connsiteY155" fmla="*/ 2450032 h 6853150"/>
              <a:gd name="connsiteX156" fmla="*/ 0 w 324091"/>
              <a:gd name="connsiteY156" fmla="*/ 2206528 h 6853150"/>
              <a:gd name="connsiteX157" fmla="*/ 279104 w 324091"/>
              <a:gd name="connsiteY157" fmla="*/ 2206528 h 6853150"/>
              <a:gd name="connsiteX158" fmla="*/ 324091 w 324091"/>
              <a:gd name="connsiteY158" fmla="*/ 2251515 h 6853150"/>
              <a:gd name="connsiteX159" fmla="*/ 279104 w 324091"/>
              <a:gd name="connsiteY159" fmla="*/ 2296503 h 6853150"/>
              <a:gd name="connsiteX160" fmla="*/ 0 w 324091"/>
              <a:gd name="connsiteY160" fmla="*/ 2296503 h 6853150"/>
              <a:gd name="connsiteX161" fmla="*/ 0 w 324091"/>
              <a:gd name="connsiteY161" fmla="*/ 2028689 h 6853150"/>
              <a:gd name="connsiteX162" fmla="*/ 81776 w 324091"/>
              <a:gd name="connsiteY162" fmla="*/ 2028689 h 6853150"/>
              <a:gd name="connsiteX163" fmla="*/ 104636 w 324091"/>
              <a:gd name="connsiteY163" fmla="*/ 2051550 h 6853150"/>
              <a:gd name="connsiteX164" fmla="*/ 104635 w 324091"/>
              <a:gd name="connsiteY164" fmla="*/ 2051550 h 6853150"/>
              <a:gd name="connsiteX165" fmla="*/ 81775 w 324091"/>
              <a:gd name="connsiteY165" fmla="*/ 2074409 h 6853150"/>
              <a:gd name="connsiteX166" fmla="*/ 0 w 324091"/>
              <a:gd name="connsiteY166" fmla="*/ 2074409 h 6853150"/>
              <a:gd name="connsiteX167" fmla="*/ 0 w 324091"/>
              <a:gd name="connsiteY167" fmla="*/ 1875162 h 6853150"/>
              <a:gd name="connsiteX168" fmla="*/ 173216 w 324091"/>
              <a:gd name="connsiteY168" fmla="*/ 1875162 h 6853150"/>
              <a:gd name="connsiteX169" fmla="*/ 196076 w 324091"/>
              <a:gd name="connsiteY169" fmla="*/ 1898022 h 6853150"/>
              <a:gd name="connsiteX170" fmla="*/ 196075 w 324091"/>
              <a:gd name="connsiteY170" fmla="*/ 1898022 h 6853150"/>
              <a:gd name="connsiteX171" fmla="*/ 173215 w 324091"/>
              <a:gd name="connsiteY171" fmla="*/ 1920882 h 6853150"/>
              <a:gd name="connsiteX172" fmla="*/ 0 w 324091"/>
              <a:gd name="connsiteY172" fmla="*/ 1920882 h 6853150"/>
              <a:gd name="connsiteX173" fmla="*/ 0 w 324091"/>
              <a:gd name="connsiteY173" fmla="*/ 1721635 h 6853150"/>
              <a:gd name="connsiteX174" fmla="*/ 81776 w 324091"/>
              <a:gd name="connsiteY174" fmla="*/ 1721635 h 6853150"/>
              <a:gd name="connsiteX175" fmla="*/ 104636 w 324091"/>
              <a:gd name="connsiteY175" fmla="*/ 1744495 h 6853150"/>
              <a:gd name="connsiteX176" fmla="*/ 104635 w 324091"/>
              <a:gd name="connsiteY176" fmla="*/ 1744495 h 6853150"/>
              <a:gd name="connsiteX177" fmla="*/ 81775 w 324091"/>
              <a:gd name="connsiteY177" fmla="*/ 1767355 h 6853150"/>
              <a:gd name="connsiteX178" fmla="*/ 0 w 324091"/>
              <a:gd name="connsiteY178" fmla="*/ 1767355 h 6853150"/>
              <a:gd name="connsiteX179" fmla="*/ 0 w 324091"/>
              <a:gd name="connsiteY179" fmla="*/ 1523851 h 6853150"/>
              <a:gd name="connsiteX180" fmla="*/ 279104 w 324091"/>
              <a:gd name="connsiteY180" fmla="*/ 1523851 h 6853150"/>
              <a:gd name="connsiteX181" fmla="*/ 324091 w 324091"/>
              <a:gd name="connsiteY181" fmla="*/ 1568838 h 6853150"/>
              <a:gd name="connsiteX182" fmla="*/ 279104 w 324091"/>
              <a:gd name="connsiteY182" fmla="*/ 1613826 h 6853150"/>
              <a:gd name="connsiteX183" fmla="*/ 0 w 324091"/>
              <a:gd name="connsiteY183" fmla="*/ 1613826 h 6853150"/>
              <a:gd name="connsiteX184" fmla="*/ 0 w 324091"/>
              <a:gd name="connsiteY184" fmla="*/ 1346012 h 6853150"/>
              <a:gd name="connsiteX185" fmla="*/ 81776 w 324091"/>
              <a:gd name="connsiteY185" fmla="*/ 1346012 h 6853150"/>
              <a:gd name="connsiteX186" fmla="*/ 104636 w 324091"/>
              <a:gd name="connsiteY186" fmla="*/ 1368872 h 6853150"/>
              <a:gd name="connsiteX187" fmla="*/ 104635 w 324091"/>
              <a:gd name="connsiteY187" fmla="*/ 1368872 h 6853150"/>
              <a:gd name="connsiteX188" fmla="*/ 81775 w 324091"/>
              <a:gd name="connsiteY188" fmla="*/ 1391732 h 6853150"/>
              <a:gd name="connsiteX189" fmla="*/ 0 w 324091"/>
              <a:gd name="connsiteY189" fmla="*/ 1391732 h 6853150"/>
              <a:gd name="connsiteX190" fmla="*/ 0 w 324091"/>
              <a:gd name="connsiteY190" fmla="*/ 1192484 h 6853150"/>
              <a:gd name="connsiteX191" fmla="*/ 173216 w 324091"/>
              <a:gd name="connsiteY191" fmla="*/ 1192484 h 6853150"/>
              <a:gd name="connsiteX192" fmla="*/ 196076 w 324091"/>
              <a:gd name="connsiteY192" fmla="*/ 1215344 h 6853150"/>
              <a:gd name="connsiteX193" fmla="*/ 196075 w 324091"/>
              <a:gd name="connsiteY193" fmla="*/ 1215344 h 6853150"/>
              <a:gd name="connsiteX194" fmla="*/ 173215 w 324091"/>
              <a:gd name="connsiteY194" fmla="*/ 1238205 h 6853150"/>
              <a:gd name="connsiteX195" fmla="*/ 0 w 324091"/>
              <a:gd name="connsiteY195" fmla="*/ 1238205 h 6853150"/>
              <a:gd name="connsiteX196" fmla="*/ 0 w 324091"/>
              <a:gd name="connsiteY196" fmla="*/ 1038956 h 6853150"/>
              <a:gd name="connsiteX197" fmla="*/ 81776 w 324091"/>
              <a:gd name="connsiteY197" fmla="*/ 1038956 h 6853150"/>
              <a:gd name="connsiteX198" fmla="*/ 104636 w 324091"/>
              <a:gd name="connsiteY198" fmla="*/ 1061817 h 6853150"/>
              <a:gd name="connsiteX199" fmla="*/ 104635 w 324091"/>
              <a:gd name="connsiteY199" fmla="*/ 1061817 h 6853150"/>
              <a:gd name="connsiteX200" fmla="*/ 81775 w 324091"/>
              <a:gd name="connsiteY200" fmla="*/ 1084677 h 6853150"/>
              <a:gd name="connsiteX201" fmla="*/ 0 w 324091"/>
              <a:gd name="connsiteY201" fmla="*/ 1084677 h 6853150"/>
              <a:gd name="connsiteX202" fmla="*/ 0 w 324091"/>
              <a:gd name="connsiteY202" fmla="*/ 841173 h 6853150"/>
              <a:gd name="connsiteX203" fmla="*/ 279104 w 324091"/>
              <a:gd name="connsiteY203" fmla="*/ 841173 h 6853150"/>
              <a:gd name="connsiteX204" fmla="*/ 324091 w 324091"/>
              <a:gd name="connsiteY204" fmla="*/ 886160 h 6853150"/>
              <a:gd name="connsiteX205" fmla="*/ 279104 w 324091"/>
              <a:gd name="connsiteY205" fmla="*/ 931147 h 6853150"/>
              <a:gd name="connsiteX206" fmla="*/ 0 w 324091"/>
              <a:gd name="connsiteY206" fmla="*/ 931147 h 6853150"/>
              <a:gd name="connsiteX207" fmla="*/ 0 w 324091"/>
              <a:gd name="connsiteY207" fmla="*/ 663334 h 6853150"/>
              <a:gd name="connsiteX208" fmla="*/ 81776 w 324091"/>
              <a:gd name="connsiteY208" fmla="*/ 663334 h 6853150"/>
              <a:gd name="connsiteX209" fmla="*/ 104636 w 324091"/>
              <a:gd name="connsiteY209" fmla="*/ 686194 h 6853150"/>
              <a:gd name="connsiteX210" fmla="*/ 104635 w 324091"/>
              <a:gd name="connsiteY210" fmla="*/ 686194 h 6853150"/>
              <a:gd name="connsiteX211" fmla="*/ 81775 w 324091"/>
              <a:gd name="connsiteY211" fmla="*/ 709054 h 6853150"/>
              <a:gd name="connsiteX212" fmla="*/ 0 w 324091"/>
              <a:gd name="connsiteY212" fmla="*/ 709054 h 6853150"/>
              <a:gd name="connsiteX213" fmla="*/ 0 w 324091"/>
              <a:gd name="connsiteY213" fmla="*/ 509806 h 6853150"/>
              <a:gd name="connsiteX214" fmla="*/ 173216 w 324091"/>
              <a:gd name="connsiteY214" fmla="*/ 509806 h 6853150"/>
              <a:gd name="connsiteX215" fmla="*/ 196076 w 324091"/>
              <a:gd name="connsiteY215" fmla="*/ 532666 h 6853150"/>
              <a:gd name="connsiteX216" fmla="*/ 196075 w 324091"/>
              <a:gd name="connsiteY216" fmla="*/ 532666 h 6853150"/>
              <a:gd name="connsiteX217" fmla="*/ 173215 w 324091"/>
              <a:gd name="connsiteY217" fmla="*/ 555526 h 6853150"/>
              <a:gd name="connsiteX218" fmla="*/ 0 w 324091"/>
              <a:gd name="connsiteY218" fmla="*/ 555526 h 6853150"/>
              <a:gd name="connsiteX219" fmla="*/ 0 w 324091"/>
              <a:gd name="connsiteY219" fmla="*/ 356279 h 6853150"/>
              <a:gd name="connsiteX220" fmla="*/ 81776 w 324091"/>
              <a:gd name="connsiteY220" fmla="*/ 356279 h 6853150"/>
              <a:gd name="connsiteX221" fmla="*/ 104636 w 324091"/>
              <a:gd name="connsiteY221" fmla="*/ 379139 h 6853150"/>
              <a:gd name="connsiteX222" fmla="*/ 104635 w 324091"/>
              <a:gd name="connsiteY222" fmla="*/ 379139 h 6853150"/>
              <a:gd name="connsiteX223" fmla="*/ 81775 w 324091"/>
              <a:gd name="connsiteY223" fmla="*/ 401999 h 6853150"/>
              <a:gd name="connsiteX224" fmla="*/ 0 w 324091"/>
              <a:gd name="connsiteY224" fmla="*/ 401999 h 6853150"/>
              <a:gd name="connsiteX225" fmla="*/ 0 w 324091"/>
              <a:gd name="connsiteY225" fmla="*/ 158496 h 6853150"/>
              <a:gd name="connsiteX226" fmla="*/ 279104 w 324091"/>
              <a:gd name="connsiteY226" fmla="*/ 158496 h 6853150"/>
              <a:gd name="connsiteX227" fmla="*/ 324091 w 324091"/>
              <a:gd name="connsiteY227" fmla="*/ 203483 h 6853150"/>
              <a:gd name="connsiteX228" fmla="*/ 279104 w 324091"/>
              <a:gd name="connsiteY228" fmla="*/ 248470 h 6853150"/>
              <a:gd name="connsiteX229" fmla="*/ 0 w 324091"/>
              <a:gd name="connsiteY229" fmla="*/ 248470 h 6853150"/>
              <a:gd name="connsiteX230" fmla="*/ 0 w 324091"/>
              <a:gd name="connsiteY230" fmla="*/ 0 h 6853150"/>
              <a:gd name="connsiteX231" fmla="*/ 81776 w 324091"/>
              <a:gd name="connsiteY231" fmla="*/ 0 h 6853150"/>
              <a:gd name="connsiteX232" fmla="*/ 104636 w 324091"/>
              <a:gd name="connsiteY232" fmla="*/ 22860 h 6853150"/>
              <a:gd name="connsiteX233" fmla="*/ 104635 w 324091"/>
              <a:gd name="connsiteY233" fmla="*/ 22860 h 6853150"/>
              <a:gd name="connsiteX234" fmla="*/ 81775 w 324091"/>
              <a:gd name="connsiteY234" fmla="*/ 45720 h 6853150"/>
              <a:gd name="connsiteX235" fmla="*/ 0 w 324091"/>
              <a:gd name="connsiteY235" fmla="*/ 45720 h 6853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</a:cxnLst>
            <a:rect l="l" t="t" r="r" b="b"/>
            <a:pathLst>
              <a:path w="324091" h="6853150">
                <a:moveTo>
                  <a:pt x="0" y="6807430"/>
                </a:moveTo>
                <a:lnTo>
                  <a:pt x="81776" y="6807430"/>
                </a:lnTo>
                <a:cubicBezTo>
                  <a:pt x="94401" y="6807430"/>
                  <a:pt x="104636" y="6817665"/>
                  <a:pt x="104636" y="6830290"/>
                </a:cubicBezTo>
                <a:lnTo>
                  <a:pt x="104635" y="6830290"/>
                </a:lnTo>
                <a:cubicBezTo>
                  <a:pt x="104635" y="6842915"/>
                  <a:pt x="94400" y="6853150"/>
                  <a:pt x="81775" y="6853150"/>
                </a:cubicBezTo>
                <a:lnTo>
                  <a:pt x="0" y="6853150"/>
                </a:lnTo>
                <a:close/>
                <a:moveTo>
                  <a:pt x="0" y="6653902"/>
                </a:moveTo>
                <a:lnTo>
                  <a:pt x="173216" y="6653902"/>
                </a:lnTo>
                <a:cubicBezTo>
                  <a:pt x="185841" y="6653902"/>
                  <a:pt x="196076" y="6664137"/>
                  <a:pt x="196076" y="6676762"/>
                </a:cubicBezTo>
                <a:lnTo>
                  <a:pt x="196075" y="6676762"/>
                </a:lnTo>
                <a:cubicBezTo>
                  <a:pt x="196075" y="6689387"/>
                  <a:pt x="185840" y="6699622"/>
                  <a:pt x="173215" y="6699622"/>
                </a:cubicBezTo>
                <a:lnTo>
                  <a:pt x="0" y="6699622"/>
                </a:lnTo>
                <a:close/>
                <a:moveTo>
                  <a:pt x="0" y="6500374"/>
                </a:moveTo>
                <a:lnTo>
                  <a:pt x="81776" y="6500374"/>
                </a:lnTo>
                <a:cubicBezTo>
                  <a:pt x="94401" y="6500374"/>
                  <a:pt x="104636" y="6510609"/>
                  <a:pt x="104636" y="6523234"/>
                </a:cubicBezTo>
                <a:lnTo>
                  <a:pt x="104635" y="6523234"/>
                </a:lnTo>
                <a:cubicBezTo>
                  <a:pt x="104635" y="6535859"/>
                  <a:pt x="94400" y="6546094"/>
                  <a:pt x="81775" y="6546094"/>
                </a:cubicBezTo>
                <a:lnTo>
                  <a:pt x="0" y="6546094"/>
                </a:lnTo>
                <a:close/>
                <a:moveTo>
                  <a:pt x="0" y="6302591"/>
                </a:moveTo>
                <a:lnTo>
                  <a:pt x="279104" y="6302591"/>
                </a:lnTo>
                <a:cubicBezTo>
                  <a:pt x="303950" y="6302591"/>
                  <a:pt x="324091" y="6322732"/>
                  <a:pt x="324091" y="6347578"/>
                </a:cubicBezTo>
                <a:cubicBezTo>
                  <a:pt x="324091" y="6372424"/>
                  <a:pt x="303950" y="6392565"/>
                  <a:pt x="279104" y="6392565"/>
                </a:cubicBezTo>
                <a:lnTo>
                  <a:pt x="0" y="6392565"/>
                </a:lnTo>
                <a:close/>
                <a:moveTo>
                  <a:pt x="0" y="6124755"/>
                </a:moveTo>
                <a:lnTo>
                  <a:pt x="81776" y="6124755"/>
                </a:lnTo>
                <a:cubicBezTo>
                  <a:pt x="94401" y="6124755"/>
                  <a:pt x="104636" y="6134990"/>
                  <a:pt x="104636" y="6147615"/>
                </a:cubicBezTo>
                <a:lnTo>
                  <a:pt x="104635" y="6147615"/>
                </a:lnTo>
                <a:cubicBezTo>
                  <a:pt x="104635" y="6160240"/>
                  <a:pt x="94400" y="6170475"/>
                  <a:pt x="81775" y="6170475"/>
                </a:cubicBezTo>
                <a:lnTo>
                  <a:pt x="0" y="6170475"/>
                </a:lnTo>
                <a:close/>
                <a:moveTo>
                  <a:pt x="0" y="5971227"/>
                </a:moveTo>
                <a:lnTo>
                  <a:pt x="173216" y="5971227"/>
                </a:lnTo>
                <a:cubicBezTo>
                  <a:pt x="185841" y="5971227"/>
                  <a:pt x="196076" y="5981462"/>
                  <a:pt x="196076" y="5994087"/>
                </a:cubicBezTo>
                <a:lnTo>
                  <a:pt x="196075" y="5994087"/>
                </a:lnTo>
                <a:cubicBezTo>
                  <a:pt x="196075" y="6006712"/>
                  <a:pt x="185840" y="6016947"/>
                  <a:pt x="173215" y="6016947"/>
                </a:cubicBezTo>
                <a:lnTo>
                  <a:pt x="0" y="6016947"/>
                </a:lnTo>
                <a:close/>
                <a:moveTo>
                  <a:pt x="0" y="5817699"/>
                </a:moveTo>
                <a:lnTo>
                  <a:pt x="81776" y="5817699"/>
                </a:lnTo>
                <a:cubicBezTo>
                  <a:pt x="94401" y="5817699"/>
                  <a:pt x="104636" y="5827934"/>
                  <a:pt x="104636" y="5840559"/>
                </a:cubicBezTo>
                <a:lnTo>
                  <a:pt x="104635" y="5840559"/>
                </a:lnTo>
                <a:cubicBezTo>
                  <a:pt x="104635" y="5853184"/>
                  <a:pt x="94400" y="5863419"/>
                  <a:pt x="81775" y="5863419"/>
                </a:cubicBezTo>
                <a:lnTo>
                  <a:pt x="0" y="5863419"/>
                </a:lnTo>
                <a:close/>
                <a:moveTo>
                  <a:pt x="0" y="5619916"/>
                </a:moveTo>
                <a:lnTo>
                  <a:pt x="279104" y="5619916"/>
                </a:lnTo>
                <a:cubicBezTo>
                  <a:pt x="303950" y="5619916"/>
                  <a:pt x="324091" y="5640057"/>
                  <a:pt x="324091" y="5664903"/>
                </a:cubicBezTo>
                <a:cubicBezTo>
                  <a:pt x="324091" y="5689749"/>
                  <a:pt x="303950" y="5709890"/>
                  <a:pt x="279104" y="5709890"/>
                </a:cubicBezTo>
                <a:lnTo>
                  <a:pt x="0" y="5709890"/>
                </a:lnTo>
                <a:close/>
                <a:moveTo>
                  <a:pt x="0" y="5442077"/>
                </a:moveTo>
                <a:lnTo>
                  <a:pt x="81776" y="5442077"/>
                </a:lnTo>
                <a:cubicBezTo>
                  <a:pt x="94401" y="5442077"/>
                  <a:pt x="104636" y="5452312"/>
                  <a:pt x="104636" y="5464937"/>
                </a:cubicBezTo>
                <a:lnTo>
                  <a:pt x="104635" y="5464937"/>
                </a:lnTo>
                <a:cubicBezTo>
                  <a:pt x="104635" y="5477562"/>
                  <a:pt x="94400" y="5487797"/>
                  <a:pt x="81775" y="5487797"/>
                </a:cubicBezTo>
                <a:lnTo>
                  <a:pt x="0" y="5487797"/>
                </a:lnTo>
                <a:close/>
                <a:moveTo>
                  <a:pt x="0" y="5288549"/>
                </a:moveTo>
                <a:lnTo>
                  <a:pt x="173216" y="5288549"/>
                </a:lnTo>
                <a:cubicBezTo>
                  <a:pt x="185841" y="5288549"/>
                  <a:pt x="196076" y="5298784"/>
                  <a:pt x="196076" y="5311409"/>
                </a:cubicBezTo>
                <a:lnTo>
                  <a:pt x="196075" y="5311409"/>
                </a:lnTo>
                <a:cubicBezTo>
                  <a:pt x="196075" y="5324034"/>
                  <a:pt x="185840" y="5334269"/>
                  <a:pt x="173215" y="5334269"/>
                </a:cubicBezTo>
                <a:lnTo>
                  <a:pt x="0" y="5334269"/>
                </a:lnTo>
                <a:close/>
                <a:moveTo>
                  <a:pt x="0" y="5135021"/>
                </a:moveTo>
                <a:lnTo>
                  <a:pt x="81776" y="5135021"/>
                </a:lnTo>
                <a:cubicBezTo>
                  <a:pt x="94401" y="5135021"/>
                  <a:pt x="104636" y="5145256"/>
                  <a:pt x="104636" y="5157881"/>
                </a:cubicBezTo>
                <a:lnTo>
                  <a:pt x="104635" y="5157881"/>
                </a:lnTo>
                <a:cubicBezTo>
                  <a:pt x="104635" y="5170506"/>
                  <a:pt x="94400" y="5180741"/>
                  <a:pt x="81775" y="5180741"/>
                </a:cubicBezTo>
                <a:lnTo>
                  <a:pt x="0" y="5180741"/>
                </a:lnTo>
                <a:close/>
                <a:moveTo>
                  <a:pt x="0" y="4937238"/>
                </a:moveTo>
                <a:lnTo>
                  <a:pt x="279104" y="4937238"/>
                </a:lnTo>
                <a:cubicBezTo>
                  <a:pt x="303950" y="4937238"/>
                  <a:pt x="324091" y="4957379"/>
                  <a:pt x="324091" y="4982225"/>
                </a:cubicBezTo>
                <a:cubicBezTo>
                  <a:pt x="324091" y="5007071"/>
                  <a:pt x="303950" y="5027212"/>
                  <a:pt x="279104" y="5027212"/>
                </a:cubicBezTo>
                <a:lnTo>
                  <a:pt x="0" y="5027212"/>
                </a:lnTo>
                <a:close/>
                <a:moveTo>
                  <a:pt x="0" y="4759399"/>
                </a:moveTo>
                <a:lnTo>
                  <a:pt x="81776" y="4759399"/>
                </a:lnTo>
                <a:cubicBezTo>
                  <a:pt x="94401" y="4759399"/>
                  <a:pt x="104636" y="4769634"/>
                  <a:pt x="104636" y="4782259"/>
                </a:cubicBezTo>
                <a:lnTo>
                  <a:pt x="104635" y="4782259"/>
                </a:lnTo>
                <a:cubicBezTo>
                  <a:pt x="104635" y="4794884"/>
                  <a:pt x="94400" y="4805119"/>
                  <a:pt x="81775" y="4805119"/>
                </a:cubicBezTo>
                <a:lnTo>
                  <a:pt x="0" y="4805119"/>
                </a:lnTo>
                <a:close/>
                <a:moveTo>
                  <a:pt x="0" y="4605871"/>
                </a:moveTo>
                <a:lnTo>
                  <a:pt x="173216" y="4605871"/>
                </a:lnTo>
                <a:cubicBezTo>
                  <a:pt x="185841" y="4605871"/>
                  <a:pt x="196076" y="4616106"/>
                  <a:pt x="196076" y="4628731"/>
                </a:cubicBezTo>
                <a:lnTo>
                  <a:pt x="196075" y="4628731"/>
                </a:lnTo>
                <a:cubicBezTo>
                  <a:pt x="196075" y="4641356"/>
                  <a:pt x="185840" y="4651591"/>
                  <a:pt x="173215" y="4651591"/>
                </a:cubicBezTo>
                <a:lnTo>
                  <a:pt x="0" y="4651591"/>
                </a:lnTo>
                <a:close/>
                <a:moveTo>
                  <a:pt x="0" y="4452343"/>
                </a:moveTo>
                <a:lnTo>
                  <a:pt x="81776" y="4452343"/>
                </a:lnTo>
                <a:cubicBezTo>
                  <a:pt x="94401" y="4452343"/>
                  <a:pt x="104636" y="4462578"/>
                  <a:pt x="104636" y="4475203"/>
                </a:cubicBezTo>
                <a:lnTo>
                  <a:pt x="104635" y="4475203"/>
                </a:lnTo>
                <a:cubicBezTo>
                  <a:pt x="104635" y="4487828"/>
                  <a:pt x="94400" y="4498063"/>
                  <a:pt x="81775" y="4498063"/>
                </a:cubicBezTo>
                <a:lnTo>
                  <a:pt x="0" y="4498063"/>
                </a:lnTo>
                <a:close/>
                <a:moveTo>
                  <a:pt x="0" y="4254560"/>
                </a:moveTo>
                <a:lnTo>
                  <a:pt x="279104" y="4254560"/>
                </a:lnTo>
                <a:cubicBezTo>
                  <a:pt x="303950" y="4254560"/>
                  <a:pt x="324091" y="4274701"/>
                  <a:pt x="324091" y="4299547"/>
                </a:cubicBezTo>
                <a:cubicBezTo>
                  <a:pt x="324091" y="4324393"/>
                  <a:pt x="303950" y="4344534"/>
                  <a:pt x="279104" y="4344534"/>
                </a:cubicBezTo>
                <a:lnTo>
                  <a:pt x="0" y="4344534"/>
                </a:lnTo>
                <a:close/>
                <a:moveTo>
                  <a:pt x="0" y="4076721"/>
                </a:moveTo>
                <a:lnTo>
                  <a:pt x="81776" y="4076721"/>
                </a:lnTo>
                <a:cubicBezTo>
                  <a:pt x="94401" y="4076721"/>
                  <a:pt x="104636" y="4086956"/>
                  <a:pt x="104636" y="4099581"/>
                </a:cubicBezTo>
                <a:lnTo>
                  <a:pt x="104635" y="4099581"/>
                </a:lnTo>
                <a:cubicBezTo>
                  <a:pt x="104635" y="4112206"/>
                  <a:pt x="94400" y="4122441"/>
                  <a:pt x="81775" y="4122441"/>
                </a:cubicBezTo>
                <a:lnTo>
                  <a:pt x="0" y="4122441"/>
                </a:lnTo>
                <a:close/>
                <a:moveTo>
                  <a:pt x="0" y="3923193"/>
                </a:moveTo>
                <a:lnTo>
                  <a:pt x="173216" y="3923193"/>
                </a:lnTo>
                <a:cubicBezTo>
                  <a:pt x="185841" y="3923193"/>
                  <a:pt x="196076" y="3933428"/>
                  <a:pt x="196076" y="3946053"/>
                </a:cubicBezTo>
                <a:lnTo>
                  <a:pt x="196075" y="3946053"/>
                </a:lnTo>
                <a:cubicBezTo>
                  <a:pt x="196075" y="3958678"/>
                  <a:pt x="185840" y="3968913"/>
                  <a:pt x="173215" y="3968913"/>
                </a:cubicBezTo>
                <a:lnTo>
                  <a:pt x="0" y="3968913"/>
                </a:lnTo>
                <a:close/>
                <a:moveTo>
                  <a:pt x="0" y="3769665"/>
                </a:moveTo>
                <a:lnTo>
                  <a:pt x="81776" y="3769665"/>
                </a:lnTo>
                <a:cubicBezTo>
                  <a:pt x="94401" y="3769665"/>
                  <a:pt x="104636" y="3779900"/>
                  <a:pt x="104636" y="3792525"/>
                </a:cubicBezTo>
                <a:lnTo>
                  <a:pt x="104635" y="3792525"/>
                </a:lnTo>
                <a:cubicBezTo>
                  <a:pt x="104635" y="3805150"/>
                  <a:pt x="94400" y="3815385"/>
                  <a:pt x="81775" y="3815385"/>
                </a:cubicBezTo>
                <a:lnTo>
                  <a:pt x="0" y="3815385"/>
                </a:lnTo>
                <a:close/>
                <a:moveTo>
                  <a:pt x="0" y="3571882"/>
                </a:moveTo>
                <a:lnTo>
                  <a:pt x="279104" y="3571882"/>
                </a:lnTo>
                <a:cubicBezTo>
                  <a:pt x="303950" y="3571882"/>
                  <a:pt x="324091" y="3592023"/>
                  <a:pt x="324091" y="3616869"/>
                </a:cubicBezTo>
                <a:cubicBezTo>
                  <a:pt x="324091" y="3641715"/>
                  <a:pt x="303950" y="3661856"/>
                  <a:pt x="279104" y="3661856"/>
                </a:cubicBezTo>
                <a:lnTo>
                  <a:pt x="0" y="3661856"/>
                </a:lnTo>
                <a:close/>
                <a:moveTo>
                  <a:pt x="0" y="3394043"/>
                </a:moveTo>
                <a:lnTo>
                  <a:pt x="81776" y="3394043"/>
                </a:lnTo>
                <a:cubicBezTo>
                  <a:pt x="94401" y="3394043"/>
                  <a:pt x="104636" y="3404279"/>
                  <a:pt x="104636" y="3416905"/>
                </a:cubicBezTo>
                <a:lnTo>
                  <a:pt x="104635" y="3416905"/>
                </a:lnTo>
                <a:cubicBezTo>
                  <a:pt x="104635" y="3429528"/>
                  <a:pt x="94400" y="3439763"/>
                  <a:pt x="81775" y="3439763"/>
                </a:cubicBezTo>
                <a:lnTo>
                  <a:pt x="0" y="3439763"/>
                </a:lnTo>
                <a:close/>
                <a:moveTo>
                  <a:pt x="0" y="3240516"/>
                </a:moveTo>
                <a:lnTo>
                  <a:pt x="173216" y="3240516"/>
                </a:lnTo>
                <a:cubicBezTo>
                  <a:pt x="185841" y="3240516"/>
                  <a:pt x="196076" y="3250752"/>
                  <a:pt x="196076" y="3263376"/>
                </a:cubicBezTo>
                <a:lnTo>
                  <a:pt x="196075" y="3263376"/>
                </a:lnTo>
                <a:cubicBezTo>
                  <a:pt x="196075" y="3276001"/>
                  <a:pt x="185840" y="3286236"/>
                  <a:pt x="173215" y="3286236"/>
                </a:cubicBezTo>
                <a:lnTo>
                  <a:pt x="0" y="3286236"/>
                </a:lnTo>
                <a:close/>
                <a:moveTo>
                  <a:pt x="0" y="3086989"/>
                </a:moveTo>
                <a:lnTo>
                  <a:pt x="81776" y="3086989"/>
                </a:lnTo>
                <a:cubicBezTo>
                  <a:pt x="94401" y="3086989"/>
                  <a:pt x="104636" y="3097224"/>
                  <a:pt x="104636" y="3109849"/>
                </a:cubicBezTo>
                <a:lnTo>
                  <a:pt x="104635" y="3109849"/>
                </a:lnTo>
                <a:cubicBezTo>
                  <a:pt x="104635" y="3122474"/>
                  <a:pt x="94400" y="3132709"/>
                  <a:pt x="81775" y="3132709"/>
                </a:cubicBezTo>
                <a:lnTo>
                  <a:pt x="0" y="3132709"/>
                </a:lnTo>
                <a:close/>
                <a:moveTo>
                  <a:pt x="0" y="2889206"/>
                </a:moveTo>
                <a:lnTo>
                  <a:pt x="279104" y="2889206"/>
                </a:lnTo>
                <a:cubicBezTo>
                  <a:pt x="303950" y="2889206"/>
                  <a:pt x="324091" y="2909347"/>
                  <a:pt x="324091" y="2934194"/>
                </a:cubicBezTo>
                <a:cubicBezTo>
                  <a:pt x="324091" y="2959039"/>
                  <a:pt x="303950" y="2979180"/>
                  <a:pt x="279104" y="2979180"/>
                </a:cubicBezTo>
                <a:lnTo>
                  <a:pt x="0" y="2979180"/>
                </a:lnTo>
                <a:close/>
                <a:moveTo>
                  <a:pt x="0" y="2711367"/>
                </a:moveTo>
                <a:lnTo>
                  <a:pt x="81776" y="2711367"/>
                </a:lnTo>
                <a:cubicBezTo>
                  <a:pt x="94401" y="2711367"/>
                  <a:pt x="104636" y="2721602"/>
                  <a:pt x="104636" y="2734227"/>
                </a:cubicBezTo>
                <a:lnTo>
                  <a:pt x="104635" y="2734227"/>
                </a:lnTo>
                <a:cubicBezTo>
                  <a:pt x="104635" y="2746852"/>
                  <a:pt x="94400" y="2757087"/>
                  <a:pt x="81775" y="2757087"/>
                </a:cubicBezTo>
                <a:lnTo>
                  <a:pt x="0" y="2757087"/>
                </a:lnTo>
                <a:close/>
                <a:moveTo>
                  <a:pt x="0" y="2557839"/>
                </a:moveTo>
                <a:lnTo>
                  <a:pt x="173216" y="2557839"/>
                </a:lnTo>
                <a:cubicBezTo>
                  <a:pt x="185841" y="2557839"/>
                  <a:pt x="196076" y="2568074"/>
                  <a:pt x="196076" y="2580699"/>
                </a:cubicBezTo>
                <a:lnTo>
                  <a:pt x="196075" y="2580699"/>
                </a:lnTo>
                <a:cubicBezTo>
                  <a:pt x="196075" y="2593324"/>
                  <a:pt x="185840" y="2603559"/>
                  <a:pt x="173215" y="2603559"/>
                </a:cubicBezTo>
                <a:lnTo>
                  <a:pt x="0" y="2603559"/>
                </a:lnTo>
                <a:close/>
                <a:moveTo>
                  <a:pt x="0" y="2404312"/>
                </a:moveTo>
                <a:lnTo>
                  <a:pt x="81776" y="2404312"/>
                </a:lnTo>
                <a:cubicBezTo>
                  <a:pt x="94401" y="2404312"/>
                  <a:pt x="104636" y="2414546"/>
                  <a:pt x="104636" y="2427171"/>
                </a:cubicBezTo>
                <a:lnTo>
                  <a:pt x="104635" y="2427171"/>
                </a:lnTo>
                <a:cubicBezTo>
                  <a:pt x="104635" y="2439796"/>
                  <a:pt x="94400" y="2450032"/>
                  <a:pt x="81775" y="2450032"/>
                </a:cubicBezTo>
                <a:lnTo>
                  <a:pt x="0" y="2450032"/>
                </a:lnTo>
                <a:close/>
                <a:moveTo>
                  <a:pt x="0" y="2206528"/>
                </a:moveTo>
                <a:lnTo>
                  <a:pt x="279104" y="2206528"/>
                </a:lnTo>
                <a:cubicBezTo>
                  <a:pt x="303950" y="2206528"/>
                  <a:pt x="324091" y="2226669"/>
                  <a:pt x="324091" y="2251515"/>
                </a:cubicBezTo>
                <a:cubicBezTo>
                  <a:pt x="324091" y="2276362"/>
                  <a:pt x="303950" y="2296503"/>
                  <a:pt x="279104" y="2296503"/>
                </a:cubicBezTo>
                <a:lnTo>
                  <a:pt x="0" y="2296503"/>
                </a:lnTo>
                <a:close/>
                <a:moveTo>
                  <a:pt x="0" y="2028689"/>
                </a:moveTo>
                <a:lnTo>
                  <a:pt x="81776" y="2028689"/>
                </a:lnTo>
                <a:cubicBezTo>
                  <a:pt x="94401" y="2028689"/>
                  <a:pt x="104636" y="2038925"/>
                  <a:pt x="104636" y="2051550"/>
                </a:cubicBezTo>
                <a:lnTo>
                  <a:pt x="104635" y="2051550"/>
                </a:lnTo>
                <a:cubicBezTo>
                  <a:pt x="104635" y="2064175"/>
                  <a:pt x="94400" y="2074409"/>
                  <a:pt x="81775" y="2074409"/>
                </a:cubicBezTo>
                <a:lnTo>
                  <a:pt x="0" y="2074409"/>
                </a:lnTo>
                <a:close/>
                <a:moveTo>
                  <a:pt x="0" y="1875162"/>
                </a:moveTo>
                <a:lnTo>
                  <a:pt x="173216" y="1875162"/>
                </a:lnTo>
                <a:cubicBezTo>
                  <a:pt x="185841" y="1875162"/>
                  <a:pt x="196076" y="1885397"/>
                  <a:pt x="196076" y="1898022"/>
                </a:cubicBezTo>
                <a:lnTo>
                  <a:pt x="196075" y="1898022"/>
                </a:lnTo>
                <a:cubicBezTo>
                  <a:pt x="196075" y="1910647"/>
                  <a:pt x="185840" y="1920882"/>
                  <a:pt x="173215" y="1920882"/>
                </a:cubicBezTo>
                <a:lnTo>
                  <a:pt x="0" y="1920882"/>
                </a:lnTo>
                <a:close/>
                <a:moveTo>
                  <a:pt x="0" y="1721635"/>
                </a:moveTo>
                <a:lnTo>
                  <a:pt x="81776" y="1721635"/>
                </a:lnTo>
                <a:cubicBezTo>
                  <a:pt x="94401" y="1721635"/>
                  <a:pt x="104636" y="1731870"/>
                  <a:pt x="104636" y="1744495"/>
                </a:cubicBezTo>
                <a:lnTo>
                  <a:pt x="104635" y="1744495"/>
                </a:lnTo>
                <a:cubicBezTo>
                  <a:pt x="104635" y="1757120"/>
                  <a:pt x="94400" y="1767355"/>
                  <a:pt x="81775" y="1767355"/>
                </a:cubicBezTo>
                <a:lnTo>
                  <a:pt x="0" y="1767355"/>
                </a:lnTo>
                <a:close/>
                <a:moveTo>
                  <a:pt x="0" y="1523851"/>
                </a:moveTo>
                <a:lnTo>
                  <a:pt x="279104" y="1523851"/>
                </a:lnTo>
                <a:cubicBezTo>
                  <a:pt x="303950" y="1523851"/>
                  <a:pt x="324091" y="1543992"/>
                  <a:pt x="324091" y="1568838"/>
                </a:cubicBezTo>
                <a:cubicBezTo>
                  <a:pt x="324091" y="1593684"/>
                  <a:pt x="303950" y="1613826"/>
                  <a:pt x="279104" y="1613826"/>
                </a:cubicBezTo>
                <a:lnTo>
                  <a:pt x="0" y="1613826"/>
                </a:lnTo>
                <a:close/>
                <a:moveTo>
                  <a:pt x="0" y="1346012"/>
                </a:moveTo>
                <a:lnTo>
                  <a:pt x="81776" y="1346012"/>
                </a:lnTo>
                <a:cubicBezTo>
                  <a:pt x="94401" y="1346012"/>
                  <a:pt x="104636" y="1356247"/>
                  <a:pt x="104636" y="1368872"/>
                </a:cubicBezTo>
                <a:lnTo>
                  <a:pt x="104635" y="1368872"/>
                </a:lnTo>
                <a:cubicBezTo>
                  <a:pt x="104635" y="1381497"/>
                  <a:pt x="94400" y="1391732"/>
                  <a:pt x="81775" y="1391732"/>
                </a:cubicBezTo>
                <a:lnTo>
                  <a:pt x="0" y="1391732"/>
                </a:lnTo>
                <a:close/>
                <a:moveTo>
                  <a:pt x="0" y="1192484"/>
                </a:moveTo>
                <a:lnTo>
                  <a:pt x="173216" y="1192484"/>
                </a:lnTo>
                <a:cubicBezTo>
                  <a:pt x="185841" y="1192484"/>
                  <a:pt x="196076" y="1202719"/>
                  <a:pt x="196076" y="1215344"/>
                </a:cubicBezTo>
                <a:lnTo>
                  <a:pt x="196075" y="1215344"/>
                </a:lnTo>
                <a:cubicBezTo>
                  <a:pt x="196075" y="1227969"/>
                  <a:pt x="185840" y="1238205"/>
                  <a:pt x="173215" y="1238205"/>
                </a:cubicBezTo>
                <a:lnTo>
                  <a:pt x="0" y="1238205"/>
                </a:lnTo>
                <a:close/>
                <a:moveTo>
                  <a:pt x="0" y="1038956"/>
                </a:moveTo>
                <a:lnTo>
                  <a:pt x="81776" y="1038956"/>
                </a:lnTo>
                <a:cubicBezTo>
                  <a:pt x="94401" y="1038956"/>
                  <a:pt x="104636" y="1049192"/>
                  <a:pt x="104636" y="1061817"/>
                </a:cubicBezTo>
                <a:lnTo>
                  <a:pt x="104635" y="1061817"/>
                </a:lnTo>
                <a:cubicBezTo>
                  <a:pt x="104635" y="1074442"/>
                  <a:pt x="94400" y="1084677"/>
                  <a:pt x="81775" y="1084677"/>
                </a:cubicBezTo>
                <a:lnTo>
                  <a:pt x="0" y="1084677"/>
                </a:lnTo>
                <a:close/>
                <a:moveTo>
                  <a:pt x="0" y="841173"/>
                </a:moveTo>
                <a:lnTo>
                  <a:pt x="279104" y="841173"/>
                </a:lnTo>
                <a:cubicBezTo>
                  <a:pt x="303950" y="841173"/>
                  <a:pt x="324091" y="861314"/>
                  <a:pt x="324091" y="886160"/>
                </a:cubicBezTo>
                <a:cubicBezTo>
                  <a:pt x="324091" y="911007"/>
                  <a:pt x="303950" y="931147"/>
                  <a:pt x="279104" y="931147"/>
                </a:cubicBezTo>
                <a:lnTo>
                  <a:pt x="0" y="931147"/>
                </a:lnTo>
                <a:close/>
                <a:moveTo>
                  <a:pt x="0" y="663334"/>
                </a:moveTo>
                <a:lnTo>
                  <a:pt x="81776" y="663334"/>
                </a:lnTo>
                <a:cubicBezTo>
                  <a:pt x="94401" y="663334"/>
                  <a:pt x="104636" y="673569"/>
                  <a:pt x="104636" y="686194"/>
                </a:cubicBezTo>
                <a:lnTo>
                  <a:pt x="104635" y="686194"/>
                </a:lnTo>
                <a:cubicBezTo>
                  <a:pt x="104635" y="698819"/>
                  <a:pt x="94400" y="709054"/>
                  <a:pt x="81775" y="709054"/>
                </a:cubicBezTo>
                <a:lnTo>
                  <a:pt x="0" y="709054"/>
                </a:lnTo>
                <a:close/>
                <a:moveTo>
                  <a:pt x="0" y="509806"/>
                </a:moveTo>
                <a:lnTo>
                  <a:pt x="173216" y="509806"/>
                </a:lnTo>
                <a:cubicBezTo>
                  <a:pt x="185841" y="509806"/>
                  <a:pt x="196076" y="520041"/>
                  <a:pt x="196076" y="532666"/>
                </a:cubicBezTo>
                <a:lnTo>
                  <a:pt x="196075" y="532666"/>
                </a:lnTo>
                <a:cubicBezTo>
                  <a:pt x="196075" y="545291"/>
                  <a:pt x="185840" y="555526"/>
                  <a:pt x="173215" y="555526"/>
                </a:cubicBezTo>
                <a:lnTo>
                  <a:pt x="0" y="555526"/>
                </a:lnTo>
                <a:close/>
                <a:moveTo>
                  <a:pt x="0" y="356279"/>
                </a:moveTo>
                <a:lnTo>
                  <a:pt x="81776" y="356279"/>
                </a:lnTo>
                <a:cubicBezTo>
                  <a:pt x="94401" y="356279"/>
                  <a:pt x="104636" y="366514"/>
                  <a:pt x="104636" y="379139"/>
                </a:cubicBezTo>
                <a:lnTo>
                  <a:pt x="104635" y="379139"/>
                </a:lnTo>
                <a:cubicBezTo>
                  <a:pt x="104635" y="391764"/>
                  <a:pt x="94400" y="401999"/>
                  <a:pt x="81775" y="401999"/>
                </a:cubicBezTo>
                <a:lnTo>
                  <a:pt x="0" y="401999"/>
                </a:lnTo>
                <a:close/>
                <a:moveTo>
                  <a:pt x="0" y="158496"/>
                </a:moveTo>
                <a:lnTo>
                  <a:pt x="279104" y="158496"/>
                </a:lnTo>
                <a:cubicBezTo>
                  <a:pt x="303950" y="158496"/>
                  <a:pt x="324091" y="178637"/>
                  <a:pt x="324091" y="203483"/>
                </a:cubicBezTo>
                <a:cubicBezTo>
                  <a:pt x="324091" y="228329"/>
                  <a:pt x="303950" y="248470"/>
                  <a:pt x="279104" y="248470"/>
                </a:cubicBezTo>
                <a:lnTo>
                  <a:pt x="0" y="248470"/>
                </a:lnTo>
                <a:close/>
                <a:moveTo>
                  <a:pt x="0" y="0"/>
                </a:moveTo>
                <a:lnTo>
                  <a:pt x="81776" y="0"/>
                </a:lnTo>
                <a:cubicBezTo>
                  <a:pt x="94401" y="0"/>
                  <a:pt x="104636" y="10235"/>
                  <a:pt x="104636" y="22860"/>
                </a:cubicBezTo>
                <a:lnTo>
                  <a:pt x="104635" y="22860"/>
                </a:lnTo>
                <a:cubicBezTo>
                  <a:pt x="104635" y="35485"/>
                  <a:pt x="94400" y="45720"/>
                  <a:pt x="81775" y="45720"/>
                </a:cubicBezTo>
                <a:lnTo>
                  <a:pt x="0" y="45720"/>
                </a:lnTo>
                <a:close/>
              </a:path>
            </a:pathLst>
          </a:custGeom>
          <a:solidFill>
            <a:schemeClr val="bg1">
              <a:alpha val="3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331113" y="2211598"/>
            <a:ext cx="9108607" cy="165576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3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1267FDC-EB5C-4931-9996-E0F6C9FC242D}"/>
              </a:ext>
            </a:extLst>
          </p:cNvPr>
          <p:cNvGrpSpPr/>
          <p:nvPr userDrawn="1"/>
        </p:nvGrpSpPr>
        <p:grpSpPr>
          <a:xfrm>
            <a:off x="11803080" y="979776"/>
            <a:ext cx="221196" cy="228600"/>
            <a:chOff x="11806154" y="979776"/>
            <a:chExt cx="221254" cy="228600"/>
          </a:xfrm>
        </p:grpSpPr>
        <p:sp>
          <p:nvSpPr>
            <p:cNvPr id="13" name="Round Same-side Corner of Rectangle 79">
              <a:extLst>
                <a:ext uri="{FF2B5EF4-FFF2-40B4-BE49-F238E27FC236}">
                  <a16:creationId xmlns:a16="http://schemas.microsoft.com/office/drawing/2014/main" id="{1686C165-2403-4ADD-B4C0-B08A2DF50C84}"/>
                </a:ext>
              </a:extLst>
            </p:cNvPr>
            <p:cNvSpPr/>
            <p:nvPr/>
          </p:nvSpPr>
          <p:spPr>
            <a:xfrm rot="5400000">
              <a:off x="11802481" y="983449"/>
              <a:ext cx="228600" cy="221254"/>
            </a:xfrm>
            <a:prstGeom prst="round2SameRect">
              <a:avLst>
                <a:gd name="adj1" fmla="val 0"/>
                <a:gd name="adj2" fmla="val 50000"/>
              </a:avLst>
            </a:prstGeom>
            <a:solidFill>
              <a:schemeClr val="tx2"/>
            </a:solidFill>
            <a:ln w="9525">
              <a:noFill/>
            </a:ln>
            <a:effectLst>
              <a:innerShdw blurRad="63500" dist="25400" dir="5400000">
                <a:prstClr val="black">
                  <a:alpha val="32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977FD497-5EF7-49FA-A606-2FF689DDF20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843840" y="1010005"/>
              <a:ext cx="155448" cy="155448"/>
            </a:xfrm>
            <a:prstGeom prst="rect">
              <a:avLst/>
            </a:prstGeom>
          </p:spPr>
        </p:pic>
      </p:grp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D37F9CF-184B-4F29-9D4B-F527F1071E7C}"/>
              </a:ext>
            </a:extLst>
          </p:cNvPr>
          <p:cNvSpPr/>
          <p:nvPr userDrawn="1"/>
        </p:nvSpPr>
        <p:spPr>
          <a:xfrm>
            <a:off x="558654" y="706397"/>
            <a:ext cx="4012155" cy="977900"/>
          </a:xfrm>
          <a:prstGeom prst="roundRect">
            <a:avLst>
              <a:gd name="adj" fmla="val 50000"/>
            </a:avLst>
          </a:prstGeom>
          <a:solidFill>
            <a:schemeClr val="bg1">
              <a:alpha val="39000"/>
            </a:schemeClr>
          </a:solidFill>
          <a:ln w="190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293027" y="552617"/>
            <a:ext cx="9385073" cy="1304513"/>
          </a:xfrm>
        </p:spPr>
        <p:txBody>
          <a:bodyPr anchor="ctr">
            <a:noAutofit/>
          </a:bodyPr>
          <a:lstStyle>
            <a:lvl1pPr algn="l">
              <a:defRPr sz="3999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reeform 47">
            <a:extLst>
              <a:ext uri="{FF2B5EF4-FFF2-40B4-BE49-F238E27FC236}">
                <a16:creationId xmlns:a16="http://schemas.microsoft.com/office/drawing/2014/main" id="{A5988B40-97BC-4CA3-AD04-15B9AEFA536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48708" y="811033"/>
            <a:ext cx="763722" cy="763812"/>
          </a:xfrm>
          <a:custGeom>
            <a:avLst/>
            <a:gdLst>
              <a:gd name="T0" fmla="*/ 951 w 981"/>
              <a:gd name="T1" fmla="*/ 842 h 981"/>
              <a:gd name="T2" fmla="*/ 711 w 981"/>
              <a:gd name="T3" fmla="*/ 603 h 981"/>
              <a:gd name="T4" fmla="*/ 603 w 981"/>
              <a:gd name="T5" fmla="*/ 107 h 981"/>
              <a:gd name="T6" fmla="*/ 107 w 981"/>
              <a:gd name="T7" fmla="*/ 216 h 981"/>
              <a:gd name="T8" fmla="*/ 216 w 981"/>
              <a:gd name="T9" fmla="*/ 712 h 981"/>
              <a:gd name="T10" fmla="*/ 603 w 981"/>
              <a:gd name="T11" fmla="*/ 712 h 981"/>
              <a:gd name="T12" fmla="*/ 842 w 981"/>
              <a:gd name="T13" fmla="*/ 951 h 981"/>
              <a:gd name="T14" fmla="*/ 951 w 981"/>
              <a:gd name="T15" fmla="*/ 951 h 981"/>
              <a:gd name="T16" fmla="*/ 951 w 981"/>
              <a:gd name="T17" fmla="*/ 843 h 981"/>
              <a:gd name="T18" fmla="*/ 951 w 981"/>
              <a:gd name="T19" fmla="*/ 842 h 981"/>
              <a:gd name="T20" fmla="*/ 153 w 981"/>
              <a:gd name="T21" fmla="*/ 410 h 981"/>
              <a:gd name="T22" fmla="*/ 410 w 981"/>
              <a:gd name="T23" fmla="*/ 153 h 981"/>
              <a:gd name="T24" fmla="*/ 666 w 981"/>
              <a:gd name="T25" fmla="*/ 410 h 981"/>
              <a:gd name="T26" fmla="*/ 410 w 981"/>
              <a:gd name="T27" fmla="*/ 666 h 981"/>
              <a:gd name="T28" fmla="*/ 153 w 981"/>
              <a:gd name="T29" fmla="*/ 410 h 9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81" h="981">
                <a:moveTo>
                  <a:pt x="951" y="842"/>
                </a:moveTo>
                <a:cubicBezTo>
                  <a:pt x="711" y="603"/>
                  <a:pt x="711" y="603"/>
                  <a:pt x="711" y="603"/>
                </a:cubicBezTo>
                <a:cubicBezTo>
                  <a:pt x="818" y="436"/>
                  <a:pt x="770" y="214"/>
                  <a:pt x="603" y="107"/>
                </a:cubicBezTo>
                <a:cubicBezTo>
                  <a:pt x="436" y="0"/>
                  <a:pt x="214" y="49"/>
                  <a:pt x="107" y="216"/>
                </a:cubicBezTo>
                <a:cubicBezTo>
                  <a:pt x="0" y="383"/>
                  <a:pt x="49" y="605"/>
                  <a:pt x="216" y="712"/>
                </a:cubicBezTo>
                <a:cubicBezTo>
                  <a:pt x="334" y="787"/>
                  <a:pt x="485" y="787"/>
                  <a:pt x="603" y="712"/>
                </a:cubicBezTo>
                <a:cubicBezTo>
                  <a:pt x="842" y="951"/>
                  <a:pt x="842" y="951"/>
                  <a:pt x="842" y="951"/>
                </a:cubicBezTo>
                <a:cubicBezTo>
                  <a:pt x="872" y="981"/>
                  <a:pt x="921" y="981"/>
                  <a:pt x="951" y="951"/>
                </a:cubicBezTo>
                <a:cubicBezTo>
                  <a:pt x="981" y="921"/>
                  <a:pt x="981" y="873"/>
                  <a:pt x="951" y="843"/>
                </a:cubicBezTo>
                <a:cubicBezTo>
                  <a:pt x="951" y="843"/>
                  <a:pt x="951" y="842"/>
                  <a:pt x="951" y="842"/>
                </a:cubicBezTo>
                <a:close/>
                <a:moveTo>
                  <a:pt x="153" y="410"/>
                </a:moveTo>
                <a:cubicBezTo>
                  <a:pt x="153" y="268"/>
                  <a:pt x="268" y="153"/>
                  <a:pt x="410" y="153"/>
                </a:cubicBezTo>
                <a:cubicBezTo>
                  <a:pt x="551" y="153"/>
                  <a:pt x="666" y="268"/>
                  <a:pt x="666" y="410"/>
                </a:cubicBezTo>
                <a:cubicBezTo>
                  <a:pt x="666" y="551"/>
                  <a:pt x="551" y="666"/>
                  <a:pt x="410" y="666"/>
                </a:cubicBezTo>
                <a:cubicBezTo>
                  <a:pt x="268" y="666"/>
                  <a:pt x="153" y="551"/>
                  <a:pt x="153" y="410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18" name="Picture 17" descr="Logo&#10;&#10;Description automatically generated">
            <a:extLst>
              <a:ext uri="{FF2B5EF4-FFF2-40B4-BE49-F238E27FC236}">
                <a16:creationId xmlns:a16="http://schemas.microsoft.com/office/drawing/2014/main" id="{99376E9D-E304-47D2-8DF2-A4D323261BA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32883" y="6120714"/>
            <a:ext cx="1017656" cy="420241"/>
          </a:xfrm>
          <a:prstGeom prst="rect">
            <a:avLst/>
          </a:prstGeom>
        </p:spPr>
      </p:pic>
      <p:sp>
        <p:nvSpPr>
          <p:cNvPr id="19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46D57E63-DE40-4BE4-B31A-F30F87C3F813}"/>
              </a:ext>
            </a:extLst>
          </p:cNvPr>
          <p:cNvSpPr/>
          <p:nvPr userDrawn="1"/>
        </p:nvSpPr>
        <p:spPr>
          <a:xfrm rot="5400000">
            <a:off x="11809682" y="871594"/>
            <a:ext cx="320468" cy="437817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3997450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llar 4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4" name="Round Same-side Corner of Rectangle 79">
            <a:extLst>
              <a:ext uri="{FF2B5EF4-FFF2-40B4-BE49-F238E27FC236}">
                <a16:creationId xmlns:a16="http://schemas.microsoft.com/office/drawing/2014/main" id="{429E155D-7E57-4822-8852-F94F1A49D6FC}"/>
              </a:ext>
            </a:extLst>
          </p:cNvPr>
          <p:cNvSpPr/>
          <p:nvPr userDrawn="1"/>
        </p:nvSpPr>
        <p:spPr>
          <a:xfrm rot="16200000">
            <a:off x="11384856" y="4661233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8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0" name="Round Same-side Corner of Rectangle 79">
            <a:extLst>
              <a:ext uri="{FF2B5EF4-FFF2-40B4-BE49-F238E27FC236}">
                <a16:creationId xmlns:a16="http://schemas.microsoft.com/office/drawing/2014/main" id="{DA632258-7E89-4C63-86BD-EA679E94BCAB}"/>
              </a:ext>
            </a:extLst>
          </p:cNvPr>
          <p:cNvSpPr/>
          <p:nvPr userDrawn="1"/>
        </p:nvSpPr>
        <p:spPr>
          <a:xfrm rot="16200000">
            <a:off x="11384854" y="4208631"/>
            <a:ext cx="388777" cy="104122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7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1" name="Round Same-side Corner of Rectangle 79">
            <a:extLst>
              <a:ext uri="{FF2B5EF4-FFF2-40B4-BE49-F238E27FC236}">
                <a16:creationId xmlns:a16="http://schemas.microsoft.com/office/drawing/2014/main" id="{D4B93879-3513-4875-A1C4-5980915623CE}"/>
              </a:ext>
            </a:extLst>
          </p:cNvPr>
          <p:cNvSpPr/>
          <p:nvPr userDrawn="1"/>
        </p:nvSpPr>
        <p:spPr>
          <a:xfrm rot="16200000">
            <a:off x="11384854" y="3756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6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8" name="Round Same-side Corner of Rectangle 79">
            <a:extLst>
              <a:ext uri="{FF2B5EF4-FFF2-40B4-BE49-F238E27FC236}">
                <a16:creationId xmlns:a16="http://schemas.microsoft.com/office/drawing/2014/main" id="{312255C5-65A9-47AB-B67B-8924547FF7C2}"/>
              </a:ext>
            </a:extLst>
          </p:cNvPr>
          <p:cNvSpPr/>
          <p:nvPr userDrawn="1"/>
        </p:nvSpPr>
        <p:spPr>
          <a:xfrm rot="16200000">
            <a:off x="11384854" y="33034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5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9" name="Round Same-side Corner of Rectangle 79">
            <a:extLst>
              <a:ext uri="{FF2B5EF4-FFF2-40B4-BE49-F238E27FC236}">
                <a16:creationId xmlns:a16="http://schemas.microsoft.com/office/drawing/2014/main" id="{F23596D5-FD36-49E3-B746-F3D7A290DF3D}"/>
              </a:ext>
            </a:extLst>
          </p:cNvPr>
          <p:cNvSpPr/>
          <p:nvPr userDrawn="1"/>
        </p:nvSpPr>
        <p:spPr>
          <a:xfrm rot="16200000">
            <a:off x="11219847" y="2685823"/>
            <a:ext cx="388777" cy="137124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2102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600" b="1"/>
              <a:t>Pillar  </a:t>
            </a:r>
            <a:r>
              <a:rPr lang="en-US" sz="1600" b="1"/>
              <a:t>4</a:t>
            </a:r>
          </a:p>
        </p:txBody>
      </p:sp>
      <p:sp>
        <p:nvSpPr>
          <p:cNvPr id="87" name="Round Same-side Corner of Rectangle 79">
            <a:extLst>
              <a:ext uri="{FF2B5EF4-FFF2-40B4-BE49-F238E27FC236}">
                <a16:creationId xmlns:a16="http://schemas.microsoft.com/office/drawing/2014/main" id="{059574F1-9FE9-480C-B4ED-14EFB4169B0E}"/>
              </a:ext>
            </a:extLst>
          </p:cNvPr>
          <p:cNvSpPr/>
          <p:nvPr userDrawn="1"/>
        </p:nvSpPr>
        <p:spPr>
          <a:xfrm rot="16200000">
            <a:off x="11384854" y="23982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3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8" name="Round Same-side Corner of Rectangle 79">
            <a:extLst>
              <a:ext uri="{FF2B5EF4-FFF2-40B4-BE49-F238E27FC236}">
                <a16:creationId xmlns:a16="http://schemas.microsoft.com/office/drawing/2014/main" id="{82236BCB-3538-4E87-B0C9-CACC40793A57}"/>
              </a:ext>
            </a:extLst>
          </p:cNvPr>
          <p:cNvSpPr/>
          <p:nvPr userDrawn="1"/>
        </p:nvSpPr>
        <p:spPr>
          <a:xfrm rot="16200000">
            <a:off x="11384854" y="19456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2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9" name="Round Same-side Corner of Rectangle 79">
            <a:extLst>
              <a:ext uri="{FF2B5EF4-FFF2-40B4-BE49-F238E27FC236}">
                <a16:creationId xmlns:a16="http://schemas.microsoft.com/office/drawing/2014/main" id="{61090AD0-0469-4342-901A-FC4BE401662F}"/>
              </a:ext>
            </a:extLst>
          </p:cNvPr>
          <p:cNvSpPr/>
          <p:nvPr userDrawn="1"/>
        </p:nvSpPr>
        <p:spPr>
          <a:xfrm rot="16200000">
            <a:off x="11384854" y="1493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1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96" name="Round Same-side Corner of Rectangle 79">
            <a:extLst>
              <a:ext uri="{FF2B5EF4-FFF2-40B4-BE49-F238E27FC236}">
                <a16:creationId xmlns:a16="http://schemas.microsoft.com/office/drawing/2014/main" id="{75C801CE-9FCA-486D-96A7-6973FA449CCA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8" name="Round Same-side Corner of Rectangle 79">
            <a:extLst>
              <a:ext uri="{FF2B5EF4-FFF2-40B4-BE49-F238E27FC236}">
                <a16:creationId xmlns:a16="http://schemas.microsoft.com/office/drawing/2014/main" id="{B358AAFE-318C-4629-9F49-D9DBA46F85EC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078CDE7-42EA-4BE5-B8C2-0F3625831A7A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B773BF3-CAF4-478F-BBE0-5EE3C49BBDCD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4" name="Round Same-side Corner of Rectangle 79">
            <a:extLst>
              <a:ext uri="{FF2B5EF4-FFF2-40B4-BE49-F238E27FC236}">
                <a16:creationId xmlns:a16="http://schemas.microsoft.com/office/drawing/2014/main" id="{521D265E-D4C9-4CEC-AFA4-12A93048B27C}"/>
              </a:ext>
            </a:extLst>
          </p:cNvPr>
          <p:cNvSpPr/>
          <p:nvPr userDrawn="1"/>
        </p:nvSpPr>
        <p:spPr>
          <a:xfrm rot="16200000">
            <a:off x="11900597" y="3277604"/>
            <a:ext cx="388777" cy="18768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>
              <a:lumMod val="75000"/>
              <a:alpha val="59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17" name="TextBox 16">
            <a:hlinkClick r:id="" action="ppaction://noaction"/>
            <a:extLst>
              <a:ext uri="{FF2B5EF4-FFF2-40B4-BE49-F238E27FC236}">
                <a16:creationId xmlns:a16="http://schemas.microsoft.com/office/drawing/2014/main" id="{11151554-5DEB-49E1-B789-2B99EDC34D78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18" name="TextBox 17">
            <a:hlinkClick r:id="" action="ppaction://noaction"/>
            <a:extLst>
              <a:ext uri="{FF2B5EF4-FFF2-40B4-BE49-F238E27FC236}">
                <a16:creationId xmlns:a16="http://schemas.microsoft.com/office/drawing/2014/main" id="{22A7C8C8-D286-4CC1-95EF-D91F4A91438A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7B5F63BD-BA01-42DE-92FA-E8A21AA2F8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64933FD0-9D2C-48A7-BB09-96AFAF27CAF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FAFA73B-0310-4B71-A94F-9A8D2B395F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45" name="Freeform 9">
            <a:extLst>
              <a:ext uri="{FF2B5EF4-FFF2-40B4-BE49-F238E27FC236}">
                <a16:creationId xmlns:a16="http://schemas.microsoft.com/office/drawing/2014/main" id="{4D15CC26-757E-4EA9-8DAE-220469240F7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95767" y="4176118"/>
            <a:ext cx="181694" cy="212254"/>
          </a:xfrm>
          <a:custGeom>
            <a:avLst/>
            <a:gdLst>
              <a:gd name="T0" fmla="*/ 708 w 809"/>
              <a:gd name="T1" fmla="*/ 509 h 945"/>
              <a:gd name="T2" fmla="*/ 405 w 809"/>
              <a:gd name="T3" fmla="*/ 838 h 945"/>
              <a:gd name="T4" fmla="*/ 404 w 809"/>
              <a:gd name="T5" fmla="*/ 838 h 945"/>
              <a:gd name="T6" fmla="*/ 404 w 809"/>
              <a:gd name="T7" fmla="*/ 473 h 945"/>
              <a:gd name="T8" fmla="*/ 101 w 809"/>
              <a:gd name="T9" fmla="*/ 473 h 945"/>
              <a:gd name="T10" fmla="*/ 101 w 809"/>
              <a:gd name="T11" fmla="*/ 245 h 945"/>
              <a:gd name="T12" fmla="*/ 404 w 809"/>
              <a:gd name="T13" fmla="*/ 123 h 945"/>
              <a:gd name="T14" fmla="*/ 404 w 809"/>
              <a:gd name="T15" fmla="*/ 473 h 945"/>
              <a:gd name="T16" fmla="*/ 708 w 809"/>
              <a:gd name="T17" fmla="*/ 473 h 945"/>
              <a:gd name="T18" fmla="*/ 708 w 809"/>
              <a:gd name="T19" fmla="*/ 509 h 945"/>
              <a:gd name="T20" fmla="*/ 792 w 809"/>
              <a:gd name="T21" fmla="*/ 150 h 945"/>
              <a:gd name="T22" fmla="*/ 415 w 809"/>
              <a:gd name="T23" fmla="*/ 4 h 945"/>
              <a:gd name="T24" fmla="*/ 394 w 809"/>
              <a:gd name="T25" fmla="*/ 4 h 945"/>
              <a:gd name="T26" fmla="*/ 17 w 809"/>
              <a:gd name="T27" fmla="*/ 150 h 945"/>
              <a:gd name="T28" fmla="*/ 0 w 809"/>
              <a:gd name="T29" fmla="*/ 168 h 945"/>
              <a:gd name="T30" fmla="*/ 0 w 809"/>
              <a:gd name="T31" fmla="*/ 508 h 945"/>
              <a:gd name="T32" fmla="*/ 398 w 809"/>
              <a:gd name="T33" fmla="*/ 944 h 945"/>
              <a:gd name="T34" fmla="*/ 410 w 809"/>
              <a:gd name="T35" fmla="*/ 944 h 945"/>
              <a:gd name="T36" fmla="*/ 809 w 809"/>
              <a:gd name="T37" fmla="*/ 508 h 945"/>
              <a:gd name="T38" fmla="*/ 809 w 809"/>
              <a:gd name="T39" fmla="*/ 168 h 945"/>
              <a:gd name="T40" fmla="*/ 792 w 809"/>
              <a:gd name="T41" fmla="*/ 150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9" h="945">
                <a:moveTo>
                  <a:pt x="708" y="509"/>
                </a:moveTo>
                <a:cubicBezTo>
                  <a:pt x="708" y="713"/>
                  <a:pt x="483" y="811"/>
                  <a:pt x="405" y="838"/>
                </a:cubicBezTo>
                <a:cubicBezTo>
                  <a:pt x="405" y="838"/>
                  <a:pt x="404" y="838"/>
                  <a:pt x="404" y="838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101" y="473"/>
                  <a:pt x="101" y="473"/>
                  <a:pt x="101" y="473"/>
                </a:cubicBezTo>
                <a:cubicBezTo>
                  <a:pt x="101" y="245"/>
                  <a:pt x="101" y="245"/>
                  <a:pt x="101" y="245"/>
                </a:cubicBezTo>
                <a:cubicBezTo>
                  <a:pt x="185" y="231"/>
                  <a:pt x="288" y="197"/>
                  <a:pt x="404" y="123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708" y="473"/>
                  <a:pt x="708" y="473"/>
                  <a:pt x="708" y="473"/>
                </a:cubicBezTo>
                <a:lnTo>
                  <a:pt x="708" y="509"/>
                </a:lnTo>
                <a:close/>
                <a:moveTo>
                  <a:pt x="792" y="150"/>
                </a:moveTo>
                <a:cubicBezTo>
                  <a:pt x="691" y="146"/>
                  <a:pt x="562" y="109"/>
                  <a:pt x="415" y="4"/>
                </a:cubicBezTo>
                <a:cubicBezTo>
                  <a:pt x="409" y="0"/>
                  <a:pt x="400" y="0"/>
                  <a:pt x="394" y="4"/>
                </a:cubicBezTo>
                <a:cubicBezTo>
                  <a:pt x="247" y="109"/>
                  <a:pt x="118" y="146"/>
                  <a:pt x="17" y="150"/>
                </a:cubicBezTo>
                <a:cubicBezTo>
                  <a:pt x="7" y="150"/>
                  <a:pt x="0" y="158"/>
                  <a:pt x="0" y="168"/>
                </a:cubicBezTo>
                <a:cubicBezTo>
                  <a:pt x="0" y="209"/>
                  <a:pt x="0" y="325"/>
                  <a:pt x="0" y="508"/>
                </a:cubicBezTo>
                <a:cubicBezTo>
                  <a:pt x="0" y="792"/>
                  <a:pt x="348" y="926"/>
                  <a:pt x="398" y="944"/>
                </a:cubicBezTo>
                <a:cubicBezTo>
                  <a:pt x="402" y="945"/>
                  <a:pt x="406" y="945"/>
                  <a:pt x="410" y="944"/>
                </a:cubicBezTo>
                <a:cubicBezTo>
                  <a:pt x="460" y="926"/>
                  <a:pt x="809" y="792"/>
                  <a:pt x="809" y="508"/>
                </a:cubicBezTo>
                <a:cubicBezTo>
                  <a:pt x="809" y="325"/>
                  <a:pt x="809" y="209"/>
                  <a:pt x="809" y="168"/>
                </a:cubicBezTo>
                <a:cubicBezTo>
                  <a:pt x="809" y="158"/>
                  <a:pt x="801" y="150"/>
                  <a:pt x="792" y="15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46" name="Freeform 13">
            <a:extLst>
              <a:ext uri="{FF2B5EF4-FFF2-40B4-BE49-F238E27FC236}">
                <a16:creationId xmlns:a16="http://schemas.microsoft.com/office/drawing/2014/main" id="{6E217B9A-A9EE-4490-92EC-2D5721BE4C9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87920" y="5097137"/>
            <a:ext cx="218911" cy="197141"/>
          </a:xfrm>
          <a:custGeom>
            <a:avLst/>
            <a:gdLst>
              <a:gd name="T0" fmla="*/ 757 w 1043"/>
              <a:gd name="T1" fmla="*/ 313 h 939"/>
              <a:gd name="T2" fmla="*/ 313 w 1043"/>
              <a:gd name="T3" fmla="*/ 321 h 939"/>
              <a:gd name="T4" fmla="*/ 321 w 1043"/>
              <a:gd name="T5" fmla="*/ 348 h 939"/>
              <a:gd name="T6" fmla="*/ 765 w 1043"/>
              <a:gd name="T7" fmla="*/ 340 h 939"/>
              <a:gd name="T8" fmla="*/ 765 w 1043"/>
              <a:gd name="T9" fmla="*/ 251 h 939"/>
              <a:gd name="T10" fmla="*/ 321 w 1043"/>
              <a:gd name="T11" fmla="*/ 243 h 939"/>
              <a:gd name="T12" fmla="*/ 313 w 1043"/>
              <a:gd name="T13" fmla="*/ 270 h 939"/>
              <a:gd name="T14" fmla="*/ 757 w 1043"/>
              <a:gd name="T15" fmla="*/ 278 h 939"/>
              <a:gd name="T16" fmla="*/ 765 w 1043"/>
              <a:gd name="T17" fmla="*/ 251 h 939"/>
              <a:gd name="T18" fmla="*/ 757 w 1043"/>
              <a:gd name="T19" fmla="*/ 382 h 939"/>
              <a:gd name="T20" fmla="*/ 313 w 1043"/>
              <a:gd name="T21" fmla="*/ 390 h 939"/>
              <a:gd name="T22" fmla="*/ 321 w 1043"/>
              <a:gd name="T23" fmla="*/ 417 h 939"/>
              <a:gd name="T24" fmla="*/ 765 w 1043"/>
              <a:gd name="T25" fmla="*/ 409 h 939"/>
              <a:gd name="T26" fmla="*/ 765 w 1043"/>
              <a:gd name="T27" fmla="*/ 182 h 939"/>
              <a:gd name="T28" fmla="*/ 321 w 1043"/>
              <a:gd name="T29" fmla="*/ 174 h 939"/>
              <a:gd name="T30" fmla="*/ 313 w 1043"/>
              <a:gd name="T31" fmla="*/ 201 h 939"/>
              <a:gd name="T32" fmla="*/ 757 w 1043"/>
              <a:gd name="T33" fmla="*/ 209 h 939"/>
              <a:gd name="T34" fmla="*/ 765 w 1043"/>
              <a:gd name="T35" fmla="*/ 182 h 939"/>
              <a:gd name="T36" fmla="*/ 1027 w 1043"/>
              <a:gd name="T37" fmla="*/ 730 h 939"/>
              <a:gd name="T38" fmla="*/ 491 w 1043"/>
              <a:gd name="T39" fmla="*/ 735 h 939"/>
              <a:gd name="T40" fmla="*/ 487 w 1043"/>
              <a:gd name="T41" fmla="*/ 747 h 939"/>
              <a:gd name="T42" fmla="*/ 358 w 1043"/>
              <a:gd name="T43" fmla="*/ 869 h 939"/>
              <a:gd name="T44" fmla="*/ 243 w 1043"/>
              <a:gd name="T45" fmla="*/ 757 h 939"/>
              <a:gd name="T46" fmla="*/ 243 w 1043"/>
              <a:gd name="T47" fmla="*/ 139 h 939"/>
              <a:gd name="T48" fmla="*/ 742 w 1043"/>
              <a:gd name="T49" fmla="*/ 69 h 939"/>
              <a:gd name="T50" fmla="*/ 834 w 1043"/>
              <a:gd name="T51" fmla="*/ 695 h 939"/>
              <a:gd name="T52" fmla="*/ 904 w 1043"/>
              <a:gd name="T53" fmla="*/ 161 h 939"/>
              <a:gd name="T54" fmla="*/ 685 w 1043"/>
              <a:gd name="T55" fmla="*/ 0 h 939"/>
              <a:gd name="T56" fmla="*/ 0 w 1043"/>
              <a:gd name="T57" fmla="*/ 174 h 939"/>
              <a:gd name="T58" fmla="*/ 16 w 1043"/>
              <a:gd name="T59" fmla="*/ 209 h 939"/>
              <a:gd name="T60" fmla="*/ 174 w 1043"/>
              <a:gd name="T61" fmla="*/ 757 h 939"/>
              <a:gd name="T62" fmla="*/ 820 w 1043"/>
              <a:gd name="T63" fmla="*/ 939 h 939"/>
              <a:gd name="T64" fmla="*/ 1043 w 1043"/>
              <a:gd name="T65" fmla="*/ 765 h 939"/>
              <a:gd name="T66" fmla="*/ 765 w 1043"/>
              <a:gd name="T67" fmla="*/ 529 h 939"/>
              <a:gd name="T68" fmla="*/ 321 w 1043"/>
              <a:gd name="T69" fmla="*/ 522 h 939"/>
              <a:gd name="T70" fmla="*/ 313 w 1043"/>
              <a:gd name="T71" fmla="*/ 548 h 939"/>
              <a:gd name="T72" fmla="*/ 757 w 1043"/>
              <a:gd name="T73" fmla="*/ 556 h 939"/>
              <a:gd name="T74" fmla="*/ 765 w 1043"/>
              <a:gd name="T75" fmla="*/ 529 h 939"/>
              <a:gd name="T76" fmla="*/ 757 w 1043"/>
              <a:gd name="T77" fmla="*/ 452 h 939"/>
              <a:gd name="T78" fmla="*/ 313 w 1043"/>
              <a:gd name="T79" fmla="*/ 460 h 939"/>
              <a:gd name="T80" fmla="*/ 321 w 1043"/>
              <a:gd name="T81" fmla="*/ 487 h 939"/>
              <a:gd name="T82" fmla="*/ 765 w 1043"/>
              <a:gd name="T83" fmla="*/ 479 h 939"/>
              <a:gd name="T84" fmla="*/ 765 w 1043"/>
              <a:gd name="T85" fmla="*/ 599 h 939"/>
              <a:gd name="T86" fmla="*/ 757 w 1043"/>
              <a:gd name="T87" fmla="*/ 626 h 939"/>
              <a:gd name="T88" fmla="*/ 313 w 1043"/>
              <a:gd name="T89" fmla="*/ 618 h 939"/>
              <a:gd name="T90" fmla="*/ 321 w 1043"/>
              <a:gd name="T91" fmla="*/ 591 h 939"/>
              <a:gd name="T92" fmla="*/ 765 w 1043"/>
              <a:gd name="T93" fmla="*/ 59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43" h="939">
                <a:moveTo>
                  <a:pt x="765" y="321"/>
                </a:moveTo>
                <a:cubicBezTo>
                  <a:pt x="765" y="316"/>
                  <a:pt x="761" y="313"/>
                  <a:pt x="757" y="313"/>
                </a:cubicBezTo>
                <a:cubicBezTo>
                  <a:pt x="321" y="313"/>
                  <a:pt x="321" y="313"/>
                  <a:pt x="321" y="313"/>
                </a:cubicBezTo>
                <a:cubicBezTo>
                  <a:pt x="316" y="313"/>
                  <a:pt x="313" y="316"/>
                  <a:pt x="313" y="321"/>
                </a:cubicBezTo>
                <a:cubicBezTo>
                  <a:pt x="313" y="340"/>
                  <a:pt x="313" y="340"/>
                  <a:pt x="313" y="340"/>
                </a:cubicBezTo>
                <a:cubicBezTo>
                  <a:pt x="313" y="344"/>
                  <a:pt x="316" y="348"/>
                  <a:pt x="321" y="348"/>
                </a:cubicBezTo>
                <a:cubicBezTo>
                  <a:pt x="757" y="348"/>
                  <a:pt x="757" y="348"/>
                  <a:pt x="757" y="348"/>
                </a:cubicBezTo>
                <a:cubicBezTo>
                  <a:pt x="761" y="348"/>
                  <a:pt x="765" y="344"/>
                  <a:pt x="765" y="340"/>
                </a:cubicBezTo>
                <a:lnTo>
                  <a:pt x="765" y="321"/>
                </a:lnTo>
                <a:close/>
                <a:moveTo>
                  <a:pt x="765" y="251"/>
                </a:moveTo>
                <a:cubicBezTo>
                  <a:pt x="765" y="247"/>
                  <a:pt x="761" y="243"/>
                  <a:pt x="757" y="243"/>
                </a:cubicBezTo>
                <a:cubicBezTo>
                  <a:pt x="321" y="243"/>
                  <a:pt x="321" y="243"/>
                  <a:pt x="321" y="243"/>
                </a:cubicBezTo>
                <a:cubicBezTo>
                  <a:pt x="316" y="243"/>
                  <a:pt x="313" y="247"/>
                  <a:pt x="313" y="251"/>
                </a:cubicBezTo>
                <a:cubicBezTo>
                  <a:pt x="313" y="270"/>
                  <a:pt x="313" y="270"/>
                  <a:pt x="313" y="270"/>
                </a:cubicBezTo>
                <a:cubicBezTo>
                  <a:pt x="313" y="275"/>
                  <a:pt x="316" y="278"/>
                  <a:pt x="321" y="278"/>
                </a:cubicBezTo>
                <a:cubicBezTo>
                  <a:pt x="757" y="278"/>
                  <a:pt x="757" y="278"/>
                  <a:pt x="757" y="278"/>
                </a:cubicBezTo>
                <a:cubicBezTo>
                  <a:pt x="761" y="278"/>
                  <a:pt x="765" y="275"/>
                  <a:pt x="765" y="270"/>
                </a:cubicBezTo>
                <a:lnTo>
                  <a:pt x="765" y="251"/>
                </a:lnTo>
                <a:close/>
                <a:moveTo>
                  <a:pt x="765" y="390"/>
                </a:moveTo>
                <a:cubicBezTo>
                  <a:pt x="765" y="386"/>
                  <a:pt x="761" y="382"/>
                  <a:pt x="757" y="382"/>
                </a:cubicBezTo>
                <a:cubicBezTo>
                  <a:pt x="321" y="382"/>
                  <a:pt x="321" y="382"/>
                  <a:pt x="321" y="382"/>
                </a:cubicBezTo>
                <a:cubicBezTo>
                  <a:pt x="316" y="382"/>
                  <a:pt x="313" y="386"/>
                  <a:pt x="313" y="390"/>
                </a:cubicBezTo>
                <a:cubicBezTo>
                  <a:pt x="313" y="409"/>
                  <a:pt x="313" y="409"/>
                  <a:pt x="313" y="409"/>
                </a:cubicBezTo>
                <a:cubicBezTo>
                  <a:pt x="313" y="414"/>
                  <a:pt x="316" y="417"/>
                  <a:pt x="321" y="417"/>
                </a:cubicBezTo>
                <a:cubicBezTo>
                  <a:pt x="757" y="417"/>
                  <a:pt x="757" y="417"/>
                  <a:pt x="757" y="417"/>
                </a:cubicBezTo>
                <a:cubicBezTo>
                  <a:pt x="761" y="417"/>
                  <a:pt x="765" y="414"/>
                  <a:pt x="765" y="409"/>
                </a:cubicBezTo>
                <a:lnTo>
                  <a:pt x="765" y="390"/>
                </a:lnTo>
                <a:close/>
                <a:moveTo>
                  <a:pt x="765" y="182"/>
                </a:moveTo>
                <a:cubicBezTo>
                  <a:pt x="765" y="177"/>
                  <a:pt x="761" y="174"/>
                  <a:pt x="757" y="174"/>
                </a:cubicBezTo>
                <a:cubicBezTo>
                  <a:pt x="321" y="174"/>
                  <a:pt x="321" y="174"/>
                  <a:pt x="321" y="174"/>
                </a:cubicBezTo>
                <a:cubicBezTo>
                  <a:pt x="316" y="174"/>
                  <a:pt x="313" y="177"/>
                  <a:pt x="313" y="182"/>
                </a:cubicBezTo>
                <a:cubicBezTo>
                  <a:pt x="313" y="201"/>
                  <a:pt x="313" y="201"/>
                  <a:pt x="313" y="201"/>
                </a:cubicBezTo>
                <a:cubicBezTo>
                  <a:pt x="313" y="205"/>
                  <a:pt x="316" y="209"/>
                  <a:pt x="321" y="209"/>
                </a:cubicBezTo>
                <a:cubicBezTo>
                  <a:pt x="757" y="209"/>
                  <a:pt x="757" y="209"/>
                  <a:pt x="757" y="209"/>
                </a:cubicBezTo>
                <a:cubicBezTo>
                  <a:pt x="761" y="209"/>
                  <a:pt x="765" y="205"/>
                  <a:pt x="765" y="201"/>
                </a:cubicBezTo>
                <a:lnTo>
                  <a:pt x="765" y="182"/>
                </a:lnTo>
                <a:close/>
                <a:moveTo>
                  <a:pt x="1041" y="743"/>
                </a:moveTo>
                <a:cubicBezTo>
                  <a:pt x="1041" y="736"/>
                  <a:pt x="1034" y="730"/>
                  <a:pt x="1027" y="730"/>
                </a:cubicBezTo>
                <a:cubicBezTo>
                  <a:pt x="501" y="730"/>
                  <a:pt x="501" y="730"/>
                  <a:pt x="501" y="730"/>
                </a:cubicBezTo>
                <a:cubicBezTo>
                  <a:pt x="497" y="730"/>
                  <a:pt x="494" y="732"/>
                  <a:pt x="491" y="735"/>
                </a:cubicBezTo>
                <a:cubicBezTo>
                  <a:pt x="488" y="737"/>
                  <a:pt x="486" y="741"/>
                  <a:pt x="487" y="745"/>
                </a:cubicBezTo>
                <a:cubicBezTo>
                  <a:pt x="487" y="746"/>
                  <a:pt x="487" y="747"/>
                  <a:pt x="487" y="747"/>
                </a:cubicBezTo>
                <a:cubicBezTo>
                  <a:pt x="487" y="815"/>
                  <a:pt x="432" y="869"/>
                  <a:pt x="365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295" y="869"/>
                  <a:pt x="243" y="819"/>
                  <a:pt x="243" y="757"/>
                </a:cubicBezTo>
                <a:cubicBezTo>
                  <a:pt x="243" y="757"/>
                  <a:pt x="243" y="243"/>
                  <a:pt x="243" y="174"/>
                </a:cubicBezTo>
                <a:cubicBezTo>
                  <a:pt x="243" y="139"/>
                  <a:pt x="243" y="139"/>
                  <a:pt x="243" y="139"/>
                </a:cubicBezTo>
                <a:cubicBezTo>
                  <a:pt x="243" y="100"/>
                  <a:pt x="212" y="69"/>
                  <a:pt x="174" y="69"/>
                </a:cubicBezTo>
                <a:cubicBezTo>
                  <a:pt x="742" y="69"/>
                  <a:pt x="742" y="69"/>
                  <a:pt x="742" y="69"/>
                </a:cubicBezTo>
                <a:cubicBezTo>
                  <a:pt x="793" y="69"/>
                  <a:pt x="834" y="111"/>
                  <a:pt x="834" y="161"/>
                </a:cubicBezTo>
                <a:cubicBezTo>
                  <a:pt x="834" y="695"/>
                  <a:pt x="834" y="695"/>
                  <a:pt x="834" y="695"/>
                </a:cubicBezTo>
                <a:cubicBezTo>
                  <a:pt x="904" y="695"/>
                  <a:pt x="904" y="695"/>
                  <a:pt x="904" y="695"/>
                </a:cubicBezTo>
                <a:cubicBezTo>
                  <a:pt x="904" y="573"/>
                  <a:pt x="904" y="326"/>
                  <a:pt x="904" y="161"/>
                </a:cubicBezTo>
                <a:cubicBezTo>
                  <a:pt x="904" y="72"/>
                  <a:pt x="832" y="0"/>
                  <a:pt x="742" y="0"/>
                </a:cubicBezTo>
                <a:cubicBezTo>
                  <a:pt x="685" y="0"/>
                  <a:pt x="685" y="0"/>
                  <a:pt x="685" y="0"/>
                </a:cubicBezTo>
                <a:cubicBezTo>
                  <a:pt x="174" y="0"/>
                  <a:pt x="174" y="0"/>
                  <a:pt x="174" y="0"/>
                </a:cubicBezTo>
                <a:cubicBezTo>
                  <a:pt x="78" y="0"/>
                  <a:pt x="0" y="78"/>
                  <a:pt x="0" y="174"/>
                </a:cubicBezTo>
                <a:cubicBezTo>
                  <a:pt x="0" y="181"/>
                  <a:pt x="0" y="188"/>
                  <a:pt x="1" y="196"/>
                </a:cubicBezTo>
                <a:cubicBezTo>
                  <a:pt x="2" y="203"/>
                  <a:pt x="8" y="209"/>
                  <a:pt x="16" y="209"/>
                </a:cubicBezTo>
                <a:cubicBezTo>
                  <a:pt x="174" y="209"/>
                  <a:pt x="174" y="209"/>
                  <a:pt x="174" y="209"/>
                </a:cubicBezTo>
                <a:cubicBezTo>
                  <a:pt x="174" y="410"/>
                  <a:pt x="174" y="694"/>
                  <a:pt x="174" y="757"/>
                </a:cubicBezTo>
                <a:cubicBezTo>
                  <a:pt x="174" y="857"/>
                  <a:pt x="256" y="939"/>
                  <a:pt x="358" y="939"/>
                </a:cubicBezTo>
                <a:cubicBezTo>
                  <a:pt x="820" y="939"/>
                  <a:pt x="820" y="939"/>
                  <a:pt x="820" y="939"/>
                </a:cubicBezTo>
                <a:cubicBezTo>
                  <a:pt x="869" y="939"/>
                  <a:pt x="869" y="939"/>
                  <a:pt x="869" y="939"/>
                </a:cubicBezTo>
                <a:cubicBezTo>
                  <a:pt x="965" y="939"/>
                  <a:pt x="1043" y="861"/>
                  <a:pt x="1043" y="765"/>
                </a:cubicBezTo>
                <a:cubicBezTo>
                  <a:pt x="1043" y="757"/>
                  <a:pt x="1042" y="750"/>
                  <a:pt x="1041" y="743"/>
                </a:cubicBezTo>
                <a:close/>
                <a:moveTo>
                  <a:pt x="765" y="529"/>
                </a:moveTo>
                <a:cubicBezTo>
                  <a:pt x="765" y="525"/>
                  <a:pt x="761" y="522"/>
                  <a:pt x="757" y="522"/>
                </a:cubicBezTo>
                <a:cubicBezTo>
                  <a:pt x="321" y="522"/>
                  <a:pt x="321" y="522"/>
                  <a:pt x="321" y="522"/>
                </a:cubicBezTo>
                <a:cubicBezTo>
                  <a:pt x="316" y="522"/>
                  <a:pt x="313" y="525"/>
                  <a:pt x="313" y="529"/>
                </a:cubicBezTo>
                <a:cubicBezTo>
                  <a:pt x="313" y="548"/>
                  <a:pt x="313" y="548"/>
                  <a:pt x="313" y="548"/>
                </a:cubicBezTo>
                <a:cubicBezTo>
                  <a:pt x="313" y="553"/>
                  <a:pt x="316" y="556"/>
                  <a:pt x="321" y="556"/>
                </a:cubicBezTo>
                <a:cubicBezTo>
                  <a:pt x="757" y="556"/>
                  <a:pt x="757" y="556"/>
                  <a:pt x="757" y="556"/>
                </a:cubicBezTo>
                <a:cubicBezTo>
                  <a:pt x="761" y="556"/>
                  <a:pt x="765" y="553"/>
                  <a:pt x="765" y="548"/>
                </a:cubicBezTo>
                <a:lnTo>
                  <a:pt x="765" y="529"/>
                </a:lnTo>
                <a:close/>
                <a:moveTo>
                  <a:pt x="765" y="460"/>
                </a:moveTo>
                <a:cubicBezTo>
                  <a:pt x="765" y="456"/>
                  <a:pt x="761" y="452"/>
                  <a:pt x="757" y="452"/>
                </a:cubicBezTo>
                <a:cubicBezTo>
                  <a:pt x="321" y="452"/>
                  <a:pt x="321" y="452"/>
                  <a:pt x="321" y="452"/>
                </a:cubicBezTo>
                <a:cubicBezTo>
                  <a:pt x="316" y="452"/>
                  <a:pt x="313" y="456"/>
                  <a:pt x="313" y="460"/>
                </a:cubicBezTo>
                <a:cubicBezTo>
                  <a:pt x="313" y="479"/>
                  <a:pt x="313" y="479"/>
                  <a:pt x="313" y="479"/>
                </a:cubicBezTo>
                <a:cubicBezTo>
                  <a:pt x="313" y="483"/>
                  <a:pt x="316" y="487"/>
                  <a:pt x="321" y="487"/>
                </a:cubicBezTo>
                <a:cubicBezTo>
                  <a:pt x="757" y="487"/>
                  <a:pt x="757" y="487"/>
                  <a:pt x="757" y="487"/>
                </a:cubicBezTo>
                <a:cubicBezTo>
                  <a:pt x="761" y="487"/>
                  <a:pt x="765" y="483"/>
                  <a:pt x="765" y="479"/>
                </a:cubicBezTo>
                <a:lnTo>
                  <a:pt x="765" y="460"/>
                </a:lnTo>
                <a:close/>
                <a:moveTo>
                  <a:pt x="765" y="599"/>
                </a:moveTo>
                <a:cubicBezTo>
                  <a:pt x="765" y="618"/>
                  <a:pt x="765" y="618"/>
                  <a:pt x="765" y="618"/>
                </a:cubicBezTo>
                <a:cubicBezTo>
                  <a:pt x="765" y="622"/>
                  <a:pt x="761" y="626"/>
                  <a:pt x="757" y="626"/>
                </a:cubicBezTo>
                <a:cubicBezTo>
                  <a:pt x="321" y="626"/>
                  <a:pt x="321" y="626"/>
                  <a:pt x="321" y="626"/>
                </a:cubicBezTo>
                <a:cubicBezTo>
                  <a:pt x="316" y="626"/>
                  <a:pt x="313" y="622"/>
                  <a:pt x="313" y="618"/>
                </a:cubicBezTo>
                <a:cubicBezTo>
                  <a:pt x="313" y="599"/>
                  <a:pt x="313" y="599"/>
                  <a:pt x="313" y="599"/>
                </a:cubicBezTo>
                <a:cubicBezTo>
                  <a:pt x="313" y="595"/>
                  <a:pt x="316" y="591"/>
                  <a:pt x="321" y="591"/>
                </a:cubicBezTo>
                <a:cubicBezTo>
                  <a:pt x="757" y="591"/>
                  <a:pt x="757" y="591"/>
                  <a:pt x="757" y="591"/>
                </a:cubicBezTo>
                <a:cubicBezTo>
                  <a:pt x="761" y="591"/>
                  <a:pt x="765" y="595"/>
                  <a:pt x="765" y="5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A1EAF592-3852-4489-AF2D-35A1C88FF77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200260" y="2340801"/>
            <a:ext cx="182832" cy="231961"/>
            <a:chOff x="849313" y="-539751"/>
            <a:chExt cx="8375650" cy="10623551"/>
          </a:xfrm>
          <a:solidFill>
            <a:schemeClr val="bg1">
              <a:alpha val="70000"/>
            </a:schemeClr>
          </a:solidFill>
        </p:grpSpPr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41A74F2A-7FE3-4A69-9995-41C2AB2E68C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3" y="2670175"/>
              <a:ext cx="8375650" cy="7413625"/>
            </a:xfrm>
            <a:custGeom>
              <a:avLst/>
              <a:gdLst>
                <a:gd name="T0" fmla="*/ 116 w 741"/>
                <a:gd name="T1" fmla="*/ 656 h 656"/>
                <a:gd name="T2" fmla="*/ 165 w 741"/>
                <a:gd name="T3" fmla="*/ 561 h 656"/>
                <a:gd name="T4" fmla="*/ 92 w 741"/>
                <a:gd name="T5" fmla="*/ 506 h 656"/>
                <a:gd name="T6" fmla="*/ 0 w 741"/>
                <a:gd name="T7" fmla="*/ 284 h 656"/>
                <a:gd name="T8" fmla="*/ 181 w 741"/>
                <a:gd name="T9" fmla="*/ 0 h 656"/>
                <a:gd name="T10" fmla="*/ 210 w 741"/>
                <a:gd name="T11" fmla="*/ 118 h 656"/>
                <a:gd name="T12" fmla="*/ 118 w 741"/>
                <a:gd name="T13" fmla="*/ 275 h 656"/>
                <a:gd name="T14" fmla="*/ 347 w 741"/>
                <a:gd name="T15" fmla="*/ 437 h 656"/>
                <a:gd name="T16" fmla="*/ 663 w 741"/>
                <a:gd name="T17" fmla="*/ 353 h 656"/>
                <a:gd name="T18" fmla="*/ 699 w 741"/>
                <a:gd name="T19" fmla="*/ 374 h 656"/>
                <a:gd name="T20" fmla="*/ 678 w 741"/>
                <a:gd name="T21" fmla="*/ 410 h 656"/>
                <a:gd name="T22" fmla="*/ 373 w 741"/>
                <a:gd name="T23" fmla="*/ 491 h 656"/>
                <a:gd name="T24" fmla="*/ 386 w 741"/>
                <a:gd name="T25" fmla="*/ 539 h 656"/>
                <a:gd name="T26" fmla="*/ 623 w 741"/>
                <a:gd name="T27" fmla="*/ 539 h 656"/>
                <a:gd name="T28" fmla="*/ 741 w 741"/>
                <a:gd name="T29" fmla="*/ 656 h 656"/>
                <a:gd name="T30" fmla="*/ 116 w 741"/>
                <a:gd name="T31" fmla="*/ 656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1" h="656">
                  <a:moveTo>
                    <a:pt x="116" y="656"/>
                  </a:moveTo>
                  <a:cubicBezTo>
                    <a:pt x="116" y="617"/>
                    <a:pt x="136" y="582"/>
                    <a:pt x="165" y="561"/>
                  </a:cubicBezTo>
                  <a:cubicBezTo>
                    <a:pt x="138" y="546"/>
                    <a:pt x="113" y="528"/>
                    <a:pt x="92" y="506"/>
                  </a:cubicBezTo>
                  <a:cubicBezTo>
                    <a:pt x="35" y="449"/>
                    <a:pt x="0" y="371"/>
                    <a:pt x="0" y="284"/>
                  </a:cubicBezTo>
                  <a:cubicBezTo>
                    <a:pt x="0" y="162"/>
                    <a:pt x="71" y="52"/>
                    <a:pt x="181" y="0"/>
                  </a:cubicBezTo>
                  <a:cubicBezTo>
                    <a:pt x="171" y="41"/>
                    <a:pt x="182" y="86"/>
                    <a:pt x="210" y="118"/>
                  </a:cubicBezTo>
                  <a:cubicBezTo>
                    <a:pt x="156" y="151"/>
                    <a:pt x="120" y="210"/>
                    <a:pt x="118" y="275"/>
                  </a:cubicBezTo>
                  <a:cubicBezTo>
                    <a:pt x="114" y="385"/>
                    <a:pt x="226" y="466"/>
                    <a:pt x="347" y="437"/>
                  </a:cubicBezTo>
                  <a:cubicBezTo>
                    <a:pt x="663" y="353"/>
                    <a:pt x="663" y="353"/>
                    <a:pt x="663" y="353"/>
                  </a:cubicBezTo>
                  <a:cubicBezTo>
                    <a:pt x="678" y="349"/>
                    <a:pt x="694" y="358"/>
                    <a:pt x="699" y="374"/>
                  </a:cubicBezTo>
                  <a:cubicBezTo>
                    <a:pt x="703" y="389"/>
                    <a:pt x="693" y="406"/>
                    <a:pt x="678" y="410"/>
                  </a:cubicBezTo>
                  <a:cubicBezTo>
                    <a:pt x="373" y="491"/>
                    <a:pt x="373" y="491"/>
                    <a:pt x="373" y="491"/>
                  </a:cubicBezTo>
                  <a:cubicBezTo>
                    <a:pt x="386" y="539"/>
                    <a:pt x="386" y="539"/>
                    <a:pt x="386" y="539"/>
                  </a:cubicBezTo>
                  <a:cubicBezTo>
                    <a:pt x="623" y="539"/>
                    <a:pt x="623" y="539"/>
                    <a:pt x="623" y="539"/>
                  </a:cubicBezTo>
                  <a:cubicBezTo>
                    <a:pt x="688" y="539"/>
                    <a:pt x="741" y="591"/>
                    <a:pt x="741" y="656"/>
                  </a:cubicBezTo>
                  <a:lnTo>
                    <a:pt x="116" y="6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9A8423B7-3ABB-45C5-969F-98D04AF827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1" y="5043487"/>
              <a:ext cx="2587625" cy="1231900"/>
            </a:xfrm>
            <a:custGeom>
              <a:avLst/>
              <a:gdLst>
                <a:gd name="T0" fmla="*/ 40 w 229"/>
                <a:gd name="T1" fmla="*/ 104 h 109"/>
                <a:gd name="T2" fmla="*/ 4 w 229"/>
                <a:gd name="T3" fmla="*/ 84 h 109"/>
                <a:gd name="T4" fmla="*/ 25 w 229"/>
                <a:gd name="T5" fmla="*/ 48 h 109"/>
                <a:gd name="T6" fmla="*/ 188 w 229"/>
                <a:gd name="T7" fmla="*/ 4 h 109"/>
                <a:gd name="T8" fmla="*/ 224 w 229"/>
                <a:gd name="T9" fmla="*/ 25 h 109"/>
                <a:gd name="T10" fmla="*/ 204 w 229"/>
                <a:gd name="T11" fmla="*/ 61 h 109"/>
                <a:gd name="T12" fmla="*/ 40 w 229"/>
                <a:gd name="T13" fmla="*/ 10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109">
                  <a:moveTo>
                    <a:pt x="40" y="104"/>
                  </a:moveTo>
                  <a:cubicBezTo>
                    <a:pt x="25" y="109"/>
                    <a:pt x="9" y="99"/>
                    <a:pt x="4" y="84"/>
                  </a:cubicBezTo>
                  <a:cubicBezTo>
                    <a:pt x="0" y="68"/>
                    <a:pt x="10" y="52"/>
                    <a:pt x="25" y="48"/>
                  </a:cubicBezTo>
                  <a:cubicBezTo>
                    <a:pt x="188" y="4"/>
                    <a:pt x="188" y="4"/>
                    <a:pt x="188" y="4"/>
                  </a:cubicBezTo>
                  <a:cubicBezTo>
                    <a:pt x="204" y="0"/>
                    <a:pt x="220" y="9"/>
                    <a:pt x="224" y="25"/>
                  </a:cubicBezTo>
                  <a:cubicBezTo>
                    <a:pt x="229" y="40"/>
                    <a:pt x="219" y="57"/>
                    <a:pt x="204" y="61"/>
                  </a:cubicBezTo>
                  <a:lnTo>
                    <a:pt x="4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F175EB21-7FF3-4A0A-ADC2-163CF97AA8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4851" y="-539751"/>
              <a:ext cx="4092575" cy="5910263"/>
            </a:xfrm>
            <a:custGeom>
              <a:avLst/>
              <a:gdLst>
                <a:gd name="T0" fmla="*/ 105 w 362"/>
                <a:gd name="T1" fmla="*/ 348 h 523"/>
                <a:gd name="T2" fmla="*/ 69 w 362"/>
                <a:gd name="T3" fmla="*/ 327 h 523"/>
                <a:gd name="T4" fmla="*/ 90 w 362"/>
                <a:gd name="T5" fmla="*/ 291 h 523"/>
                <a:gd name="T6" fmla="*/ 126 w 362"/>
                <a:gd name="T7" fmla="*/ 312 h 523"/>
                <a:gd name="T8" fmla="*/ 105 w 362"/>
                <a:gd name="T9" fmla="*/ 348 h 523"/>
                <a:gd name="T10" fmla="*/ 358 w 362"/>
                <a:gd name="T11" fmla="*/ 441 h 523"/>
                <a:gd name="T12" fmla="*/ 271 w 362"/>
                <a:gd name="T13" fmla="*/ 115 h 523"/>
                <a:gd name="T14" fmla="*/ 233 w 362"/>
                <a:gd name="T15" fmla="*/ 93 h 523"/>
                <a:gd name="T16" fmla="*/ 206 w 362"/>
                <a:gd name="T17" fmla="*/ 101 h 523"/>
                <a:gd name="T18" fmla="*/ 182 w 362"/>
                <a:gd name="T19" fmla="*/ 12 h 523"/>
                <a:gd name="T20" fmla="*/ 164 w 362"/>
                <a:gd name="T21" fmla="*/ 2 h 523"/>
                <a:gd name="T22" fmla="*/ 93 w 362"/>
                <a:gd name="T23" fmla="*/ 21 h 523"/>
                <a:gd name="T24" fmla="*/ 83 w 362"/>
                <a:gd name="T25" fmla="*/ 39 h 523"/>
                <a:gd name="T26" fmla="*/ 107 w 362"/>
                <a:gd name="T27" fmla="*/ 127 h 523"/>
                <a:gd name="T28" fmla="*/ 80 w 362"/>
                <a:gd name="T29" fmla="*/ 135 h 523"/>
                <a:gd name="T30" fmla="*/ 58 w 362"/>
                <a:gd name="T31" fmla="*/ 172 h 523"/>
                <a:gd name="T32" fmla="*/ 75 w 362"/>
                <a:gd name="T33" fmla="*/ 235 h 523"/>
                <a:gd name="T34" fmla="*/ 12 w 362"/>
                <a:gd name="T35" fmla="*/ 342 h 523"/>
                <a:gd name="T36" fmla="*/ 120 w 362"/>
                <a:gd name="T37" fmla="*/ 405 h 523"/>
                <a:gd name="T38" fmla="*/ 120 w 362"/>
                <a:gd name="T39" fmla="*/ 405 h 523"/>
                <a:gd name="T40" fmla="*/ 145 w 362"/>
                <a:gd name="T41" fmla="*/ 498 h 523"/>
                <a:gd name="T42" fmla="*/ 181 w 362"/>
                <a:gd name="T43" fmla="*/ 518 h 523"/>
                <a:gd name="T44" fmla="*/ 337 w 362"/>
                <a:gd name="T45" fmla="*/ 477 h 523"/>
                <a:gd name="T46" fmla="*/ 358 w 362"/>
                <a:gd name="T47" fmla="*/ 441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2" h="523">
                  <a:moveTo>
                    <a:pt x="105" y="348"/>
                  </a:moveTo>
                  <a:cubicBezTo>
                    <a:pt x="89" y="352"/>
                    <a:pt x="73" y="343"/>
                    <a:pt x="69" y="327"/>
                  </a:cubicBezTo>
                  <a:cubicBezTo>
                    <a:pt x="65" y="311"/>
                    <a:pt x="74" y="295"/>
                    <a:pt x="90" y="291"/>
                  </a:cubicBezTo>
                  <a:cubicBezTo>
                    <a:pt x="106" y="287"/>
                    <a:pt x="122" y="296"/>
                    <a:pt x="126" y="312"/>
                  </a:cubicBezTo>
                  <a:cubicBezTo>
                    <a:pt x="130" y="328"/>
                    <a:pt x="121" y="344"/>
                    <a:pt x="105" y="348"/>
                  </a:cubicBezTo>
                  <a:close/>
                  <a:moveTo>
                    <a:pt x="358" y="441"/>
                  </a:moveTo>
                  <a:cubicBezTo>
                    <a:pt x="271" y="115"/>
                    <a:pt x="271" y="115"/>
                    <a:pt x="271" y="115"/>
                  </a:cubicBezTo>
                  <a:cubicBezTo>
                    <a:pt x="266" y="99"/>
                    <a:pt x="250" y="89"/>
                    <a:pt x="233" y="93"/>
                  </a:cubicBezTo>
                  <a:cubicBezTo>
                    <a:pt x="206" y="101"/>
                    <a:pt x="206" y="101"/>
                    <a:pt x="206" y="101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0" y="4"/>
                    <a:pt x="172" y="0"/>
                    <a:pt x="164" y="2"/>
                  </a:cubicBezTo>
                  <a:cubicBezTo>
                    <a:pt x="93" y="21"/>
                    <a:pt x="93" y="21"/>
                    <a:pt x="93" y="21"/>
                  </a:cubicBezTo>
                  <a:cubicBezTo>
                    <a:pt x="86" y="23"/>
                    <a:pt x="81" y="31"/>
                    <a:pt x="83" y="39"/>
                  </a:cubicBezTo>
                  <a:cubicBezTo>
                    <a:pt x="107" y="127"/>
                    <a:pt x="107" y="127"/>
                    <a:pt x="107" y="127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63" y="139"/>
                    <a:pt x="54" y="156"/>
                    <a:pt x="58" y="172"/>
                  </a:cubicBezTo>
                  <a:cubicBezTo>
                    <a:pt x="75" y="235"/>
                    <a:pt x="75" y="235"/>
                    <a:pt x="75" y="235"/>
                  </a:cubicBezTo>
                  <a:cubicBezTo>
                    <a:pt x="28" y="247"/>
                    <a:pt x="0" y="295"/>
                    <a:pt x="12" y="342"/>
                  </a:cubicBezTo>
                  <a:cubicBezTo>
                    <a:pt x="25" y="389"/>
                    <a:pt x="73" y="417"/>
                    <a:pt x="120" y="405"/>
                  </a:cubicBezTo>
                  <a:cubicBezTo>
                    <a:pt x="120" y="405"/>
                    <a:pt x="120" y="405"/>
                    <a:pt x="120" y="405"/>
                  </a:cubicBezTo>
                  <a:cubicBezTo>
                    <a:pt x="145" y="498"/>
                    <a:pt x="145" y="498"/>
                    <a:pt x="145" y="498"/>
                  </a:cubicBezTo>
                  <a:cubicBezTo>
                    <a:pt x="150" y="513"/>
                    <a:pt x="166" y="523"/>
                    <a:pt x="181" y="518"/>
                  </a:cubicBezTo>
                  <a:cubicBezTo>
                    <a:pt x="337" y="477"/>
                    <a:pt x="337" y="477"/>
                    <a:pt x="337" y="477"/>
                  </a:cubicBezTo>
                  <a:cubicBezTo>
                    <a:pt x="353" y="472"/>
                    <a:pt x="362" y="456"/>
                    <a:pt x="358" y="4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51" name="Freeform 47">
            <a:extLst>
              <a:ext uri="{FF2B5EF4-FFF2-40B4-BE49-F238E27FC236}">
                <a16:creationId xmlns:a16="http://schemas.microsoft.com/office/drawing/2014/main" id="{1082F9FD-8004-4B7E-B87F-66BF161D2E6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844932" y="3268800"/>
            <a:ext cx="201116" cy="201139"/>
          </a:xfrm>
          <a:custGeom>
            <a:avLst/>
            <a:gdLst>
              <a:gd name="T0" fmla="*/ 951 w 981"/>
              <a:gd name="T1" fmla="*/ 842 h 981"/>
              <a:gd name="T2" fmla="*/ 711 w 981"/>
              <a:gd name="T3" fmla="*/ 603 h 981"/>
              <a:gd name="T4" fmla="*/ 603 w 981"/>
              <a:gd name="T5" fmla="*/ 107 h 981"/>
              <a:gd name="T6" fmla="*/ 107 w 981"/>
              <a:gd name="T7" fmla="*/ 216 h 981"/>
              <a:gd name="T8" fmla="*/ 216 w 981"/>
              <a:gd name="T9" fmla="*/ 712 h 981"/>
              <a:gd name="T10" fmla="*/ 603 w 981"/>
              <a:gd name="T11" fmla="*/ 712 h 981"/>
              <a:gd name="T12" fmla="*/ 842 w 981"/>
              <a:gd name="T13" fmla="*/ 951 h 981"/>
              <a:gd name="T14" fmla="*/ 951 w 981"/>
              <a:gd name="T15" fmla="*/ 951 h 981"/>
              <a:gd name="T16" fmla="*/ 951 w 981"/>
              <a:gd name="T17" fmla="*/ 843 h 981"/>
              <a:gd name="T18" fmla="*/ 951 w 981"/>
              <a:gd name="T19" fmla="*/ 842 h 981"/>
              <a:gd name="T20" fmla="*/ 153 w 981"/>
              <a:gd name="T21" fmla="*/ 410 h 981"/>
              <a:gd name="T22" fmla="*/ 410 w 981"/>
              <a:gd name="T23" fmla="*/ 153 h 981"/>
              <a:gd name="T24" fmla="*/ 666 w 981"/>
              <a:gd name="T25" fmla="*/ 410 h 981"/>
              <a:gd name="T26" fmla="*/ 410 w 981"/>
              <a:gd name="T27" fmla="*/ 666 h 981"/>
              <a:gd name="T28" fmla="*/ 153 w 981"/>
              <a:gd name="T29" fmla="*/ 410 h 9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81" h="981">
                <a:moveTo>
                  <a:pt x="951" y="842"/>
                </a:moveTo>
                <a:cubicBezTo>
                  <a:pt x="711" y="603"/>
                  <a:pt x="711" y="603"/>
                  <a:pt x="711" y="603"/>
                </a:cubicBezTo>
                <a:cubicBezTo>
                  <a:pt x="818" y="436"/>
                  <a:pt x="770" y="214"/>
                  <a:pt x="603" y="107"/>
                </a:cubicBezTo>
                <a:cubicBezTo>
                  <a:pt x="436" y="0"/>
                  <a:pt x="214" y="49"/>
                  <a:pt x="107" y="216"/>
                </a:cubicBezTo>
                <a:cubicBezTo>
                  <a:pt x="0" y="383"/>
                  <a:pt x="49" y="605"/>
                  <a:pt x="216" y="712"/>
                </a:cubicBezTo>
                <a:cubicBezTo>
                  <a:pt x="334" y="787"/>
                  <a:pt x="485" y="787"/>
                  <a:pt x="603" y="712"/>
                </a:cubicBezTo>
                <a:cubicBezTo>
                  <a:pt x="842" y="951"/>
                  <a:pt x="842" y="951"/>
                  <a:pt x="842" y="951"/>
                </a:cubicBezTo>
                <a:cubicBezTo>
                  <a:pt x="872" y="981"/>
                  <a:pt x="921" y="981"/>
                  <a:pt x="951" y="951"/>
                </a:cubicBezTo>
                <a:cubicBezTo>
                  <a:pt x="981" y="921"/>
                  <a:pt x="981" y="873"/>
                  <a:pt x="951" y="843"/>
                </a:cubicBezTo>
                <a:cubicBezTo>
                  <a:pt x="951" y="843"/>
                  <a:pt x="951" y="842"/>
                  <a:pt x="951" y="842"/>
                </a:cubicBezTo>
                <a:close/>
                <a:moveTo>
                  <a:pt x="153" y="410"/>
                </a:moveTo>
                <a:cubicBezTo>
                  <a:pt x="153" y="268"/>
                  <a:pt x="268" y="153"/>
                  <a:pt x="410" y="153"/>
                </a:cubicBezTo>
                <a:cubicBezTo>
                  <a:pt x="551" y="153"/>
                  <a:pt x="666" y="268"/>
                  <a:pt x="666" y="410"/>
                </a:cubicBezTo>
                <a:cubicBezTo>
                  <a:pt x="666" y="551"/>
                  <a:pt x="551" y="666"/>
                  <a:pt x="410" y="666"/>
                </a:cubicBezTo>
                <a:cubicBezTo>
                  <a:pt x="268" y="666"/>
                  <a:pt x="153" y="551"/>
                  <a:pt x="153" y="41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650CD8C3-FA54-4C2F-A5E2-6A7E4A06135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6706" y="918349"/>
            <a:ext cx="9963591" cy="5673283"/>
          </a:xfrm>
        </p:spPr>
        <p:txBody>
          <a:bodyPr/>
          <a:lstStyle>
            <a:lvl1pPr marL="0" indent="0">
              <a:spcBef>
                <a:spcPts val="1200"/>
              </a:spcBef>
              <a:buFontTx/>
              <a:buNone/>
              <a:defRPr sz="1799" b="1">
                <a:solidFill>
                  <a:schemeClr val="accent1">
                    <a:lumMod val="75000"/>
                  </a:schemeClr>
                </a:solidFill>
              </a:defRPr>
            </a:lvl1pPr>
            <a:lvl2pPr marL="168225" indent="-168225">
              <a:spcBef>
                <a:spcPts val="1200"/>
              </a:spcBef>
              <a:buFont typeface="Arial" panose="020B0604020202020204" pitchFamily="34" charset="0"/>
              <a:buChar char="•"/>
              <a:defRPr/>
            </a:lvl2pPr>
            <a:lvl3pPr marL="512609" indent="-171399">
              <a:spcBef>
                <a:spcPts val="600"/>
              </a:spcBef>
              <a:buFont typeface="Arial" panose="020B0604020202020204" pitchFamily="34" charset="0"/>
              <a:buChar char="‒"/>
              <a:defRPr sz="1300"/>
            </a:lvl3pPr>
            <a:lvl4pPr marL="798273" indent="-169812">
              <a:spcBef>
                <a:spcPts val="400"/>
              </a:spcBef>
              <a:buFont typeface="Arial" panose="020B0604020202020204" pitchFamily="34" charset="0"/>
              <a:buChar char="-"/>
              <a:defRPr sz="1300"/>
            </a:lvl4pPr>
            <a:lvl5pPr marL="1144245" indent="-115853">
              <a:spcBef>
                <a:spcPts val="200"/>
              </a:spcBef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496D1CD8-43EB-4276-844E-7DCD5C33090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84359" y="2786642"/>
            <a:ext cx="219317" cy="283896"/>
            <a:chOff x="10758416" y="1419641"/>
            <a:chExt cx="3297184" cy="4266944"/>
          </a:xfrm>
          <a:solidFill>
            <a:schemeClr val="bg1">
              <a:alpha val="80000"/>
            </a:schemeClr>
          </a:solidFill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17F56779-8D7D-4106-8C30-FD23556E210E}"/>
                </a:ext>
              </a:extLst>
            </p:cNvPr>
            <p:cNvSpPr/>
            <p:nvPr/>
          </p:nvSpPr>
          <p:spPr>
            <a:xfrm>
              <a:off x="10758416" y="1419641"/>
              <a:ext cx="3297184" cy="4266944"/>
            </a:xfrm>
            <a:custGeom>
              <a:avLst/>
              <a:gdLst>
                <a:gd name="connsiteX0" fmla="*/ 2763817 w 3297184"/>
                <a:gd name="connsiteY0" fmla="*/ 1939520 h 4266944"/>
                <a:gd name="connsiteX1" fmla="*/ 2424401 w 3297184"/>
                <a:gd name="connsiteY1" fmla="*/ 1600104 h 4266944"/>
                <a:gd name="connsiteX2" fmla="*/ 2763817 w 3297184"/>
                <a:gd name="connsiteY2" fmla="*/ 1260688 h 4266944"/>
                <a:gd name="connsiteX3" fmla="*/ 3103233 w 3297184"/>
                <a:gd name="connsiteY3" fmla="*/ 1600104 h 4266944"/>
                <a:gd name="connsiteX4" fmla="*/ 2763817 w 3297184"/>
                <a:gd name="connsiteY4" fmla="*/ 1939520 h 4266944"/>
                <a:gd name="connsiteX5" fmla="*/ 3297185 w 3297184"/>
                <a:gd name="connsiteY5" fmla="*/ 1600104 h 4266944"/>
                <a:gd name="connsiteX6" fmla="*/ 2763817 w 3297184"/>
                <a:gd name="connsiteY6" fmla="*/ 1066736 h 4266944"/>
                <a:gd name="connsiteX7" fmla="*/ 2230449 w 3297184"/>
                <a:gd name="connsiteY7" fmla="*/ 1600104 h 4266944"/>
                <a:gd name="connsiteX8" fmla="*/ 2618353 w 3297184"/>
                <a:gd name="connsiteY8" fmla="*/ 2114077 h 4266944"/>
                <a:gd name="connsiteX9" fmla="*/ 2618353 w 3297184"/>
                <a:gd name="connsiteY9" fmla="*/ 3248697 h 4266944"/>
                <a:gd name="connsiteX10" fmla="*/ 1891032 w 3297184"/>
                <a:gd name="connsiteY10" fmla="*/ 3976017 h 4266944"/>
                <a:gd name="connsiteX11" fmla="*/ 1163712 w 3297184"/>
                <a:gd name="connsiteY11" fmla="*/ 3248697 h 4266944"/>
                <a:gd name="connsiteX12" fmla="*/ 1163712 w 3297184"/>
                <a:gd name="connsiteY12" fmla="*/ 2754119 h 4266944"/>
                <a:gd name="connsiteX13" fmla="*/ 2036496 w 3297184"/>
                <a:gd name="connsiteY13" fmla="*/ 1745568 h 4266944"/>
                <a:gd name="connsiteX14" fmla="*/ 1939520 w 3297184"/>
                <a:gd name="connsiteY14" fmla="*/ 1580709 h 4266944"/>
                <a:gd name="connsiteX15" fmla="*/ 1939520 w 3297184"/>
                <a:gd name="connsiteY15" fmla="*/ 387904 h 4266944"/>
                <a:gd name="connsiteX16" fmla="*/ 1687383 w 3297184"/>
                <a:gd name="connsiteY16" fmla="*/ 101825 h 4266944"/>
                <a:gd name="connsiteX17" fmla="*/ 1551616 w 3297184"/>
                <a:gd name="connsiteY17" fmla="*/ 0 h 4266944"/>
                <a:gd name="connsiteX18" fmla="*/ 1503128 w 3297184"/>
                <a:gd name="connsiteY18" fmla="*/ 0 h 4266944"/>
                <a:gd name="connsiteX19" fmla="*/ 1309176 w 3297184"/>
                <a:gd name="connsiteY19" fmla="*/ 193952 h 4266944"/>
                <a:gd name="connsiteX20" fmla="*/ 1503128 w 3297184"/>
                <a:gd name="connsiteY20" fmla="*/ 387904 h 4266944"/>
                <a:gd name="connsiteX21" fmla="*/ 1551616 w 3297184"/>
                <a:gd name="connsiteY21" fmla="*/ 387904 h 4266944"/>
                <a:gd name="connsiteX22" fmla="*/ 1687383 w 3297184"/>
                <a:gd name="connsiteY22" fmla="*/ 300626 h 4266944"/>
                <a:gd name="connsiteX23" fmla="*/ 1745568 w 3297184"/>
                <a:gd name="connsiteY23" fmla="*/ 387904 h 4266944"/>
                <a:gd name="connsiteX24" fmla="*/ 1745568 w 3297184"/>
                <a:gd name="connsiteY24" fmla="*/ 1580709 h 4266944"/>
                <a:gd name="connsiteX25" fmla="*/ 1648592 w 3297184"/>
                <a:gd name="connsiteY25" fmla="*/ 1745568 h 4266944"/>
                <a:gd name="connsiteX26" fmla="*/ 1018248 w 3297184"/>
                <a:gd name="connsiteY26" fmla="*/ 2375913 h 4266944"/>
                <a:gd name="connsiteX27" fmla="*/ 387904 w 3297184"/>
                <a:gd name="connsiteY27" fmla="*/ 1745568 h 4266944"/>
                <a:gd name="connsiteX28" fmla="*/ 290928 w 3297184"/>
                <a:gd name="connsiteY28" fmla="*/ 1580709 h 4266944"/>
                <a:gd name="connsiteX29" fmla="*/ 290928 w 3297184"/>
                <a:gd name="connsiteY29" fmla="*/ 387904 h 4266944"/>
                <a:gd name="connsiteX30" fmla="*/ 349114 w 3297184"/>
                <a:gd name="connsiteY30" fmla="*/ 300626 h 4266944"/>
                <a:gd name="connsiteX31" fmla="*/ 484880 w 3297184"/>
                <a:gd name="connsiteY31" fmla="*/ 387904 h 4266944"/>
                <a:gd name="connsiteX32" fmla="*/ 533368 w 3297184"/>
                <a:gd name="connsiteY32" fmla="*/ 387904 h 4266944"/>
                <a:gd name="connsiteX33" fmla="*/ 727320 w 3297184"/>
                <a:gd name="connsiteY33" fmla="*/ 193952 h 4266944"/>
                <a:gd name="connsiteX34" fmla="*/ 533368 w 3297184"/>
                <a:gd name="connsiteY34" fmla="*/ 0 h 4266944"/>
                <a:gd name="connsiteX35" fmla="*/ 484880 w 3297184"/>
                <a:gd name="connsiteY35" fmla="*/ 0 h 4266944"/>
                <a:gd name="connsiteX36" fmla="*/ 349114 w 3297184"/>
                <a:gd name="connsiteY36" fmla="*/ 101825 h 4266944"/>
                <a:gd name="connsiteX37" fmla="*/ 96976 w 3297184"/>
                <a:gd name="connsiteY37" fmla="*/ 387904 h 4266944"/>
                <a:gd name="connsiteX38" fmla="*/ 96976 w 3297184"/>
                <a:gd name="connsiteY38" fmla="*/ 1580709 h 4266944"/>
                <a:gd name="connsiteX39" fmla="*/ 0 w 3297184"/>
                <a:gd name="connsiteY39" fmla="*/ 1745568 h 4266944"/>
                <a:gd name="connsiteX40" fmla="*/ 872784 w 3297184"/>
                <a:gd name="connsiteY40" fmla="*/ 2754119 h 4266944"/>
                <a:gd name="connsiteX41" fmla="*/ 872784 w 3297184"/>
                <a:gd name="connsiteY41" fmla="*/ 3248697 h 4266944"/>
                <a:gd name="connsiteX42" fmla="*/ 1891032 w 3297184"/>
                <a:gd name="connsiteY42" fmla="*/ 4266945 h 4266944"/>
                <a:gd name="connsiteX43" fmla="*/ 2909281 w 3297184"/>
                <a:gd name="connsiteY43" fmla="*/ 3248697 h 4266944"/>
                <a:gd name="connsiteX44" fmla="*/ 2909281 w 3297184"/>
                <a:gd name="connsiteY44" fmla="*/ 2114077 h 4266944"/>
                <a:gd name="connsiteX45" fmla="*/ 3297185 w 3297184"/>
                <a:gd name="connsiteY45" fmla="*/ 1600104 h 4266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3297184" h="4266944">
                  <a:moveTo>
                    <a:pt x="2763817" y="1939520"/>
                  </a:moveTo>
                  <a:cubicBezTo>
                    <a:pt x="2574713" y="1939520"/>
                    <a:pt x="2424401" y="1789208"/>
                    <a:pt x="2424401" y="1600104"/>
                  </a:cubicBezTo>
                  <a:cubicBezTo>
                    <a:pt x="2424401" y="1411001"/>
                    <a:pt x="2574713" y="1260688"/>
                    <a:pt x="2763817" y="1260688"/>
                  </a:cubicBezTo>
                  <a:cubicBezTo>
                    <a:pt x="2952920" y="1260688"/>
                    <a:pt x="3103233" y="1411001"/>
                    <a:pt x="3103233" y="1600104"/>
                  </a:cubicBezTo>
                  <a:cubicBezTo>
                    <a:pt x="3103233" y="1789208"/>
                    <a:pt x="2952920" y="1939520"/>
                    <a:pt x="2763817" y="1939520"/>
                  </a:cubicBezTo>
                  <a:close/>
                  <a:moveTo>
                    <a:pt x="3297185" y="1600104"/>
                  </a:moveTo>
                  <a:cubicBezTo>
                    <a:pt x="3297185" y="1304328"/>
                    <a:pt x="3059594" y="1066736"/>
                    <a:pt x="2763817" y="1066736"/>
                  </a:cubicBezTo>
                  <a:cubicBezTo>
                    <a:pt x="2468040" y="1066736"/>
                    <a:pt x="2230449" y="1304328"/>
                    <a:pt x="2230449" y="1600104"/>
                  </a:cubicBezTo>
                  <a:cubicBezTo>
                    <a:pt x="2230449" y="1842544"/>
                    <a:pt x="2395308" y="2051043"/>
                    <a:pt x="2618353" y="2114077"/>
                  </a:cubicBezTo>
                  <a:lnTo>
                    <a:pt x="2618353" y="3248697"/>
                  </a:lnTo>
                  <a:cubicBezTo>
                    <a:pt x="2618353" y="3651147"/>
                    <a:pt x="2293483" y="3976017"/>
                    <a:pt x="1891032" y="3976017"/>
                  </a:cubicBezTo>
                  <a:cubicBezTo>
                    <a:pt x="1488582" y="3976017"/>
                    <a:pt x="1163712" y="3651147"/>
                    <a:pt x="1163712" y="3248697"/>
                  </a:cubicBezTo>
                  <a:lnTo>
                    <a:pt x="1163712" y="2754119"/>
                  </a:lnTo>
                  <a:cubicBezTo>
                    <a:pt x="1658290" y="2681387"/>
                    <a:pt x="2036496" y="2259541"/>
                    <a:pt x="2036496" y="1745568"/>
                  </a:cubicBezTo>
                  <a:cubicBezTo>
                    <a:pt x="2036496" y="1672836"/>
                    <a:pt x="1997706" y="1609802"/>
                    <a:pt x="1939520" y="1580709"/>
                  </a:cubicBezTo>
                  <a:lnTo>
                    <a:pt x="1939520" y="387904"/>
                  </a:lnTo>
                  <a:cubicBezTo>
                    <a:pt x="1939520" y="242440"/>
                    <a:pt x="1827998" y="121220"/>
                    <a:pt x="1687383" y="101825"/>
                  </a:cubicBezTo>
                  <a:cubicBezTo>
                    <a:pt x="1667988" y="43639"/>
                    <a:pt x="1614651" y="0"/>
                    <a:pt x="1551616" y="0"/>
                  </a:cubicBezTo>
                  <a:lnTo>
                    <a:pt x="1503128" y="0"/>
                  </a:lnTo>
                  <a:cubicBezTo>
                    <a:pt x="1396455" y="0"/>
                    <a:pt x="1309176" y="87278"/>
                    <a:pt x="1309176" y="193952"/>
                  </a:cubicBezTo>
                  <a:cubicBezTo>
                    <a:pt x="1309176" y="300626"/>
                    <a:pt x="1396455" y="387904"/>
                    <a:pt x="1503128" y="387904"/>
                  </a:cubicBezTo>
                  <a:lnTo>
                    <a:pt x="1551616" y="387904"/>
                  </a:lnTo>
                  <a:cubicBezTo>
                    <a:pt x="1609802" y="387904"/>
                    <a:pt x="1663139" y="349114"/>
                    <a:pt x="1687383" y="300626"/>
                  </a:cubicBezTo>
                  <a:cubicBezTo>
                    <a:pt x="1721324" y="315172"/>
                    <a:pt x="1745568" y="349114"/>
                    <a:pt x="1745568" y="387904"/>
                  </a:cubicBezTo>
                  <a:lnTo>
                    <a:pt x="1745568" y="1580709"/>
                  </a:lnTo>
                  <a:cubicBezTo>
                    <a:pt x="1687383" y="1614651"/>
                    <a:pt x="1648592" y="1677685"/>
                    <a:pt x="1648592" y="1745568"/>
                  </a:cubicBezTo>
                  <a:cubicBezTo>
                    <a:pt x="1648592" y="2094682"/>
                    <a:pt x="1367362" y="2375913"/>
                    <a:pt x="1018248" y="2375913"/>
                  </a:cubicBezTo>
                  <a:cubicBezTo>
                    <a:pt x="669135" y="2375913"/>
                    <a:pt x="387904" y="2094682"/>
                    <a:pt x="387904" y="1745568"/>
                  </a:cubicBezTo>
                  <a:cubicBezTo>
                    <a:pt x="387904" y="1672836"/>
                    <a:pt x="349114" y="1609802"/>
                    <a:pt x="290928" y="1580709"/>
                  </a:cubicBezTo>
                  <a:lnTo>
                    <a:pt x="290928" y="387904"/>
                  </a:lnTo>
                  <a:cubicBezTo>
                    <a:pt x="290928" y="349114"/>
                    <a:pt x="315172" y="315172"/>
                    <a:pt x="349114" y="300626"/>
                  </a:cubicBezTo>
                  <a:cubicBezTo>
                    <a:pt x="373358" y="353963"/>
                    <a:pt x="421846" y="387904"/>
                    <a:pt x="484880" y="387904"/>
                  </a:cubicBezTo>
                  <a:lnTo>
                    <a:pt x="533368" y="387904"/>
                  </a:lnTo>
                  <a:cubicBezTo>
                    <a:pt x="640042" y="387904"/>
                    <a:pt x="727320" y="300626"/>
                    <a:pt x="727320" y="193952"/>
                  </a:cubicBezTo>
                  <a:cubicBezTo>
                    <a:pt x="727320" y="87278"/>
                    <a:pt x="640042" y="0"/>
                    <a:pt x="533368" y="0"/>
                  </a:cubicBezTo>
                  <a:lnTo>
                    <a:pt x="484880" y="0"/>
                  </a:lnTo>
                  <a:cubicBezTo>
                    <a:pt x="421846" y="0"/>
                    <a:pt x="368509" y="43639"/>
                    <a:pt x="349114" y="101825"/>
                  </a:cubicBezTo>
                  <a:cubicBezTo>
                    <a:pt x="208498" y="121220"/>
                    <a:pt x="96976" y="242440"/>
                    <a:pt x="96976" y="387904"/>
                  </a:cubicBezTo>
                  <a:lnTo>
                    <a:pt x="96976" y="1580709"/>
                  </a:lnTo>
                  <a:cubicBezTo>
                    <a:pt x="38790" y="1614651"/>
                    <a:pt x="0" y="1677685"/>
                    <a:pt x="0" y="1745568"/>
                  </a:cubicBezTo>
                  <a:cubicBezTo>
                    <a:pt x="0" y="2259541"/>
                    <a:pt x="378206" y="2681387"/>
                    <a:pt x="872784" y="2754119"/>
                  </a:cubicBezTo>
                  <a:lnTo>
                    <a:pt x="872784" y="3248697"/>
                  </a:lnTo>
                  <a:cubicBezTo>
                    <a:pt x="872784" y="3811158"/>
                    <a:pt x="1328572" y="4266945"/>
                    <a:pt x="1891032" y="4266945"/>
                  </a:cubicBezTo>
                  <a:cubicBezTo>
                    <a:pt x="2453493" y="4266945"/>
                    <a:pt x="2909281" y="3811158"/>
                    <a:pt x="2909281" y="3248697"/>
                  </a:cubicBezTo>
                  <a:lnTo>
                    <a:pt x="2909281" y="2114077"/>
                  </a:lnTo>
                  <a:cubicBezTo>
                    <a:pt x="3132326" y="2051043"/>
                    <a:pt x="3297185" y="1842544"/>
                    <a:pt x="3297185" y="1600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914E9CB-06CF-4337-A7DB-31066CD53908}"/>
                </a:ext>
              </a:extLst>
            </p:cNvPr>
            <p:cNvSpPr/>
            <p:nvPr/>
          </p:nvSpPr>
          <p:spPr>
            <a:xfrm>
              <a:off x="13279792" y="2777305"/>
              <a:ext cx="484880" cy="484880"/>
            </a:xfrm>
            <a:custGeom>
              <a:avLst/>
              <a:gdLst>
                <a:gd name="connsiteX0" fmla="*/ 484880 w 484880"/>
                <a:gd name="connsiteY0" fmla="*/ 242440 h 484880"/>
                <a:gd name="connsiteX1" fmla="*/ 242440 w 484880"/>
                <a:gd name="connsiteY1" fmla="*/ 484880 h 484880"/>
                <a:gd name="connsiteX2" fmla="*/ 0 w 484880"/>
                <a:gd name="connsiteY2" fmla="*/ 242440 h 484880"/>
                <a:gd name="connsiteX3" fmla="*/ 242440 w 484880"/>
                <a:gd name="connsiteY3" fmla="*/ 0 h 484880"/>
                <a:gd name="connsiteX4" fmla="*/ 484880 w 484880"/>
                <a:gd name="connsiteY4" fmla="*/ 242440 h 484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880" h="484880">
                  <a:moveTo>
                    <a:pt x="484880" y="242440"/>
                  </a:moveTo>
                  <a:cubicBezTo>
                    <a:pt x="484880" y="376336"/>
                    <a:pt x="376336" y="484880"/>
                    <a:pt x="242440" y="484880"/>
                  </a:cubicBezTo>
                  <a:cubicBezTo>
                    <a:pt x="108544" y="484880"/>
                    <a:pt x="0" y="376336"/>
                    <a:pt x="0" y="242440"/>
                  </a:cubicBezTo>
                  <a:cubicBezTo>
                    <a:pt x="0" y="108544"/>
                    <a:pt x="108544" y="0"/>
                    <a:pt x="242440" y="0"/>
                  </a:cubicBezTo>
                  <a:cubicBezTo>
                    <a:pt x="376336" y="0"/>
                    <a:pt x="484880" y="108544"/>
                    <a:pt x="484880" y="2424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7B16E51-543E-4540-BA55-AB802A4C1B04}"/>
              </a:ext>
            </a:extLst>
          </p:cNvPr>
          <p:cNvGrpSpPr/>
          <p:nvPr userDrawn="1"/>
        </p:nvGrpSpPr>
        <p:grpSpPr>
          <a:xfrm>
            <a:off x="11169212" y="3702633"/>
            <a:ext cx="229989" cy="225311"/>
            <a:chOff x="2634853" y="3844528"/>
            <a:chExt cx="261938" cy="268319"/>
          </a:xfrm>
          <a:solidFill>
            <a:schemeClr val="bg1">
              <a:alpha val="80000"/>
            </a:schemeClr>
          </a:solidFill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17D6A544-1BEA-4C2B-BCEC-3351D4B03A07}"/>
                </a:ext>
              </a:extLst>
            </p:cNvPr>
            <p:cNvSpPr/>
            <p:nvPr/>
          </p:nvSpPr>
          <p:spPr>
            <a:xfrm>
              <a:off x="2634853" y="3965972"/>
              <a:ext cx="34366" cy="108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9796EC2E-A832-4BD6-8F41-FD51EADE73FA}"/>
                </a:ext>
              </a:extLst>
            </p:cNvPr>
            <p:cNvSpPr/>
            <p:nvPr/>
          </p:nvSpPr>
          <p:spPr>
            <a:xfrm>
              <a:off x="2691746" y="3894534"/>
              <a:ext cx="34366" cy="18024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8377978D-531F-4D3D-BE40-EEDD3B202418}"/>
                </a:ext>
              </a:extLst>
            </p:cNvPr>
            <p:cNvSpPr/>
            <p:nvPr/>
          </p:nvSpPr>
          <p:spPr>
            <a:xfrm>
              <a:off x="2748639" y="3992166"/>
              <a:ext cx="34366" cy="826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4336B765-0149-4A39-9971-2044240E78BD}"/>
                </a:ext>
              </a:extLst>
            </p:cNvPr>
            <p:cNvSpPr/>
            <p:nvPr/>
          </p:nvSpPr>
          <p:spPr>
            <a:xfrm>
              <a:off x="2805532" y="3942160"/>
              <a:ext cx="34366" cy="13261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0F73B96C-3375-4287-A748-54335FECD49D}"/>
                </a:ext>
              </a:extLst>
            </p:cNvPr>
            <p:cNvSpPr/>
            <p:nvPr/>
          </p:nvSpPr>
          <p:spPr>
            <a:xfrm>
              <a:off x="2862425" y="3844528"/>
              <a:ext cx="34366" cy="2302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C65930F9-43C3-48DB-B93B-00F773535094}"/>
                </a:ext>
              </a:extLst>
            </p:cNvPr>
            <p:cNvSpPr/>
            <p:nvPr/>
          </p:nvSpPr>
          <p:spPr>
            <a:xfrm>
              <a:off x="2634853" y="4094559"/>
              <a:ext cx="261938" cy="1828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F4430067-67DB-4F1B-A143-B749D2A37A7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43494" y="4609169"/>
            <a:ext cx="247314" cy="241130"/>
            <a:chOff x="2578100" y="0"/>
            <a:chExt cx="11628438" cy="11334750"/>
          </a:xfrm>
          <a:solidFill>
            <a:schemeClr val="bg1">
              <a:alpha val="80000"/>
            </a:schemeClr>
          </a:solidFill>
        </p:grpSpPr>
        <p:sp>
          <p:nvSpPr>
            <p:cNvPr id="56" name="Freeform 15">
              <a:extLst>
                <a:ext uri="{FF2B5EF4-FFF2-40B4-BE49-F238E27FC236}">
                  <a16:creationId xmlns:a16="http://schemas.microsoft.com/office/drawing/2014/main" id="{66573E40-FA2F-47DF-8BC3-9573F8B6E3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2263" y="0"/>
              <a:ext cx="4994275" cy="5073650"/>
            </a:xfrm>
            <a:custGeom>
              <a:avLst/>
              <a:gdLst>
                <a:gd name="T0" fmla="*/ 211 w 442"/>
                <a:gd name="T1" fmla="*/ 137 h 449"/>
                <a:gd name="T2" fmla="*/ 308 w 442"/>
                <a:gd name="T3" fmla="*/ 215 h 449"/>
                <a:gd name="T4" fmla="*/ 231 w 442"/>
                <a:gd name="T5" fmla="*/ 312 h 449"/>
                <a:gd name="T6" fmla="*/ 133 w 442"/>
                <a:gd name="T7" fmla="*/ 235 h 449"/>
                <a:gd name="T8" fmla="*/ 211 w 442"/>
                <a:gd name="T9" fmla="*/ 137 h 449"/>
                <a:gd name="T10" fmla="*/ 65 w 442"/>
                <a:gd name="T11" fmla="*/ 283 h 449"/>
                <a:gd name="T12" fmla="*/ 16 w 442"/>
                <a:gd name="T13" fmla="*/ 320 h 449"/>
                <a:gd name="T14" fmla="*/ 71 w 442"/>
                <a:gd name="T15" fmla="*/ 394 h 449"/>
                <a:gd name="T16" fmla="*/ 121 w 442"/>
                <a:gd name="T17" fmla="*/ 357 h 449"/>
                <a:gd name="T18" fmla="*/ 194 w 442"/>
                <a:gd name="T19" fmla="*/ 389 h 449"/>
                <a:gd name="T20" fmla="*/ 201 w 442"/>
                <a:gd name="T21" fmla="*/ 449 h 449"/>
                <a:gd name="T22" fmla="*/ 292 w 442"/>
                <a:gd name="T23" fmla="*/ 439 h 449"/>
                <a:gd name="T24" fmla="*/ 285 w 442"/>
                <a:gd name="T25" fmla="*/ 378 h 449"/>
                <a:gd name="T26" fmla="*/ 349 w 442"/>
                <a:gd name="T27" fmla="*/ 330 h 449"/>
                <a:gd name="T28" fmla="*/ 405 w 442"/>
                <a:gd name="T29" fmla="*/ 354 h 449"/>
                <a:gd name="T30" fmla="*/ 442 w 442"/>
                <a:gd name="T31" fmla="*/ 270 h 449"/>
                <a:gd name="T32" fmla="*/ 385 w 442"/>
                <a:gd name="T33" fmla="*/ 246 h 449"/>
                <a:gd name="T34" fmla="*/ 376 w 442"/>
                <a:gd name="T35" fmla="*/ 166 h 449"/>
                <a:gd name="T36" fmla="*/ 425 w 442"/>
                <a:gd name="T37" fmla="*/ 130 h 449"/>
                <a:gd name="T38" fmla="*/ 370 w 442"/>
                <a:gd name="T39" fmla="*/ 56 h 449"/>
                <a:gd name="T40" fmla="*/ 321 w 442"/>
                <a:gd name="T41" fmla="*/ 93 h 449"/>
                <a:gd name="T42" fmla="*/ 248 w 442"/>
                <a:gd name="T43" fmla="*/ 61 h 449"/>
                <a:gd name="T44" fmla="*/ 241 w 442"/>
                <a:gd name="T45" fmla="*/ 0 h 449"/>
                <a:gd name="T46" fmla="*/ 149 w 442"/>
                <a:gd name="T47" fmla="*/ 11 h 449"/>
                <a:gd name="T48" fmla="*/ 156 w 442"/>
                <a:gd name="T49" fmla="*/ 72 h 449"/>
                <a:gd name="T50" fmla="*/ 93 w 442"/>
                <a:gd name="T51" fmla="*/ 119 h 449"/>
                <a:gd name="T52" fmla="*/ 36 w 442"/>
                <a:gd name="T53" fmla="*/ 95 h 449"/>
                <a:gd name="T54" fmla="*/ 0 w 442"/>
                <a:gd name="T55" fmla="*/ 180 h 449"/>
                <a:gd name="T56" fmla="*/ 56 w 442"/>
                <a:gd name="T57" fmla="*/ 204 h 449"/>
                <a:gd name="T58" fmla="*/ 65 w 442"/>
                <a:gd name="T59" fmla="*/ 283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2" h="449">
                  <a:moveTo>
                    <a:pt x="211" y="137"/>
                  </a:moveTo>
                  <a:cubicBezTo>
                    <a:pt x="259" y="132"/>
                    <a:pt x="303" y="166"/>
                    <a:pt x="308" y="215"/>
                  </a:cubicBezTo>
                  <a:cubicBezTo>
                    <a:pt x="314" y="263"/>
                    <a:pt x="279" y="307"/>
                    <a:pt x="231" y="312"/>
                  </a:cubicBezTo>
                  <a:cubicBezTo>
                    <a:pt x="183" y="318"/>
                    <a:pt x="139" y="283"/>
                    <a:pt x="133" y="235"/>
                  </a:cubicBezTo>
                  <a:cubicBezTo>
                    <a:pt x="128" y="187"/>
                    <a:pt x="162" y="143"/>
                    <a:pt x="211" y="137"/>
                  </a:cubicBezTo>
                  <a:close/>
                  <a:moveTo>
                    <a:pt x="65" y="283"/>
                  </a:moveTo>
                  <a:cubicBezTo>
                    <a:pt x="16" y="320"/>
                    <a:pt x="16" y="320"/>
                    <a:pt x="16" y="320"/>
                  </a:cubicBezTo>
                  <a:cubicBezTo>
                    <a:pt x="71" y="394"/>
                    <a:pt x="71" y="394"/>
                    <a:pt x="71" y="394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94" y="389"/>
                    <a:pt x="194" y="389"/>
                    <a:pt x="194" y="389"/>
                  </a:cubicBezTo>
                  <a:cubicBezTo>
                    <a:pt x="201" y="449"/>
                    <a:pt x="201" y="449"/>
                    <a:pt x="201" y="449"/>
                  </a:cubicBezTo>
                  <a:cubicBezTo>
                    <a:pt x="292" y="439"/>
                    <a:pt x="292" y="439"/>
                    <a:pt x="292" y="439"/>
                  </a:cubicBezTo>
                  <a:cubicBezTo>
                    <a:pt x="285" y="378"/>
                    <a:pt x="285" y="378"/>
                    <a:pt x="285" y="378"/>
                  </a:cubicBezTo>
                  <a:cubicBezTo>
                    <a:pt x="349" y="330"/>
                    <a:pt x="349" y="330"/>
                    <a:pt x="349" y="330"/>
                  </a:cubicBezTo>
                  <a:cubicBezTo>
                    <a:pt x="405" y="354"/>
                    <a:pt x="405" y="354"/>
                    <a:pt x="405" y="354"/>
                  </a:cubicBezTo>
                  <a:cubicBezTo>
                    <a:pt x="442" y="270"/>
                    <a:pt x="442" y="270"/>
                    <a:pt x="442" y="270"/>
                  </a:cubicBezTo>
                  <a:cubicBezTo>
                    <a:pt x="385" y="246"/>
                    <a:pt x="385" y="246"/>
                    <a:pt x="385" y="246"/>
                  </a:cubicBezTo>
                  <a:cubicBezTo>
                    <a:pt x="376" y="166"/>
                    <a:pt x="376" y="166"/>
                    <a:pt x="376" y="166"/>
                  </a:cubicBezTo>
                  <a:cubicBezTo>
                    <a:pt x="425" y="130"/>
                    <a:pt x="425" y="130"/>
                    <a:pt x="425" y="130"/>
                  </a:cubicBezTo>
                  <a:cubicBezTo>
                    <a:pt x="370" y="56"/>
                    <a:pt x="370" y="56"/>
                    <a:pt x="370" y="56"/>
                  </a:cubicBezTo>
                  <a:cubicBezTo>
                    <a:pt x="321" y="93"/>
                    <a:pt x="321" y="93"/>
                    <a:pt x="321" y="93"/>
                  </a:cubicBezTo>
                  <a:cubicBezTo>
                    <a:pt x="248" y="61"/>
                    <a:pt x="248" y="61"/>
                    <a:pt x="248" y="61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56" y="72"/>
                    <a:pt x="156" y="72"/>
                    <a:pt x="156" y="72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36" y="95"/>
                    <a:pt x="36" y="95"/>
                    <a:pt x="36" y="95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56" y="204"/>
                    <a:pt x="56" y="204"/>
                    <a:pt x="56" y="204"/>
                  </a:cubicBezTo>
                  <a:lnTo>
                    <a:pt x="65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B5A805F7-1B4B-45E6-8ACD-5B394FE6DC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0313" y="6340475"/>
              <a:ext cx="5073650" cy="4994275"/>
            </a:xfrm>
            <a:custGeom>
              <a:avLst/>
              <a:gdLst>
                <a:gd name="T0" fmla="*/ 306 w 449"/>
                <a:gd name="T1" fmla="*/ 256 h 442"/>
                <a:gd name="T2" fmla="*/ 190 w 449"/>
                <a:gd name="T3" fmla="*/ 302 h 442"/>
                <a:gd name="T4" fmla="*/ 144 w 449"/>
                <a:gd name="T5" fmla="*/ 186 h 442"/>
                <a:gd name="T6" fmla="*/ 259 w 449"/>
                <a:gd name="T7" fmla="*/ 140 h 442"/>
                <a:gd name="T8" fmla="*/ 306 w 449"/>
                <a:gd name="T9" fmla="*/ 256 h 442"/>
                <a:gd name="T10" fmla="*/ 449 w 449"/>
                <a:gd name="T11" fmla="*/ 240 h 442"/>
                <a:gd name="T12" fmla="*/ 438 w 449"/>
                <a:gd name="T13" fmla="*/ 149 h 442"/>
                <a:gd name="T14" fmla="*/ 377 w 449"/>
                <a:gd name="T15" fmla="*/ 156 h 442"/>
                <a:gd name="T16" fmla="*/ 330 w 449"/>
                <a:gd name="T17" fmla="*/ 92 h 442"/>
                <a:gd name="T18" fmla="*/ 354 w 449"/>
                <a:gd name="T19" fmla="*/ 36 h 442"/>
                <a:gd name="T20" fmla="*/ 269 w 449"/>
                <a:gd name="T21" fmla="*/ 0 h 442"/>
                <a:gd name="T22" fmla="*/ 245 w 449"/>
                <a:gd name="T23" fmla="*/ 56 h 442"/>
                <a:gd name="T24" fmla="*/ 166 w 449"/>
                <a:gd name="T25" fmla="*/ 66 h 442"/>
                <a:gd name="T26" fmla="*/ 129 w 449"/>
                <a:gd name="T27" fmla="*/ 17 h 442"/>
                <a:gd name="T28" fmla="*/ 55 w 449"/>
                <a:gd name="T29" fmla="*/ 72 h 442"/>
                <a:gd name="T30" fmla="*/ 92 w 449"/>
                <a:gd name="T31" fmla="*/ 121 h 442"/>
                <a:gd name="T32" fmla="*/ 61 w 449"/>
                <a:gd name="T33" fmla="*/ 194 h 442"/>
                <a:gd name="T34" fmla="*/ 0 w 449"/>
                <a:gd name="T35" fmla="*/ 202 h 442"/>
                <a:gd name="T36" fmla="*/ 11 w 449"/>
                <a:gd name="T37" fmla="*/ 293 h 442"/>
                <a:gd name="T38" fmla="*/ 72 w 449"/>
                <a:gd name="T39" fmla="*/ 286 h 442"/>
                <a:gd name="T40" fmla="*/ 120 w 449"/>
                <a:gd name="T41" fmla="*/ 350 h 442"/>
                <a:gd name="T42" fmla="*/ 96 w 449"/>
                <a:gd name="T43" fmla="*/ 406 h 442"/>
                <a:gd name="T44" fmla="*/ 180 w 449"/>
                <a:gd name="T45" fmla="*/ 442 h 442"/>
                <a:gd name="T46" fmla="*/ 205 w 449"/>
                <a:gd name="T47" fmla="*/ 386 h 442"/>
                <a:gd name="T48" fmla="*/ 284 w 449"/>
                <a:gd name="T49" fmla="*/ 376 h 442"/>
                <a:gd name="T50" fmla="*/ 320 w 449"/>
                <a:gd name="T51" fmla="*/ 425 h 442"/>
                <a:gd name="T52" fmla="*/ 394 w 449"/>
                <a:gd name="T53" fmla="*/ 370 h 442"/>
                <a:gd name="T54" fmla="*/ 357 w 449"/>
                <a:gd name="T55" fmla="*/ 321 h 442"/>
                <a:gd name="T56" fmla="*/ 389 w 449"/>
                <a:gd name="T57" fmla="*/ 248 h 442"/>
                <a:gd name="T58" fmla="*/ 449 w 449"/>
                <a:gd name="T59" fmla="*/ 24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9" h="442">
                  <a:moveTo>
                    <a:pt x="306" y="256"/>
                  </a:moveTo>
                  <a:cubicBezTo>
                    <a:pt x="287" y="300"/>
                    <a:pt x="235" y="321"/>
                    <a:pt x="190" y="302"/>
                  </a:cubicBezTo>
                  <a:cubicBezTo>
                    <a:pt x="145" y="283"/>
                    <a:pt x="125" y="231"/>
                    <a:pt x="144" y="186"/>
                  </a:cubicBezTo>
                  <a:cubicBezTo>
                    <a:pt x="163" y="142"/>
                    <a:pt x="215" y="121"/>
                    <a:pt x="259" y="140"/>
                  </a:cubicBezTo>
                  <a:cubicBezTo>
                    <a:pt x="304" y="159"/>
                    <a:pt x="325" y="211"/>
                    <a:pt x="306" y="256"/>
                  </a:cubicBezTo>
                  <a:close/>
                  <a:moveTo>
                    <a:pt x="449" y="240"/>
                  </a:moveTo>
                  <a:cubicBezTo>
                    <a:pt x="438" y="149"/>
                    <a:pt x="438" y="149"/>
                    <a:pt x="438" y="149"/>
                  </a:cubicBezTo>
                  <a:cubicBezTo>
                    <a:pt x="377" y="156"/>
                    <a:pt x="377" y="156"/>
                    <a:pt x="377" y="156"/>
                  </a:cubicBezTo>
                  <a:cubicBezTo>
                    <a:pt x="330" y="92"/>
                    <a:pt x="330" y="92"/>
                    <a:pt x="330" y="92"/>
                  </a:cubicBezTo>
                  <a:cubicBezTo>
                    <a:pt x="354" y="36"/>
                    <a:pt x="354" y="36"/>
                    <a:pt x="354" y="36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245" y="56"/>
                    <a:pt x="245" y="56"/>
                    <a:pt x="245" y="56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92" y="121"/>
                    <a:pt x="92" y="121"/>
                    <a:pt x="92" y="121"/>
                  </a:cubicBezTo>
                  <a:cubicBezTo>
                    <a:pt x="61" y="194"/>
                    <a:pt x="61" y="194"/>
                    <a:pt x="61" y="194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11" y="293"/>
                    <a:pt x="11" y="293"/>
                    <a:pt x="11" y="293"/>
                  </a:cubicBezTo>
                  <a:cubicBezTo>
                    <a:pt x="72" y="286"/>
                    <a:pt x="72" y="286"/>
                    <a:pt x="72" y="286"/>
                  </a:cubicBezTo>
                  <a:cubicBezTo>
                    <a:pt x="120" y="350"/>
                    <a:pt x="120" y="350"/>
                    <a:pt x="120" y="350"/>
                  </a:cubicBezTo>
                  <a:cubicBezTo>
                    <a:pt x="96" y="406"/>
                    <a:pt x="96" y="406"/>
                    <a:pt x="96" y="406"/>
                  </a:cubicBezTo>
                  <a:cubicBezTo>
                    <a:pt x="180" y="442"/>
                    <a:pt x="180" y="442"/>
                    <a:pt x="180" y="442"/>
                  </a:cubicBezTo>
                  <a:cubicBezTo>
                    <a:pt x="205" y="386"/>
                    <a:pt x="205" y="386"/>
                    <a:pt x="205" y="386"/>
                  </a:cubicBezTo>
                  <a:cubicBezTo>
                    <a:pt x="284" y="376"/>
                    <a:pt x="284" y="376"/>
                    <a:pt x="284" y="376"/>
                  </a:cubicBezTo>
                  <a:cubicBezTo>
                    <a:pt x="320" y="425"/>
                    <a:pt x="320" y="425"/>
                    <a:pt x="320" y="425"/>
                  </a:cubicBezTo>
                  <a:cubicBezTo>
                    <a:pt x="394" y="370"/>
                    <a:pt x="394" y="370"/>
                    <a:pt x="394" y="370"/>
                  </a:cubicBezTo>
                  <a:cubicBezTo>
                    <a:pt x="357" y="321"/>
                    <a:pt x="357" y="321"/>
                    <a:pt x="357" y="321"/>
                  </a:cubicBezTo>
                  <a:cubicBezTo>
                    <a:pt x="389" y="248"/>
                    <a:pt x="389" y="248"/>
                    <a:pt x="389" y="248"/>
                  </a:cubicBezTo>
                  <a:lnTo>
                    <a:pt x="449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D9C7BC4E-63AF-4730-B7C4-36CF37B725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8100" y="1638300"/>
              <a:ext cx="7627938" cy="7616825"/>
            </a:xfrm>
            <a:custGeom>
              <a:avLst/>
              <a:gdLst>
                <a:gd name="T0" fmla="*/ 337 w 675"/>
                <a:gd name="T1" fmla="*/ 485 h 674"/>
                <a:gd name="T2" fmla="*/ 189 w 675"/>
                <a:gd name="T3" fmla="*/ 337 h 674"/>
                <a:gd name="T4" fmla="*/ 337 w 675"/>
                <a:gd name="T5" fmla="*/ 189 h 674"/>
                <a:gd name="T6" fmla="*/ 486 w 675"/>
                <a:gd name="T7" fmla="*/ 337 h 674"/>
                <a:gd name="T8" fmla="*/ 337 w 675"/>
                <a:gd name="T9" fmla="*/ 485 h 674"/>
                <a:gd name="T10" fmla="*/ 571 w 675"/>
                <a:gd name="T11" fmla="*/ 479 h 674"/>
                <a:gd name="T12" fmla="*/ 602 w 675"/>
                <a:gd name="T13" fmla="*/ 401 h 674"/>
                <a:gd name="T14" fmla="*/ 675 w 675"/>
                <a:gd name="T15" fmla="*/ 395 h 674"/>
                <a:gd name="T16" fmla="*/ 675 w 675"/>
                <a:gd name="T17" fmla="*/ 279 h 674"/>
                <a:gd name="T18" fmla="*/ 602 w 675"/>
                <a:gd name="T19" fmla="*/ 272 h 674"/>
                <a:gd name="T20" fmla="*/ 571 w 675"/>
                <a:gd name="T21" fmla="*/ 195 h 674"/>
                <a:gd name="T22" fmla="*/ 617 w 675"/>
                <a:gd name="T23" fmla="*/ 139 h 674"/>
                <a:gd name="T24" fmla="*/ 535 w 675"/>
                <a:gd name="T25" fmla="*/ 57 h 674"/>
                <a:gd name="T26" fmla="*/ 479 w 675"/>
                <a:gd name="T27" fmla="*/ 104 h 674"/>
                <a:gd name="T28" fmla="*/ 402 w 675"/>
                <a:gd name="T29" fmla="*/ 72 h 674"/>
                <a:gd name="T30" fmla="*/ 395 w 675"/>
                <a:gd name="T31" fmla="*/ 0 h 674"/>
                <a:gd name="T32" fmla="*/ 279 w 675"/>
                <a:gd name="T33" fmla="*/ 0 h 674"/>
                <a:gd name="T34" fmla="*/ 273 w 675"/>
                <a:gd name="T35" fmla="*/ 72 h 674"/>
                <a:gd name="T36" fmla="*/ 195 w 675"/>
                <a:gd name="T37" fmla="*/ 103 h 674"/>
                <a:gd name="T38" fmla="*/ 140 w 675"/>
                <a:gd name="T39" fmla="*/ 57 h 674"/>
                <a:gd name="T40" fmla="*/ 58 w 675"/>
                <a:gd name="T41" fmla="*/ 139 h 674"/>
                <a:gd name="T42" fmla="*/ 104 w 675"/>
                <a:gd name="T43" fmla="*/ 195 h 674"/>
                <a:gd name="T44" fmla="*/ 72 w 675"/>
                <a:gd name="T45" fmla="*/ 272 h 674"/>
                <a:gd name="T46" fmla="*/ 0 w 675"/>
                <a:gd name="T47" fmla="*/ 279 h 674"/>
                <a:gd name="T48" fmla="*/ 0 w 675"/>
                <a:gd name="T49" fmla="*/ 395 h 674"/>
                <a:gd name="T50" fmla="*/ 72 w 675"/>
                <a:gd name="T51" fmla="*/ 401 h 674"/>
                <a:gd name="T52" fmla="*/ 104 w 675"/>
                <a:gd name="T53" fmla="*/ 479 h 674"/>
                <a:gd name="T54" fmla="*/ 58 w 675"/>
                <a:gd name="T55" fmla="*/ 534 h 674"/>
                <a:gd name="T56" fmla="*/ 140 w 675"/>
                <a:gd name="T57" fmla="*/ 616 h 674"/>
                <a:gd name="T58" fmla="*/ 195 w 675"/>
                <a:gd name="T59" fmla="*/ 570 h 674"/>
                <a:gd name="T60" fmla="*/ 273 w 675"/>
                <a:gd name="T61" fmla="*/ 602 h 674"/>
                <a:gd name="T62" fmla="*/ 279 w 675"/>
                <a:gd name="T63" fmla="*/ 674 h 674"/>
                <a:gd name="T64" fmla="*/ 395 w 675"/>
                <a:gd name="T65" fmla="*/ 674 h 674"/>
                <a:gd name="T66" fmla="*/ 402 w 675"/>
                <a:gd name="T67" fmla="*/ 602 h 674"/>
                <a:gd name="T68" fmla="*/ 479 w 675"/>
                <a:gd name="T69" fmla="*/ 570 h 674"/>
                <a:gd name="T70" fmla="*/ 535 w 675"/>
                <a:gd name="T71" fmla="*/ 616 h 674"/>
                <a:gd name="T72" fmla="*/ 617 w 675"/>
                <a:gd name="T73" fmla="*/ 534 h 674"/>
                <a:gd name="T74" fmla="*/ 571 w 675"/>
                <a:gd name="T75" fmla="*/ 479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5" h="674">
                  <a:moveTo>
                    <a:pt x="337" y="485"/>
                  </a:moveTo>
                  <a:cubicBezTo>
                    <a:pt x="255" y="485"/>
                    <a:pt x="189" y="419"/>
                    <a:pt x="189" y="337"/>
                  </a:cubicBezTo>
                  <a:cubicBezTo>
                    <a:pt x="189" y="255"/>
                    <a:pt x="255" y="189"/>
                    <a:pt x="337" y="189"/>
                  </a:cubicBezTo>
                  <a:cubicBezTo>
                    <a:pt x="419" y="189"/>
                    <a:pt x="486" y="255"/>
                    <a:pt x="486" y="337"/>
                  </a:cubicBezTo>
                  <a:cubicBezTo>
                    <a:pt x="486" y="419"/>
                    <a:pt x="419" y="485"/>
                    <a:pt x="337" y="485"/>
                  </a:cubicBezTo>
                  <a:close/>
                  <a:moveTo>
                    <a:pt x="571" y="479"/>
                  </a:moveTo>
                  <a:cubicBezTo>
                    <a:pt x="602" y="401"/>
                    <a:pt x="602" y="401"/>
                    <a:pt x="602" y="401"/>
                  </a:cubicBezTo>
                  <a:cubicBezTo>
                    <a:pt x="675" y="395"/>
                    <a:pt x="675" y="395"/>
                    <a:pt x="675" y="395"/>
                  </a:cubicBezTo>
                  <a:cubicBezTo>
                    <a:pt x="675" y="279"/>
                    <a:pt x="675" y="279"/>
                    <a:pt x="675" y="279"/>
                  </a:cubicBezTo>
                  <a:cubicBezTo>
                    <a:pt x="602" y="272"/>
                    <a:pt x="602" y="272"/>
                    <a:pt x="602" y="272"/>
                  </a:cubicBezTo>
                  <a:cubicBezTo>
                    <a:pt x="571" y="195"/>
                    <a:pt x="571" y="195"/>
                    <a:pt x="571" y="195"/>
                  </a:cubicBezTo>
                  <a:cubicBezTo>
                    <a:pt x="617" y="139"/>
                    <a:pt x="617" y="139"/>
                    <a:pt x="617" y="139"/>
                  </a:cubicBezTo>
                  <a:cubicBezTo>
                    <a:pt x="535" y="57"/>
                    <a:pt x="535" y="57"/>
                    <a:pt x="535" y="57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02" y="72"/>
                    <a:pt x="402" y="72"/>
                    <a:pt x="402" y="72"/>
                  </a:cubicBezTo>
                  <a:cubicBezTo>
                    <a:pt x="395" y="0"/>
                    <a:pt x="395" y="0"/>
                    <a:pt x="395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3" y="72"/>
                    <a:pt x="273" y="72"/>
                    <a:pt x="273" y="72"/>
                  </a:cubicBezTo>
                  <a:cubicBezTo>
                    <a:pt x="195" y="103"/>
                    <a:pt x="195" y="103"/>
                    <a:pt x="195" y="103"/>
                  </a:cubicBezTo>
                  <a:cubicBezTo>
                    <a:pt x="140" y="57"/>
                    <a:pt x="140" y="57"/>
                    <a:pt x="140" y="57"/>
                  </a:cubicBezTo>
                  <a:cubicBezTo>
                    <a:pt x="58" y="139"/>
                    <a:pt x="58" y="139"/>
                    <a:pt x="58" y="139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72" y="272"/>
                    <a:pt x="72" y="272"/>
                    <a:pt x="72" y="272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0" y="395"/>
                    <a:pt x="0" y="395"/>
                    <a:pt x="0" y="395"/>
                  </a:cubicBezTo>
                  <a:cubicBezTo>
                    <a:pt x="72" y="401"/>
                    <a:pt x="72" y="401"/>
                    <a:pt x="72" y="401"/>
                  </a:cubicBezTo>
                  <a:cubicBezTo>
                    <a:pt x="104" y="479"/>
                    <a:pt x="104" y="479"/>
                    <a:pt x="104" y="479"/>
                  </a:cubicBezTo>
                  <a:cubicBezTo>
                    <a:pt x="58" y="534"/>
                    <a:pt x="58" y="534"/>
                    <a:pt x="58" y="534"/>
                  </a:cubicBezTo>
                  <a:cubicBezTo>
                    <a:pt x="140" y="616"/>
                    <a:pt x="140" y="616"/>
                    <a:pt x="140" y="616"/>
                  </a:cubicBezTo>
                  <a:cubicBezTo>
                    <a:pt x="195" y="570"/>
                    <a:pt x="195" y="570"/>
                    <a:pt x="195" y="570"/>
                  </a:cubicBezTo>
                  <a:cubicBezTo>
                    <a:pt x="273" y="602"/>
                    <a:pt x="273" y="602"/>
                    <a:pt x="273" y="602"/>
                  </a:cubicBezTo>
                  <a:cubicBezTo>
                    <a:pt x="279" y="674"/>
                    <a:pt x="279" y="674"/>
                    <a:pt x="279" y="674"/>
                  </a:cubicBezTo>
                  <a:cubicBezTo>
                    <a:pt x="395" y="674"/>
                    <a:pt x="395" y="674"/>
                    <a:pt x="395" y="674"/>
                  </a:cubicBezTo>
                  <a:cubicBezTo>
                    <a:pt x="402" y="602"/>
                    <a:pt x="402" y="602"/>
                    <a:pt x="402" y="602"/>
                  </a:cubicBezTo>
                  <a:cubicBezTo>
                    <a:pt x="479" y="570"/>
                    <a:pt x="479" y="570"/>
                    <a:pt x="479" y="570"/>
                  </a:cubicBezTo>
                  <a:cubicBezTo>
                    <a:pt x="535" y="616"/>
                    <a:pt x="535" y="616"/>
                    <a:pt x="535" y="616"/>
                  </a:cubicBezTo>
                  <a:cubicBezTo>
                    <a:pt x="617" y="534"/>
                    <a:pt x="617" y="534"/>
                    <a:pt x="617" y="534"/>
                  </a:cubicBezTo>
                  <a:lnTo>
                    <a:pt x="571" y="4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B47F8FDD-00BC-4416-84A7-66394B26F0A7}"/>
              </a:ext>
            </a:extLst>
          </p:cNvPr>
          <p:cNvGrpSpPr/>
          <p:nvPr userDrawn="1"/>
        </p:nvGrpSpPr>
        <p:grpSpPr>
          <a:xfrm>
            <a:off x="11217797" y="1860685"/>
            <a:ext cx="192111" cy="290045"/>
            <a:chOff x="-3947158" y="1719597"/>
            <a:chExt cx="3385092" cy="5109416"/>
          </a:xfrm>
          <a:solidFill>
            <a:schemeClr val="bg1">
              <a:alpha val="80000"/>
            </a:schemeClr>
          </a:solidFill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7FECF884-A551-4892-82A3-4F205B92FA39}"/>
                </a:ext>
              </a:extLst>
            </p:cNvPr>
            <p:cNvSpPr/>
            <p:nvPr/>
          </p:nvSpPr>
          <p:spPr>
            <a:xfrm>
              <a:off x="-3624517" y="2322583"/>
              <a:ext cx="3062451" cy="218046"/>
            </a:xfrm>
            <a:prstGeom prst="rect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5698D8AB-7292-4201-A43F-0CF8FEE97602}"/>
                </a:ext>
              </a:extLst>
            </p:cNvPr>
            <p:cNvSpPr/>
            <p:nvPr/>
          </p:nvSpPr>
          <p:spPr>
            <a:xfrm>
              <a:off x="-3947158" y="3738067"/>
              <a:ext cx="1988090" cy="3089947"/>
            </a:xfrm>
            <a:custGeom>
              <a:avLst/>
              <a:gdLst>
                <a:gd name="connsiteX0" fmla="*/ 1536585 w 1988090"/>
                <a:gd name="connsiteY0" fmla="*/ 279 h 3089947"/>
                <a:gd name="connsiteX1" fmla="*/ 1493799 w 1988090"/>
                <a:gd name="connsiteY1" fmla="*/ 6084 h 3089947"/>
                <a:gd name="connsiteX2" fmla="*/ 994045 w 1988090"/>
                <a:gd name="connsiteY2" fmla="*/ 201257 h 3089947"/>
                <a:gd name="connsiteX3" fmla="*/ 494330 w 1988090"/>
                <a:gd name="connsiteY3" fmla="*/ 6122 h 3089947"/>
                <a:gd name="connsiteX4" fmla="*/ 451390 w 1988090"/>
                <a:gd name="connsiteY4" fmla="*/ 317 h 3089947"/>
                <a:gd name="connsiteX5" fmla="*/ 362549 w 1988090"/>
                <a:gd name="connsiteY5" fmla="*/ 12004 h 3089947"/>
                <a:gd name="connsiteX6" fmla="*/ 126819 w 1988090"/>
                <a:gd name="connsiteY6" fmla="*/ 305590 h 3089947"/>
                <a:gd name="connsiteX7" fmla="*/ 36 w 1988090"/>
                <a:gd name="connsiteY7" fmla="*/ 1551706 h 3089947"/>
                <a:gd name="connsiteX8" fmla="*/ 56470 w 1988090"/>
                <a:gd name="connsiteY8" fmla="*/ 1695481 h 3089947"/>
                <a:gd name="connsiteX9" fmla="*/ 198053 w 1988090"/>
                <a:gd name="connsiteY9" fmla="*/ 1757220 h 3089947"/>
                <a:gd name="connsiteX10" fmla="*/ 199975 w 1988090"/>
                <a:gd name="connsiteY10" fmla="*/ 1757258 h 3089947"/>
                <a:gd name="connsiteX11" fmla="*/ 201898 w 1988090"/>
                <a:gd name="connsiteY11" fmla="*/ 1757258 h 3089947"/>
                <a:gd name="connsiteX12" fmla="*/ 290969 w 1988090"/>
                <a:gd name="connsiteY12" fmla="*/ 1736154 h 3089947"/>
                <a:gd name="connsiteX13" fmla="*/ 359743 w 1988090"/>
                <a:gd name="connsiteY13" fmla="*/ 1679873 h 3089947"/>
                <a:gd name="connsiteX14" fmla="*/ 359743 w 1988090"/>
                <a:gd name="connsiteY14" fmla="*/ 2240751 h 3089947"/>
                <a:gd name="connsiteX15" fmla="*/ 359743 w 1988090"/>
                <a:gd name="connsiteY15" fmla="*/ 2801628 h 3089947"/>
                <a:gd name="connsiteX16" fmla="*/ 444201 w 1988090"/>
                <a:gd name="connsiteY16" fmla="*/ 3005489 h 3089947"/>
                <a:gd name="connsiteX17" fmla="*/ 648062 w 1988090"/>
                <a:gd name="connsiteY17" fmla="*/ 3089947 h 3089947"/>
                <a:gd name="connsiteX18" fmla="*/ 851923 w 1988090"/>
                <a:gd name="connsiteY18" fmla="*/ 3005489 h 3089947"/>
                <a:gd name="connsiteX19" fmla="*/ 936382 w 1988090"/>
                <a:gd name="connsiteY19" fmla="*/ 2801628 h 3089947"/>
                <a:gd name="connsiteX20" fmla="*/ 936382 w 1988090"/>
                <a:gd name="connsiteY20" fmla="*/ 2340317 h 3089947"/>
                <a:gd name="connsiteX21" fmla="*/ 936382 w 1988090"/>
                <a:gd name="connsiteY21" fmla="*/ 1879006 h 3089947"/>
                <a:gd name="connsiteX22" fmla="*/ 994045 w 1988090"/>
                <a:gd name="connsiteY22" fmla="*/ 1879006 h 3089947"/>
                <a:gd name="connsiteX23" fmla="*/ 1051709 w 1988090"/>
                <a:gd name="connsiteY23" fmla="*/ 1879006 h 3089947"/>
                <a:gd name="connsiteX24" fmla="*/ 1051709 w 1988090"/>
                <a:gd name="connsiteY24" fmla="*/ 2340317 h 3089947"/>
                <a:gd name="connsiteX25" fmla="*/ 1051709 w 1988090"/>
                <a:gd name="connsiteY25" fmla="*/ 2801628 h 3089947"/>
                <a:gd name="connsiteX26" fmla="*/ 1136167 w 1988090"/>
                <a:gd name="connsiteY26" fmla="*/ 3005489 h 3089947"/>
                <a:gd name="connsiteX27" fmla="*/ 1340029 w 1988090"/>
                <a:gd name="connsiteY27" fmla="*/ 3089947 h 3089947"/>
                <a:gd name="connsiteX28" fmla="*/ 1543889 w 1988090"/>
                <a:gd name="connsiteY28" fmla="*/ 3005489 h 3089947"/>
                <a:gd name="connsiteX29" fmla="*/ 1628348 w 1988090"/>
                <a:gd name="connsiteY29" fmla="*/ 2801628 h 3089947"/>
                <a:gd name="connsiteX30" fmla="*/ 1628348 w 1988090"/>
                <a:gd name="connsiteY30" fmla="*/ 2263432 h 3089947"/>
                <a:gd name="connsiteX31" fmla="*/ 1628348 w 1988090"/>
                <a:gd name="connsiteY31" fmla="*/ 1725313 h 3089947"/>
                <a:gd name="connsiteX32" fmla="*/ 1628348 w 1988090"/>
                <a:gd name="connsiteY32" fmla="*/ 1725236 h 3089947"/>
                <a:gd name="connsiteX33" fmla="*/ 1628348 w 1988090"/>
                <a:gd name="connsiteY33" fmla="*/ 1725159 h 3089947"/>
                <a:gd name="connsiteX34" fmla="*/ 1628348 w 1988090"/>
                <a:gd name="connsiteY34" fmla="*/ 1702478 h 3089947"/>
                <a:gd name="connsiteX35" fmla="*/ 1628348 w 1988090"/>
                <a:gd name="connsiteY35" fmla="*/ 1679797 h 3089947"/>
                <a:gd name="connsiteX36" fmla="*/ 1697122 w 1988090"/>
                <a:gd name="connsiteY36" fmla="*/ 1736115 h 3089947"/>
                <a:gd name="connsiteX37" fmla="*/ 1786193 w 1988090"/>
                <a:gd name="connsiteY37" fmla="*/ 1757220 h 3089947"/>
                <a:gd name="connsiteX38" fmla="*/ 1788115 w 1988090"/>
                <a:gd name="connsiteY38" fmla="*/ 1757220 h 3089947"/>
                <a:gd name="connsiteX39" fmla="*/ 1790037 w 1988090"/>
                <a:gd name="connsiteY39" fmla="*/ 1757182 h 3089947"/>
                <a:gd name="connsiteX40" fmla="*/ 1931621 w 1988090"/>
                <a:gd name="connsiteY40" fmla="*/ 1695443 h 3089947"/>
                <a:gd name="connsiteX41" fmla="*/ 1988055 w 1988090"/>
                <a:gd name="connsiteY41" fmla="*/ 1551668 h 3089947"/>
                <a:gd name="connsiteX42" fmla="*/ 1861233 w 1988090"/>
                <a:gd name="connsiteY42" fmla="*/ 305552 h 3089947"/>
                <a:gd name="connsiteX43" fmla="*/ 1625465 w 1988090"/>
                <a:gd name="connsiteY43" fmla="*/ 11966 h 3089947"/>
                <a:gd name="connsiteX44" fmla="*/ 1536585 w 1988090"/>
                <a:gd name="connsiteY44" fmla="*/ 279 h 308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988090" h="3089947">
                  <a:moveTo>
                    <a:pt x="1536585" y="279"/>
                  </a:moveTo>
                  <a:cubicBezTo>
                    <a:pt x="1521939" y="971"/>
                    <a:pt x="1507676" y="3008"/>
                    <a:pt x="1493799" y="6084"/>
                  </a:cubicBezTo>
                  <a:cubicBezTo>
                    <a:pt x="1361787" y="126870"/>
                    <a:pt x="1186643" y="201257"/>
                    <a:pt x="994045" y="201257"/>
                  </a:cubicBezTo>
                  <a:cubicBezTo>
                    <a:pt x="801448" y="201257"/>
                    <a:pt x="626342" y="126870"/>
                    <a:pt x="494330" y="6122"/>
                  </a:cubicBezTo>
                  <a:cubicBezTo>
                    <a:pt x="480414" y="3047"/>
                    <a:pt x="466075" y="1009"/>
                    <a:pt x="451390" y="317"/>
                  </a:cubicBezTo>
                  <a:cubicBezTo>
                    <a:pt x="422827" y="-1028"/>
                    <a:pt x="392996" y="2432"/>
                    <a:pt x="362549" y="12004"/>
                  </a:cubicBezTo>
                  <a:cubicBezTo>
                    <a:pt x="277591" y="38683"/>
                    <a:pt x="193133" y="92772"/>
                    <a:pt x="126819" y="305590"/>
                  </a:cubicBezTo>
                  <a:cubicBezTo>
                    <a:pt x="60506" y="518408"/>
                    <a:pt x="12337" y="889994"/>
                    <a:pt x="36" y="1551706"/>
                  </a:cubicBezTo>
                  <a:cubicBezTo>
                    <a:pt x="-1002" y="1607409"/>
                    <a:pt x="20641" y="1658308"/>
                    <a:pt x="56470" y="1695481"/>
                  </a:cubicBezTo>
                  <a:cubicBezTo>
                    <a:pt x="92298" y="1732655"/>
                    <a:pt x="142312" y="1756221"/>
                    <a:pt x="198053" y="1757220"/>
                  </a:cubicBezTo>
                  <a:cubicBezTo>
                    <a:pt x="198707" y="1757220"/>
                    <a:pt x="199322" y="1757220"/>
                    <a:pt x="199975" y="1757258"/>
                  </a:cubicBezTo>
                  <a:cubicBezTo>
                    <a:pt x="200629" y="1757297"/>
                    <a:pt x="201244" y="1757258"/>
                    <a:pt x="201898" y="1757258"/>
                  </a:cubicBezTo>
                  <a:cubicBezTo>
                    <a:pt x="233920" y="1757258"/>
                    <a:pt x="264136" y="1749647"/>
                    <a:pt x="290969" y="1736154"/>
                  </a:cubicBezTo>
                  <a:cubicBezTo>
                    <a:pt x="317802" y="1722660"/>
                    <a:pt x="341214" y="1703323"/>
                    <a:pt x="359743" y="1679873"/>
                  </a:cubicBezTo>
                  <a:lnTo>
                    <a:pt x="359743" y="2240751"/>
                  </a:lnTo>
                  <a:lnTo>
                    <a:pt x="359743" y="2801628"/>
                  </a:lnTo>
                  <a:cubicBezTo>
                    <a:pt x="359743" y="2881243"/>
                    <a:pt x="391996" y="2953323"/>
                    <a:pt x="444201" y="3005489"/>
                  </a:cubicBezTo>
                  <a:cubicBezTo>
                    <a:pt x="496406" y="3057656"/>
                    <a:pt x="568447" y="3089947"/>
                    <a:pt x="648062" y="3089947"/>
                  </a:cubicBezTo>
                  <a:cubicBezTo>
                    <a:pt x="727677" y="3089947"/>
                    <a:pt x="799757" y="3057694"/>
                    <a:pt x="851923" y="3005489"/>
                  </a:cubicBezTo>
                  <a:cubicBezTo>
                    <a:pt x="904090" y="2953284"/>
                    <a:pt x="936382" y="2881243"/>
                    <a:pt x="936382" y="2801628"/>
                  </a:cubicBezTo>
                  <a:lnTo>
                    <a:pt x="936382" y="2340317"/>
                  </a:lnTo>
                  <a:lnTo>
                    <a:pt x="936382" y="1879006"/>
                  </a:lnTo>
                  <a:lnTo>
                    <a:pt x="994045" y="1879006"/>
                  </a:lnTo>
                  <a:lnTo>
                    <a:pt x="1051709" y="1879006"/>
                  </a:lnTo>
                  <a:lnTo>
                    <a:pt x="1051709" y="2340317"/>
                  </a:lnTo>
                  <a:lnTo>
                    <a:pt x="1051709" y="2801628"/>
                  </a:lnTo>
                  <a:cubicBezTo>
                    <a:pt x="1051709" y="2881243"/>
                    <a:pt x="1083962" y="2953323"/>
                    <a:pt x="1136167" y="3005489"/>
                  </a:cubicBezTo>
                  <a:cubicBezTo>
                    <a:pt x="1188372" y="3057656"/>
                    <a:pt x="1260414" y="3089947"/>
                    <a:pt x="1340029" y="3089947"/>
                  </a:cubicBezTo>
                  <a:cubicBezTo>
                    <a:pt x="1419643" y="3089947"/>
                    <a:pt x="1491723" y="3057694"/>
                    <a:pt x="1543889" y="3005489"/>
                  </a:cubicBezTo>
                  <a:cubicBezTo>
                    <a:pt x="1596056" y="2953284"/>
                    <a:pt x="1628348" y="2881243"/>
                    <a:pt x="1628348" y="2801628"/>
                  </a:cubicBezTo>
                  <a:lnTo>
                    <a:pt x="1628348" y="2263432"/>
                  </a:lnTo>
                  <a:lnTo>
                    <a:pt x="1628348" y="1725313"/>
                  </a:lnTo>
                  <a:cubicBezTo>
                    <a:pt x="1628348" y="1725274"/>
                    <a:pt x="1628348" y="1725274"/>
                    <a:pt x="1628348" y="1725236"/>
                  </a:cubicBezTo>
                  <a:cubicBezTo>
                    <a:pt x="1628348" y="1725197"/>
                    <a:pt x="1628348" y="1725197"/>
                    <a:pt x="1628348" y="1725159"/>
                  </a:cubicBezTo>
                  <a:lnTo>
                    <a:pt x="1628348" y="1702478"/>
                  </a:lnTo>
                  <a:lnTo>
                    <a:pt x="1628348" y="1679797"/>
                  </a:lnTo>
                  <a:cubicBezTo>
                    <a:pt x="1646839" y="1703247"/>
                    <a:pt x="1670289" y="1722622"/>
                    <a:pt x="1697122" y="1736115"/>
                  </a:cubicBezTo>
                  <a:cubicBezTo>
                    <a:pt x="1723955" y="1749609"/>
                    <a:pt x="1754170" y="1757220"/>
                    <a:pt x="1786193" y="1757220"/>
                  </a:cubicBezTo>
                  <a:cubicBezTo>
                    <a:pt x="1786847" y="1757220"/>
                    <a:pt x="1787461" y="1757220"/>
                    <a:pt x="1788115" y="1757220"/>
                  </a:cubicBezTo>
                  <a:cubicBezTo>
                    <a:pt x="1788769" y="1757220"/>
                    <a:pt x="1789384" y="1757220"/>
                    <a:pt x="1790037" y="1757182"/>
                  </a:cubicBezTo>
                  <a:cubicBezTo>
                    <a:pt x="1845779" y="1756144"/>
                    <a:pt x="1895793" y="1732617"/>
                    <a:pt x="1931621" y="1695443"/>
                  </a:cubicBezTo>
                  <a:cubicBezTo>
                    <a:pt x="1967450" y="1658269"/>
                    <a:pt x="1989093" y="1607371"/>
                    <a:pt x="1988055" y="1551668"/>
                  </a:cubicBezTo>
                  <a:cubicBezTo>
                    <a:pt x="1975715" y="889955"/>
                    <a:pt x="1927585" y="518370"/>
                    <a:pt x="1861233" y="305552"/>
                  </a:cubicBezTo>
                  <a:cubicBezTo>
                    <a:pt x="1794881" y="92733"/>
                    <a:pt x="1710423" y="38683"/>
                    <a:pt x="1625465" y="11966"/>
                  </a:cubicBezTo>
                  <a:cubicBezTo>
                    <a:pt x="1594980" y="2393"/>
                    <a:pt x="1565148" y="-1066"/>
                    <a:pt x="1536585" y="27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E3DC1848-3073-44BD-923A-0CB1B7E2ECF8}"/>
                </a:ext>
              </a:extLst>
            </p:cNvPr>
            <p:cNvSpPr/>
            <p:nvPr/>
          </p:nvSpPr>
          <p:spPr>
            <a:xfrm>
              <a:off x="-3541246" y="2609288"/>
              <a:ext cx="1176265" cy="1176265"/>
            </a:xfrm>
            <a:custGeom>
              <a:avLst/>
              <a:gdLst>
                <a:gd name="connsiteX0" fmla="*/ 1176266 w 1176265"/>
                <a:gd name="connsiteY0" fmla="*/ 588133 h 1176265"/>
                <a:gd name="connsiteX1" fmla="*/ 588133 w 1176265"/>
                <a:gd name="connsiteY1" fmla="*/ 1176266 h 1176265"/>
                <a:gd name="connsiteX2" fmla="*/ 0 w 1176265"/>
                <a:gd name="connsiteY2" fmla="*/ 588133 h 1176265"/>
                <a:gd name="connsiteX3" fmla="*/ 588133 w 1176265"/>
                <a:gd name="connsiteY3" fmla="*/ 0 h 1176265"/>
                <a:gd name="connsiteX4" fmla="*/ 1176266 w 1176265"/>
                <a:gd name="connsiteY4" fmla="*/ 588133 h 117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6265" h="1176265">
                  <a:moveTo>
                    <a:pt x="1176266" y="588133"/>
                  </a:moveTo>
                  <a:cubicBezTo>
                    <a:pt x="1176266" y="912950"/>
                    <a:pt x="912950" y="1176266"/>
                    <a:pt x="588133" y="1176266"/>
                  </a:cubicBezTo>
                  <a:cubicBezTo>
                    <a:pt x="263316" y="1176266"/>
                    <a:pt x="0" y="912950"/>
                    <a:pt x="0" y="588133"/>
                  </a:cubicBezTo>
                  <a:cubicBezTo>
                    <a:pt x="0" y="263316"/>
                    <a:pt x="263316" y="0"/>
                    <a:pt x="588133" y="0"/>
                  </a:cubicBezTo>
                  <a:cubicBezTo>
                    <a:pt x="912950" y="0"/>
                    <a:pt x="1176266" y="263316"/>
                    <a:pt x="1176266" y="5881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30A3444F-A692-4C09-AFFD-8F5310931572}"/>
                </a:ext>
              </a:extLst>
            </p:cNvPr>
            <p:cNvSpPr/>
            <p:nvPr/>
          </p:nvSpPr>
          <p:spPr>
            <a:xfrm>
              <a:off x="-1697617" y="2605328"/>
              <a:ext cx="956528" cy="4223685"/>
            </a:xfrm>
            <a:custGeom>
              <a:avLst/>
              <a:gdLst>
                <a:gd name="connsiteX0" fmla="*/ 956528 w 956528"/>
                <a:gd name="connsiteY0" fmla="*/ 4223686 h 4223685"/>
                <a:gd name="connsiteX1" fmla="*/ 956528 w 956528"/>
                <a:gd name="connsiteY1" fmla="*/ 0 h 4223685"/>
                <a:gd name="connsiteX2" fmla="*/ 900248 w 956528"/>
                <a:gd name="connsiteY2" fmla="*/ 0 h 4223685"/>
                <a:gd name="connsiteX3" fmla="*/ 900248 w 956528"/>
                <a:gd name="connsiteY3" fmla="*/ 4167445 h 4223685"/>
                <a:gd name="connsiteX4" fmla="*/ 56280 w 956528"/>
                <a:gd name="connsiteY4" fmla="*/ 4167445 h 4223685"/>
                <a:gd name="connsiteX5" fmla="*/ 56280 w 956528"/>
                <a:gd name="connsiteY5" fmla="*/ 3998643 h 4223685"/>
                <a:gd name="connsiteX6" fmla="*/ 337603 w 956528"/>
                <a:gd name="connsiteY6" fmla="*/ 3998643 h 4223685"/>
                <a:gd name="connsiteX7" fmla="*/ 337603 w 956528"/>
                <a:gd name="connsiteY7" fmla="*/ 3942363 h 4223685"/>
                <a:gd name="connsiteX8" fmla="*/ 56280 w 956528"/>
                <a:gd name="connsiteY8" fmla="*/ 3942363 h 4223685"/>
                <a:gd name="connsiteX9" fmla="*/ 56280 w 956528"/>
                <a:gd name="connsiteY9" fmla="*/ 3773562 h 4223685"/>
                <a:gd name="connsiteX10" fmla="*/ 337603 w 956528"/>
                <a:gd name="connsiteY10" fmla="*/ 3773562 h 4223685"/>
                <a:gd name="connsiteX11" fmla="*/ 337603 w 956528"/>
                <a:gd name="connsiteY11" fmla="*/ 3717321 h 4223685"/>
                <a:gd name="connsiteX12" fmla="*/ 56280 w 956528"/>
                <a:gd name="connsiteY12" fmla="*/ 3717321 h 4223685"/>
                <a:gd name="connsiteX13" fmla="*/ 56280 w 956528"/>
                <a:gd name="connsiteY13" fmla="*/ 3548519 h 4223685"/>
                <a:gd name="connsiteX14" fmla="*/ 337603 w 956528"/>
                <a:gd name="connsiteY14" fmla="*/ 3548519 h 4223685"/>
                <a:gd name="connsiteX15" fmla="*/ 337603 w 956528"/>
                <a:gd name="connsiteY15" fmla="*/ 3492239 h 4223685"/>
                <a:gd name="connsiteX16" fmla="*/ 56280 w 956528"/>
                <a:gd name="connsiteY16" fmla="*/ 3492239 h 4223685"/>
                <a:gd name="connsiteX17" fmla="*/ 56280 w 956528"/>
                <a:gd name="connsiteY17" fmla="*/ 3323438 h 4223685"/>
                <a:gd name="connsiteX18" fmla="*/ 675205 w 956528"/>
                <a:gd name="connsiteY18" fmla="*/ 3323438 h 4223685"/>
                <a:gd name="connsiteX19" fmla="*/ 675205 w 956528"/>
                <a:gd name="connsiteY19" fmla="*/ 3267158 h 4223685"/>
                <a:gd name="connsiteX20" fmla="*/ 56280 w 956528"/>
                <a:gd name="connsiteY20" fmla="*/ 3267158 h 4223685"/>
                <a:gd name="connsiteX21" fmla="*/ 56280 w 956528"/>
                <a:gd name="connsiteY21" fmla="*/ 3098395 h 4223685"/>
                <a:gd name="connsiteX22" fmla="*/ 337603 w 956528"/>
                <a:gd name="connsiteY22" fmla="*/ 3098395 h 4223685"/>
                <a:gd name="connsiteX23" fmla="*/ 337603 w 956528"/>
                <a:gd name="connsiteY23" fmla="*/ 3042115 h 4223685"/>
                <a:gd name="connsiteX24" fmla="*/ 56280 w 956528"/>
                <a:gd name="connsiteY24" fmla="*/ 3042115 h 4223685"/>
                <a:gd name="connsiteX25" fmla="*/ 56280 w 956528"/>
                <a:gd name="connsiteY25" fmla="*/ 2873314 h 4223685"/>
                <a:gd name="connsiteX26" fmla="*/ 337603 w 956528"/>
                <a:gd name="connsiteY26" fmla="*/ 2873314 h 4223685"/>
                <a:gd name="connsiteX27" fmla="*/ 337603 w 956528"/>
                <a:gd name="connsiteY27" fmla="*/ 2817034 h 4223685"/>
                <a:gd name="connsiteX28" fmla="*/ 56280 w 956528"/>
                <a:gd name="connsiteY28" fmla="*/ 2817034 h 4223685"/>
                <a:gd name="connsiteX29" fmla="*/ 56280 w 956528"/>
                <a:gd name="connsiteY29" fmla="*/ 2648233 h 4223685"/>
                <a:gd name="connsiteX30" fmla="*/ 337603 w 956528"/>
                <a:gd name="connsiteY30" fmla="*/ 2648233 h 4223685"/>
                <a:gd name="connsiteX31" fmla="*/ 337603 w 956528"/>
                <a:gd name="connsiteY31" fmla="*/ 2591991 h 4223685"/>
                <a:gd name="connsiteX32" fmla="*/ 56280 w 956528"/>
                <a:gd name="connsiteY32" fmla="*/ 2591991 h 4223685"/>
                <a:gd name="connsiteX33" fmla="*/ 56280 w 956528"/>
                <a:gd name="connsiteY33" fmla="*/ 2423190 h 4223685"/>
                <a:gd name="connsiteX34" fmla="*/ 675205 w 956528"/>
                <a:gd name="connsiteY34" fmla="*/ 2423190 h 4223685"/>
                <a:gd name="connsiteX35" fmla="*/ 675205 w 956528"/>
                <a:gd name="connsiteY35" fmla="*/ 2366909 h 4223685"/>
                <a:gd name="connsiteX36" fmla="*/ 56280 w 956528"/>
                <a:gd name="connsiteY36" fmla="*/ 2366909 h 4223685"/>
                <a:gd name="connsiteX37" fmla="*/ 56280 w 956528"/>
                <a:gd name="connsiteY37" fmla="*/ 2198108 h 4223685"/>
                <a:gd name="connsiteX38" fmla="*/ 337603 w 956528"/>
                <a:gd name="connsiteY38" fmla="*/ 2198108 h 4223685"/>
                <a:gd name="connsiteX39" fmla="*/ 337603 w 956528"/>
                <a:gd name="connsiteY39" fmla="*/ 2141867 h 4223685"/>
                <a:gd name="connsiteX40" fmla="*/ 56280 w 956528"/>
                <a:gd name="connsiteY40" fmla="*/ 2141867 h 4223685"/>
                <a:gd name="connsiteX41" fmla="*/ 56280 w 956528"/>
                <a:gd name="connsiteY41" fmla="*/ 1973065 h 4223685"/>
                <a:gd name="connsiteX42" fmla="*/ 337603 w 956528"/>
                <a:gd name="connsiteY42" fmla="*/ 1973065 h 4223685"/>
                <a:gd name="connsiteX43" fmla="*/ 337603 w 956528"/>
                <a:gd name="connsiteY43" fmla="*/ 1916785 h 4223685"/>
                <a:gd name="connsiteX44" fmla="*/ 56280 w 956528"/>
                <a:gd name="connsiteY44" fmla="*/ 1916785 h 4223685"/>
                <a:gd name="connsiteX45" fmla="*/ 56280 w 956528"/>
                <a:gd name="connsiteY45" fmla="*/ 1747984 h 4223685"/>
                <a:gd name="connsiteX46" fmla="*/ 337603 w 956528"/>
                <a:gd name="connsiteY46" fmla="*/ 1747984 h 4223685"/>
                <a:gd name="connsiteX47" fmla="*/ 337603 w 956528"/>
                <a:gd name="connsiteY47" fmla="*/ 1691704 h 4223685"/>
                <a:gd name="connsiteX48" fmla="*/ 56280 w 956528"/>
                <a:gd name="connsiteY48" fmla="*/ 1691704 h 4223685"/>
                <a:gd name="connsiteX49" fmla="*/ 56280 w 956528"/>
                <a:gd name="connsiteY49" fmla="*/ 1522941 h 4223685"/>
                <a:gd name="connsiteX50" fmla="*/ 675205 w 956528"/>
                <a:gd name="connsiteY50" fmla="*/ 1522941 h 4223685"/>
                <a:gd name="connsiteX51" fmla="*/ 675205 w 956528"/>
                <a:gd name="connsiteY51" fmla="*/ 1466661 h 4223685"/>
                <a:gd name="connsiteX52" fmla="*/ 56280 w 956528"/>
                <a:gd name="connsiteY52" fmla="*/ 1466661 h 4223685"/>
                <a:gd name="connsiteX53" fmla="*/ 56280 w 956528"/>
                <a:gd name="connsiteY53" fmla="*/ 1297860 h 4223685"/>
                <a:gd name="connsiteX54" fmla="*/ 337603 w 956528"/>
                <a:gd name="connsiteY54" fmla="*/ 1297860 h 4223685"/>
                <a:gd name="connsiteX55" fmla="*/ 337603 w 956528"/>
                <a:gd name="connsiteY55" fmla="*/ 1241580 h 4223685"/>
                <a:gd name="connsiteX56" fmla="*/ 56280 w 956528"/>
                <a:gd name="connsiteY56" fmla="*/ 1241580 h 4223685"/>
                <a:gd name="connsiteX57" fmla="*/ 56280 w 956528"/>
                <a:gd name="connsiteY57" fmla="*/ 1072779 h 4223685"/>
                <a:gd name="connsiteX58" fmla="*/ 337603 w 956528"/>
                <a:gd name="connsiteY58" fmla="*/ 1072779 h 4223685"/>
                <a:gd name="connsiteX59" fmla="*/ 337603 w 956528"/>
                <a:gd name="connsiteY59" fmla="*/ 1016537 h 4223685"/>
                <a:gd name="connsiteX60" fmla="*/ 56280 w 956528"/>
                <a:gd name="connsiteY60" fmla="*/ 1016537 h 4223685"/>
                <a:gd name="connsiteX61" fmla="*/ 56280 w 956528"/>
                <a:gd name="connsiteY61" fmla="*/ 847736 h 4223685"/>
                <a:gd name="connsiteX62" fmla="*/ 337603 w 956528"/>
                <a:gd name="connsiteY62" fmla="*/ 847736 h 4223685"/>
                <a:gd name="connsiteX63" fmla="*/ 337603 w 956528"/>
                <a:gd name="connsiteY63" fmla="*/ 791456 h 4223685"/>
                <a:gd name="connsiteX64" fmla="*/ 56280 w 956528"/>
                <a:gd name="connsiteY64" fmla="*/ 791456 h 4223685"/>
                <a:gd name="connsiteX65" fmla="*/ 56280 w 956528"/>
                <a:gd name="connsiteY65" fmla="*/ 622654 h 4223685"/>
                <a:gd name="connsiteX66" fmla="*/ 675205 w 956528"/>
                <a:gd name="connsiteY66" fmla="*/ 622654 h 4223685"/>
                <a:gd name="connsiteX67" fmla="*/ 675205 w 956528"/>
                <a:gd name="connsiteY67" fmla="*/ 566413 h 4223685"/>
                <a:gd name="connsiteX68" fmla="*/ 56280 w 956528"/>
                <a:gd name="connsiteY68" fmla="*/ 566413 h 4223685"/>
                <a:gd name="connsiteX69" fmla="*/ 56280 w 956528"/>
                <a:gd name="connsiteY69" fmla="*/ 397612 h 4223685"/>
                <a:gd name="connsiteX70" fmla="*/ 337603 w 956528"/>
                <a:gd name="connsiteY70" fmla="*/ 397612 h 4223685"/>
                <a:gd name="connsiteX71" fmla="*/ 337603 w 956528"/>
                <a:gd name="connsiteY71" fmla="*/ 341332 h 4223685"/>
                <a:gd name="connsiteX72" fmla="*/ 56280 w 956528"/>
                <a:gd name="connsiteY72" fmla="*/ 341332 h 4223685"/>
                <a:gd name="connsiteX73" fmla="*/ 56280 w 956528"/>
                <a:gd name="connsiteY73" fmla="*/ 172530 h 4223685"/>
                <a:gd name="connsiteX74" fmla="*/ 337603 w 956528"/>
                <a:gd name="connsiteY74" fmla="*/ 172530 h 4223685"/>
                <a:gd name="connsiteX75" fmla="*/ 337603 w 956528"/>
                <a:gd name="connsiteY75" fmla="*/ 116250 h 4223685"/>
                <a:gd name="connsiteX76" fmla="*/ 56280 w 956528"/>
                <a:gd name="connsiteY76" fmla="*/ 116250 h 4223685"/>
                <a:gd name="connsiteX77" fmla="*/ 56280 w 956528"/>
                <a:gd name="connsiteY77" fmla="*/ 0 h 4223685"/>
                <a:gd name="connsiteX78" fmla="*/ 0 w 956528"/>
                <a:gd name="connsiteY78" fmla="*/ 0 h 4223685"/>
                <a:gd name="connsiteX79" fmla="*/ 0 w 956528"/>
                <a:gd name="connsiteY79" fmla="*/ 4223686 h 4223685"/>
                <a:gd name="connsiteX80" fmla="*/ 56280 w 956528"/>
                <a:gd name="connsiteY80" fmla="*/ 4223686 h 4223685"/>
                <a:gd name="connsiteX81" fmla="*/ 900248 w 956528"/>
                <a:gd name="connsiteY81" fmla="*/ 4223686 h 422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956528" h="4223685">
                  <a:moveTo>
                    <a:pt x="956528" y="4223686"/>
                  </a:moveTo>
                  <a:lnTo>
                    <a:pt x="956528" y="0"/>
                  </a:lnTo>
                  <a:lnTo>
                    <a:pt x="900248" y="0"/>
                  </a:lnTo>
                  <a:lnTo>
                    <a:pt x="900248" y="4167445"/>
                  </a:lnTo>
                  <a:lnTo>
                    <a:pt x="56280" y="4167445"/>
                  </a:lnTo>
                  <a:lnTo>
                    <a:pt x="56280" y="3998643"/>
                  </a:lnTo>
                  <a:lnTo>
                    <a:pt x="337603" y="3998643"/>
                  </a:lnTo>
                  <a:lnTo>
                    <a:pt x="337603" y="3942363"/>
                  </a:lnTo>
                  <a:lnTo>
                    <a:pt x="56280" y="3942363"/>
                  </a:lnTo>
                  <a:lnTo>
                    <a:pt x="56280" y="3773562"/>
                  </a:lnTo>
                  <a:lnTo>
                    <a:pt x="337603" y="3773562"/>
                  </a:lnTo>
                  <a:lnTo>
                    <a:pt x="337603" y="3717321"/>
                  </a:lnTo>
                  <a:lnTo>
                    <a:pt x="56280" y="3717321"/>
                  </a:lnTo>
                  <a:lnTo>
                    <a:pt x="56280" y="3548519"/>
                  </a:lnTo>
                  <a:lnTo>
                    <a:pt x="337603" y="3548519"/>
                  </a:lnTo>
                  <a:lnTo>
                    <a:pt x="337603" y="3492239"/>
                  </a:lnTo>
                  <a:lnTo>
                    <a:pt x="56280" y="3492239"/>
                  </a:lnTo>
                  <a:lnTo>
                    <a:pt x="56280" y="3323438"/>
                  </a:lnTo>
                  <a:lnTo>
                    <a:pt x="675205" y="3323438"/>
                  </a:lnTo>
                  <a:lnTo>
                    <a:pt x="675205" y="3267158"/>
                  </a:lnTo>
                  <a:lnTo>
                    <a:pt x="56280" y="3267158"/>
                  </a:lnTo>
                  <a:lnTo>
                    <a:pt x="56280" y="3098395"/>
                  </a:lnTo>
                  <a:lnTo>
                    <a:pt x="337603" y="3098395"/>
                  </a:lnTo>
                  <a:lnTo>
                    <a:pt x="337603" y="3042115"/>
                  </a:lnTo>
                  <a:lnTo>
                    <a:pt x="56280" y="3042115"/>
                  </a:lnTo>
                  <a:lnTo>
                    <a:pt x="56280" y="2873314"/>
                  </a:lnTo>
                  <a:lnTo>
                    <a:pt x="337603" y="2873314"/>
                  </a:lnTo>
                  <a:lnTo>
                    <a:pt x="337603" y="2817034"/>
                  </a:lnTo>
                  <a:lnTo>
                    <a:pt x="56280" y="2817034"/>
                  </a:lnTo>
                  <a:lnTo>
                    <a:pt x="56280" y="2648233"/>
                  </a:lnTo>
                  <a:lnTo>
                    <a:pt x="337603" y="2648233"/>
                  </a:lnTo>
                  <a:lnTo>
                    <a:pt x="337603" y="2591991"/>
                  </a:lnTo>
                  <a:lnTo>
                    <a:pt x="56280" y="2591991"/>
                  </a:lnTo>
                  <a:lnTo>
                    <a:pt x="56280" y="2423190"/>
                  </a:lnTo>
                  <a:lnTo>
                    <a:pt x="675205" y="2423190"/>
                  </a:lnTo>
                  <a:lnTo>
                    <a:pt x="675205" y="2366909"/>
                  </a:lnTo>
                  <a:lnTo>
                    <a:pt x="56280" y="2366909"/>
                  </a:lnTo>
                  <a:lnTo>
                    <a:pt x="56280" y="2198108"/>
                  </a:lnTo>
                  <a:lnTo>
                    <a:pt x="337603" y="2198108"/>
                  </a:lnTo>
                  <a:lnTo>
                    <a:pt x="337603" y="2141867"/>
                  </a:lnTo>
                  <a:lnTo>
                    <a:pt x="56280" y="2141867"/>
                  </a:lnTo>
                  <a:lnTo>
                    <a:pt x="56280" y="1973065"/>
                  </a:lnTo>
                  <a:lnTo>
                    <a:pt x="337603" y="1973065"/>
                  </a:lnTo>
                  <a:lnTo>
                    <a:pt x="337603" y="1916785"/>
                  </a:lnTo>
                  <a:lnTo>
                    <a:pt x="56280" y="1916785"/>
                  </a:lnTo>
                  <a:lnTo>
                    <a:pt x="56280" y="1747984"/>
                  </a:lnTo>
                  <a:lnTo>
                    <a:pt x="337603" y="1747984"/>
                  </a:lnTo>
                  <a:lnTo>
                    <a:pt x="337603" y="1691704"/>
                  </a:lnTo>
                  <a:lnTo>
                    <a:pt x="56280" y="1691704"/>
                  </a:lnTo>
                  <a:lnTo>
                    <a:pt x="56280" y="1522941"/>
                  </a:lnTo>
                  <a:lnTo>
                    <a:pt x="675205" y="1522941"/>
                  </a:lnTo>
                  <a:lnTo>
                    <a:pt x="675205" y="1466661"/>
                  </a:lnTo>
                  <a:lnTo>
                    <a:pt x="56280" y="1466661"/>
                  </a:lnTo>
                  <a:lnTo>
                    <a:pt x="56280" y="1297860"/>
                  </a:lnTo>
                  <a:lnTo>
                    <a:pt x="337603" y="1297860"/>
                  </a:lnTo>
                  <a:lnTo>
                    <a:pt x="337603" y="1241580"/>
                  </a:lnTo>
                  <a:lnTo>
                    <a:pt x="56280" y="1241580"/>
                  </a:lnTo>
                  <a:lnTo>
                    <a:pt x="56280" y="1072779"/>
                  </a:lnTo>
                  <a:lnTo>
                    <a:pt x="337603" y="1072779"/>
                  </a:lnTo>
                  <a:lnTo>
                    <a:pt x="337603" y="1016537"/>
                  </a:lnTo>
                  <a:lnTo>
                    <a:pt x="56280" y="1016537"/>
                  </a:lnTo>
                  <a:lnTo>
                    <a:pt x="56280" y="847736"/>
                  </a:lnTo>
                  <a:lnTo>
                    <a:pt x="337603" y="847736"/>
                  </a:lnTo>
                  <a:lnTo>
                    <a:pt x="337603" y="791456"/>
                  </a:lnTo>
                  <a:lnTo>
                    <a:pt x="56280" y="791456"/>
                  </a:lnTo>
                  <a:lnTo>
                    <a:pt x="56280" y="622654"/>
                  </a:lnTo>
                  <a:lnTo>
                    <a:pt x="675205" y="622654"/>
                  </a:lnTo>
                  <a:lnTo>
                    <a:pt x="675205" y="566413"/>
                  </a:lnTo>
                  <a:lnTo>
                    <a:pt x="56280" y="566413"/>
                  </a:lnTo>
                  <a:lnTo>
                    <a:pt x="56280" y="397612"/>
                  </a:lnTo>
                  <a:lnTo>
                    <a:pt x="337603" y="397612"/>
                  </a:lnTo>
                  <a:lnTo>
                    <a:pt x="337603" y="341332"/>
                  </a:lnTo>
                  <a:lnTo>
                    <a:pt x="56280" y="341332"/>
                  </a:lnTo>
                  <a:lnTo>
                    <a:pt x="56280" y="172530"/>
                  </a:lnTo>
                  <a:lnTo>
                    <a:pt x="337603" y="172530"/>
                  </a:lnTo>
                  <a:lnTo>
                    <a:pt x="337603" y="116250"/>
                  </a:lnTo>
                  <a:lnTo>
                    <a:pt x="56280" y="116250"/>
                  </a:lnTo>
                  <a:lnTo>
                    <a:pt x="56280" y="0"/>
                  </a:lnTo>
                  <a:lnTo>
                    <a:pt x="0" y="0"/>
                  </a:lnTo>
                  <a:lnTo>
                    <a:pt x="0" y="4223686"/>
                  </a:lnTo>
                  <a:lnTo>
                    <a:pt x="56280" y="4223686"/>
                  </a:lnTo>
                  <a:lnTo>
                    <a:pt x="900248" y="42236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776B2BD5-B577-4992-BEFC-F703A1C09D38}"/>
                </a:ext>
              </a:extLst>
            </p:cNvPr>
            <p:cNvSpPr/>
            <p:nvPr/>
          </p:nvSpPr>
          <p:spPr>
            <a:xfrm>
              <a:off x="-1697617" y="1719597"/>
              <a:ext cx="337603" cy="538326"/>
            </a:xfrm>
            <a:custGeom>
              <a:avLst/>
              <a:gdLst>
                <a:gd name="connsiteX0" fmla="*/ 0 w 337603"/>
                <a:gd name="connsiteY0" fmla="*/ 0 h 538326"/>
                <a:gd name="connsiteX1" fmla="*/ 56280 w 337603"/>
                <a:gd name="connsiteY1" fmla="*/ 0 h 538326"/>
                <a:gd name="connsiteX2" fmla="*/ 56280 w 337603"/>
                <a:gd name="connsiteY2" fmla="*/ 101734 h 538326"/>
                <a:gd name="connsiteX3" fmla="*/ 337603 w 337603"/>
                <a:gd name="connsiteY3" fmla="*/ 101734 h 538326"/>
                <a:gd name="connsiteX4" fmla="*/ 337603 w 337603"/>
                <a:gd name="connsiteY4" fmla="*/ 158014 h 538326"/>
                <a:gd name="connsiteX5" fmla="*/ 56280 w 337603"/>
                <a:gd name="connsiteY5" fmla="*/ 158014 h 538326"/>
                <a:gd name="connsiteX6" fmla="*/ 56280 w 337603"/>
                <a:gd name="connsiteY6" fmla="*/ 326815 h 538326"/>
                <a:gd name="connsiteX7" fmla="*/ 337603 w 337603"/>
                <a:gd name="connsiteY7" fmla="*/ 326815 h 538326"/>
                <a:gd name="connsiteX8" fmla="*/ 337603 w 337603"/>
                <a:gd name="connsiteY8" fmla="*/ 383056 h 538326"/>
                <a:gd name="connsiteX9" fmla="*/ 56280 w 337603"/>
                <a:gd name="connsiteY9" fmla="*/ 383056 h 538326"/>
                <a:gd name="connsiteX10" fmla="*/ 56280 w 337603"/>
                <a:gd name="connsiteY10" fmla="*/ 538326 h 538326"/>
                <a:gd name="connsiteX11" fmla="*/ 0 w 337603"/>
                <a:gd name="connsiteY11" fmla="*/ 538326 h 538326"/>
                <a:gd name="connsiteX12" fmla="*/ 0 w 337603"/>
                <a:gd name="connsiteY12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7603" h="538326">
                  <a:moveTo>
                    <a:pt x="0" y="0"/>
                  </a:moveTo>
                  <a:lnTo>
                    <a:pt x="56280" y="0"/>
                  </a:lnTo>
                  <a:lnTo>
                    <a:pt x="56280" y="101734"/>
                  </a:lnTo>
                  <a:lnTo>
                    <a:pt x="337603" y="101734"/>
                  </a:lnTo>
                  <a:lnTo>
                    <a:pt x="337603" y="158014"/>
                  </a:lnTo>
                  <a:lnTo>
                    <a:pt x="56280" y="158014"/>
                  </a:lnTo>
                  <a:lnTo>
                    <a:pt x="56280" y="326815"/>
                  </a:lnTo>
                  <a:lnTo>
                    <a:pt x="337603" y="326815"/>
                  </a:lnTo>
                  <a:lnTo>
                    <a:pt x="337603" y="383056"/>
                  </a:lnTo>
                  <a:lnTo>
                    <a:pt x="56280" y="383056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7550F16A-1DB1-4370-A29A-B1D6AA32CC65}"/>
                </a:ext>
              </a:extLst>
            </p:cNvPr>
            <p:cNvSpPr/>
            <p:nvPr/>
          </p:nvSpPr>
          <p:spPr>
            <a:xfrm>
              <a:off x="-797368" y="1719597"/>
              <a:ext cx="56280" cy="538326"/>
            </a:xfrm>
            <a:custGeom>
              <a:avLst/>
              <a:gdLst>
                <a:gd name="connsiteX0" fmla="*/ 0 w 56280"/>
                <a:gd name="connsiteY0" fmla="*/ 0 h 538326"/>
                <a:gd name="connsiteX1" fmla="*/ 56280 w 56280"/>
                <a:gd name="connsiteY1" fmla="*/ 0 h 538326"/>
                <a:gd name="connsiteX2" fmla="*/ 56280 w 56280"/>
                <a:gd name="connsiteY2" fmla="*/ 538326 h 538326"/>
                <a:gd name="connsiteX3" fmla="*/ 0 w 56280"/>
                <a:gd name="connsiteY3" fmla="*/ 538326 h 538326"/>
                <a:gd name="connsiteX4" fmla="*/ 0 w 56280"/>
                <a:gd name="connsiteY4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80" h="538326">
                  <a:moveTo>
                    <a:pt x="0" y="0"/>
                  </a:moveTo>
                  <a:lnTo>
                    <a:pt x="56280" y="0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</p:grpSp>
      <p:sp>
        <p:nvSpPr>
          <p:cNvPr id="59" name="Round Same-side Corner of Rectangle 79">
            <a:extLst>
              <a:ext uri="{FF2B5EF4-FFF2-40B4-BE49-F238E27FC236}">
                <a16:creationId xmlns:a16="http://schemas.microsoft.com/office/drawing/2014/main" id="{D07A0774-2968-43EB-91AF-A026DBDF0740}"/>
              </a:ext>
            </a:extLst>
          </p:cNvPr>
          <p:cNvSpPr/>
          <p:nvPr userDrawn="1"/>
        </p:nvSpPr>
        <p:spPr>
          <a:xfrm rot="5400000">
            <a:off x="10613117" y="550943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0" name="TextBox 59">
            <a:hlinkClick r:id="" action="ppaction://noaction"/>
            <a:extLst>
              <a:ext uri="{FF2B5EF4-FFF2-40B4-BE49-F238E27FC236}">
                <a16:creationId xmlns:a16="http://schemas.microsoft.com/office/drawing/2014/main" id="{59A20FD5-39E3-4408-A504-32F448E4C185}"/>
              </a:ext>
            </a:extLst>
          </p:cNvPr>
          <p:cNvSpPr txBox="1"/>
          <p:nvPr userDrawn="1"/>
        </p:nvSpPr>
        <p:spPr>
          <a:xfrm>
            <a:off x="10870644" y="555078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61" name="Round Same-side Corner of Rectangle 79">
            <a:extLst>
              <a:ext uri="{FF2B5EF4-FFF2-40B4-BE49-F238E27FC236}">
                <a16:creationId xmlns:a16="http://schemas.microsoft.com/office/drawing/2014/main" id="{28DE0808-A834-4B73-85EB-AD77EF4D989B}"/>
              </a:ext>
            </a:extLst>
          </p:cNvPr>
          <p:cNvSpPr/>
          <p:nvPr userDrawn="1"/>
        </p:nvSpPr>
        <p:spPr>
          <a:xfrm rot="5400000">
            <a:off x="10613117" y="5784862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2" name="TextBox 61">
            <a:hlinkClick r:id="" action="ppaction://noaction"/>
            <a:extLst>
              <a:ext uri="{FF2B5EF4-FFF2-40B4-BE49-F238E27FC236}">
                <a16:creationId xmlns:a16="http://schemas.microsoft.com/office/drawing/2014/main" id="{D3D9C2AD-2FDA-4CA7-908F-7299107B04BA}"/>
              </a:ext>
            </a:extLst>
          </p:cNvPr>
          <p:cNvSpPr txBox="1"/>
          <p:nvPr userDrawn="1"/>
        </p:nvSpPr>
        <p:spPr>
          <a:xfrm>
            <a:off x="10870644" y="5826211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73" name="Freeform 25">
            <a:extLst>
              <a:ext uri="{FF2B5EF4-FFF2-40B4-BE49-F238E27FC236}">
                <a16:creationId xmlns:a16="http://schemas.microsoft.com/office/drawing/2014/main" id="{12F456BC-D071-446F-82A7-D8CFAD7BD92F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5549100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74" name="Round Same-side Corner of Rectangle 79">
            <a:extLst>
              <a:ext uri="{FF2B5EF4-FFF2-40B4-BE49-F238E27FC236}">
                <a16:creationId xmlns:a16="http://schemas.microsoft.com/office/drawing/2014/main" id="{330F24ED-490B-402A-8EFB-1223DF0A9A15}"/>
              </a:ext>
            </a:extLst>
          </p:cNvPr>
          <p:cNvSpPr/>
          <p:nvPr userDrawn="1"/>
        </p:nvSpPr>
        <p:spPr>
          <a:xfrm rot="5400000">
            <a:off x="10615976" y="606635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75" name="TextBox 74">
            <a:hlinkClick r:id="" action="ppaction://noaction"/>
            <a:extLst>
              <a:ext uri="{FF2B5EF4-FFF2-40B4-BE49-F238E27FC236}">
                <a16:creationId xmlns:a16="http://schemas.microsoft.com/office/drawing/2014/main" id="{D667B3AD-769D-4442-8531-E43E5DD903F0}"/>
              </a:ext>
            </a:extLst>
          </p:cNvPr>
          <p:cNvSpPr txBox="1"/>
          <p:nvPr userDrawn="1"/>
        </p:nvSpPr>
        <p:spPr>
          <a:xfrm>
            <a:off x="10873503" y="6107704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76" name="Freeform 21">
            <a:extLst>
              <a:ext uri="{FF2B5EF4-FFF2-40B4-BE49-F238E27FC236}">
                <a16:creationId xmlns:a16="http://schemas.microsoft.com/office/drawing/2014/main" id="{09D9A3D3-3B97-4B59-AC85-418FBE6EBF20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6115929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77" name="Graphic 28" descr="List">
            <a:extLst>
              <a:ext uri="{FF2B5EF4-FFF2-40B4-BE49-F238E27FC236}">
                <a16:creationId xmlns:a16="http://schemas.microsoft.com/office/drawing/2014/main" id="{CAF2EB34-4DAD-4406-BD2D-4C6FC264725A}"/>
              </a:ext>
            </a:extLst>
          </p:cNvPr>
          <p:cNvGrpSpPr/>
          <p:nvPr userDrawn="1"/>
        </p:nvGrpSpPr>
        <p:grpSpPr>
          <a:xfrm>
            <a:off x="10657446" y="5818069"/>
            <a:ext cx="103548" cy="146640"/>
            <a:chOff x="981871" y="1231905"/>
            <a:chExt cx="246063" cy="317501"/>
          </a:xfrm>
        </p:grpSpPr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4719336-1129-4AFA-8D58-68655E1B9318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FBAA8A8B-56A7-4074-A00A-13167853795A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71B20B7D-F3C8-4A30-B56B-8E98C64631F2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418F20E5-AC16-478F-97E6-79D0FD13F241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1424BF2F-1A60-4A50-B2FC-486E343AA92B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697E2632-4510-4FAA-AEAD-F9842E7BB28A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E1E34B0-A260-4DFD-AF4D-1A7A93CE78E8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442E6C51-1670-4C3B-ADDA-966DD671EE1F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F6523AAB-99DD-460A-B89C-1BD846F30C62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80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506CF78C-7B1A-4A8B-82CA-FFA443A4AB55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2302694F-A777-4838-A566-486DD492C93D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8C7576A3-9C4E-4444-9D98-E710C68A9A0E}"/>
              </a:ext>
            </a:extLst>
          </p:cNvPr>
          <p:cNvSpPr/>
          <p:nvPr userDrawn="1"/>
        </p:nvSpPr>
        <p:spPr>
          <a:xfrm rot="5400000">
            <a:off x="11280167" y="4840571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D12F3E9F-8B61-468A-B831-ED84732BEF30}"/>
              </a:ext>
            </a:extLst>
          </p:cNvPr>
          <p:cNvSpPr/>
          <p:nvPr userDrawn="1"/>
        </p:nvSpPr>
        <p:spPr>
          <a:xfrm rot="5400000">
            <a:off x="11280167" y="5116475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7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DEB9F1B8-2902-42DD-A184-7050BE4605E5}"/>
              </a:ext>
            </a:extLst>
          </p:cNvPr>
          <p:cNvSpPr/>
          <p:nvPr userDrawn="1"/>
        </p:nvSpPr>
        <p:spPr>
          <a:xfrm rot="5400000">
            <a:off x="11280167" y="5392379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9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9901EF8C-21D6-4865-995F-6D7759117257}"/>
              </a:ext>
            </a:extLst>
          </p:cNvPr>
          <p:cNvSpPr/>
          <p:nvPr userDrawn="1"/>
        </p:nvSpPr>
        <p:spPr>
          <a:xfrm rot="5400000">
            <a:off x="11473096" y="1472755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0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AAB8D31C-E8BC-42CD-84AD-68E1BDADE853}"/>
              </a:ext>
            </a:extLst>
          </p:cNvPr>
          <p:cNvSpPr/>
          <p:nvPr userDrawn="1"/>
        </p:nvSpPr>
        <p:spPr>
          <a:xfrm rot="5400000">
            <a:off x="11473096" y="192820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1" name="Round Same-side Corner of Rectangle 79">
            <a:hlinkClick r:id="rId5" action="ppaction://hlinksldjump"/>
            <a:extLst>
              <a:ext uri="{FF2B5EF4-FFF2-40B4-BE49-F238E27FC236}">
                <a16:creationId xmlns:a16="http://schemas.microsoft.com/office/drawing/2014/main" id="{34274CE9-2C0A-4242-9B98-06A99CDB4B40}"/>
              </a:ext>
            </a:extLst>
          </p:cNvPr>
          <p:cNvSpPr/>
          <p:nvPr userDrawn="1"/>
        </p:nvSpPr>
        <p:spPr>
          <a:xfrm rot="5400000">
            <a:off x="11473096" y="2380734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2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A2EFA6C2-13B2-465E-A917-F1D7A9E3FB8C}"/>
              </a:ext>
            </a:extLst>
          </p:cNvPr>
          <p:cNvSpPr/>
          <p:nvPr userDrawn="1"/>
        </p:nvSpPr>
        <p:spPr>
          <a:xfrm rot="5400000">
            <a:off x="11280458" y="2640624"/>
            <a:ext cx="349171" cy="1467562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8664F1CA-1C26-45F0-97FE-8010FB68F493}"/>
              </a:ext>
            </a:extLst>
          </p:cNvPr>
          <p:cNvSpPr/>
          <p:nvPr userDrawn="1"/>
        </p:nvSpPr>
        <p:spPr>
          <a:xfrm rot="5400000">
            <a:off x="11473096" y="3285790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19D3AF75-61FE-430C-8C19-988045CE732A}"/>
              </a:ext>
            </a:extLst>
          </p:cNvPr>
          <p:cNvSpPr/>
          <p:nvPr userDrawn="1"/>
        </p:nvSpPr>
        <p:spPr>
          <a:xfrm rot="5400000">
            <a:off x="11473096" y="3738318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BEE0973E-2EC8-4285-A3BF-EC7D1663F5AF}"/>
              </a:ext>
            </a:extLst>
          </p:cNvPr>
          <p:cNvSpPr/>
          <p:nvPr userDrawn="1"/>
        </p:nvSpPr>
        <p:spPr>
          <a:xfrm rot="5400000">
            <a:off x="11473096" y="419084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6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DF337AA4-B0F1-47CB-8B33-27503F73B4FE}"/>
              </a:ext>
            </a:extLst>
          </p:cNvPr>
          <p:cNvSpPr/>
          <p:nvPr userDrawn="1"/>
        </p:nvSpPr>
        <p:spPr>
          <a:xfrm rot="5400000">
            <a:off x="11473096" y="464337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0931290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llar 4 - Let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4" name="Round Same-side Corner of Rectangle 79">
            <a:extLst>
              <a:ext uri="{FF2B5EF4-FFF2-40B4-BE49-F238E27FC236}">
                <a16:creationId xmlns:a16="http://schemas.microsoft.com/office/drawing/2014/main" id="{429E155D-7E57-4822-8852-F94F1A49D6FC}"/>
              </a:ext>
            </a:extLst>
          </p:cNvPr>
          <p:cNvSpPr/>
          <p:nvPr userDrawn="1"/>
        </p:nvSpPr>
        <p:spPr>
          <a:xfrm rot="16200000">
            <a:off x="11384856" y="4661233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8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0" name="Round Same-side Corner of Rectangle 79">
            <a:extLst>
              <a:ext uri="{FF2B5EF4-FFF2-40B4-BE49-F238E27FC236}">
                <a16:creationId xmlns:a16="http://schemas.microsoft.com/office/drawing/2014/main" id="{DA632258-7E89-4C63-86BD-EA679E94BCAB}"/>
              </a:ext>
            </a:extLst>
          </p:cNvPr>
          <p:cNvSpPr/>
          <p:nvPr userDrawn="1"/>
        </p:nvSpPr>
        <p:spPr>
          <a:xfrm rot="16200000">
            <a:off x="11384854" y="4208631"/>
            <a:ext cx="388777" cy="104122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7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1" name="Round Same-side Corner of Rectangle 79">
            <a:extLst>
              <a:ext uri="{FF2B5EF4-FFF2-40B4-BE49-F238E27FC236}">
                <a16:creationId xmlns:a16="http://schemas.microsoft.com/office/drawing/2014/main" id="{D4B93879-3513-4875-A1C4-5980915623CE}"/>
              </a:ext>
            </a:extLst>
          </p:cNvPr>
          <p:cNvSpPr/>
          <p:nvPr userDrawn="1"/>
        </p:nvSpPr>
        <p:spPr>
          <a:xfrm rot="16200000">
            <a:off x="11384854" y="3756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6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8" name="Round Same-side Corner of Rectangle 79">
            <a:extLst>
              <a:ext uri="{FF2B5EF4-FFF2-40B4-BE49-F238E27FC236}">
                <a16:creationId xmlns:a16="http://schemas.microsoft.com/office/drawing/2014/main" id="{312255C5-65A9-47AB-B67B-8924547FF7C2}"/>
              </a:ext>
            </a:extLst>
          </p:cNvPr>
          <p:cNvSpPr/>
          <p:nvPr userDrawn="1"/>
        </p:nvSpPr>
        <p:spPr>
          <a:xfrm rot="16200000">
            <a:off x="11384854" y="33034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5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9" name="Round Same-side Corner of Rectangle 79">
            <a:extLst>
              <a:ext uri="{FF2B5EF4-FFF2-40B4-BE49-F238E27FC236}">
                <a16:creationId xmlns:a16="http://schemas.microsoft.com/office/drawing/2014/main" id="{F23596D5-FD36-49E3-B746-F3D7A290DF3D}"/>
              </a:ext>
            </a:extLst>
          </p:cNvPr>
          <p:cNvSpPr/>
          <p:nvPr userDrawn="1"/>
        </p:nvSpPr>
        <p:spPr>
          <a:xfrm rot="16200000">
            <a:off x="11219847" y="2685823"/>
            <a:ext cx="388777" cy="137124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2102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600" b="1"/>
              <a:t>Pillar  </a:t>
            </a:r>
            <a:r>
              <a:rPr lang="en-US" sz="1600" b="1"/>
              <a:t>4</a:t>
            </a:r>
          </a:p>
        </p:txBody>
      </p:sp>
      <p:sp>
        <p:nvSpPr>
          <p:cNvPr id="87" name="Round Same-side Corner of Rectangle 79">
            <a:extLst>
              <a:ext uri="{FF2B5EF4-FFF2-40B4-BE49-F238E27FC236}">
                <a16:creationId xmlns:a16="http://schemas.microsoft.com/office/drawing/2014/main" id="{059574F1-9FE9-480C-B4ED-14EFB4169B0E}"/>
              </a:ext>
            </a:extLst>
          </p:cNvPr>
          <p:cNvSpPr/>
          <p:nvPr userDrawn="1"/>
        </p:nvSpPr>
        <p:spPr>
          <a:xfrm rot="16200000">
            <a:off x="11384854" y="23982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3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8" name="Round Same-side Corner of Rectangle 79">
            <a:extLst>
              <a:ext uri="{FF2B5EF4-FFF2-40B4-BE49-F238E27FC236}">
                <a16:creationId xmlns:a16="http://schemas.microsoft.com/office/drawing/2014/main" id="{82236BCB-3538-4E87-B0C9-CACC40793A57}"/>
              </a:ext>
            </a:extLst>
          </p:cNvPr>
          <p:cNvSpPr/>
          <p:nvPr userDrawn="1"/>
        </p:nvSpPr>
        <p:spPr>
          <a:xfrm rot="16200000">
            <a:off x="11384854" y="19456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2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9" name="Round Same-side Corner of Rectangle 79">
            <a:extLst>
              <a:ext uri="{FF2B5EF4-FFF2-40B4-BE49-F238E27FC236}">
                <a16:creationId xmlns:a16="http://schemas.microsoft.com/office/drawing/2014/main" id="{61090AD0-0469-4342-901A-FC4BE401662F}"/>
              </a:ext>
            </a:extLst>
          </p:cNvPr>
          <p:cNvSpPr/>
          <p:nvPr userDrawn="1"/>
        </p:nvSpPr>
        <p:spPr>
          <a:xfrm rot="16200000">
            <a:off x="11384854" y="1493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1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96" name="Round Same-side Corner of Rectangle 79">
            <a:extLst>
              <a:ext uri="{FF2B5EF4-FFF2-40B4-BE49-F238E27FC236}">
                <a16:creationId xmlns:a16="http://schemas.microsoft.com/office/drawing/2014/main" id="{75C801CE-9FCA-486D-96A7-6973FA449CCA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8" name="Round Same-side Corner of Rectangle 79">
            <a:extLst>
              <a:ext uri="{FF2B5EF4-FFF2-40B4-BE49-F238E27FC236}">
                <a16:creationId xmlns:a16="http://schemas.microsoft.com/office/drawing/2014/main" id="{B358AAFE-318C-4629-9F49-D9DBA46F85EC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8C6FC7E0-B0AC-4A9E-BEC3-8FE39130526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6706" y="918349"/>
            <a:ext cx="9963591" cy="5673283"/>
          </a:xfrm>
        </p:spPr>
        <p:txBody>
          <a:bodyPr/>
          <a:lstStyle>
            <a:lvl1pPr marL="0" indent="0">
              <a:spcBef>
                <a:spcPts val="1200"/>
              </a:spcBef>
              <a:buFontTx/>
              <a:buNone/>
              <a:defRPr sz="1799" b="1">
                <a:solidFill>
                  <a:schemeClr val="accent1">
                    <a:lumMod val="75000"/>
                  </a:schemeClr>
                </a:solidFill>
              </a:defRPr>
            </a:lvl1pPr>
            <a:lvl2pPr marL="230119" indent="-230119">
              <a:spcBef>
                <a:spcPts val="1200"/>
              </a:spcBef>
              <a:buFont typeface="+mj-lt"/>
              <a:buAutoNum type="alphaUcPeriod"/>
              <a:defRPr/>
            </a:lvl2pPr>
            <a:lvl3pPr marL="512609" indent="-171399">
              <a:spcBef>
                <a:spcPts val="600"/>
              </a:spcBef>
              <a:buFont typeface="+mj-lt"/>
              <a:buAutoNum type="romanLcPeriod"/>
              <a:defRPr sz="1300"/>
            </a:lvl3pPr>
            <a:lvl4pPr marL="798273" indent="-169812">
              <a:spcBef>
                <a:spcPts val="400"/>
              </a:spcBef>
              <a:buFont typeface="+mj-lt"/>
              <a:buAutoNum type="alphaLcPeriod"/>
              <a:defRPr sz="1300"/>
            </a:lvl4pPr>
            <a:lvl5pPr marL="1144245" indent="-115853">
              <a:spcBef>
                <a:spcPts val="2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078CDE7-42EA-4BE5-B8C2-0F3625831A7A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B773BF3-CAF4-478F-BBE0-5EE3C49BBDCD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4" name="Round Same-side Corner of Rectangle 79">
            <a:extLst>
              <a:ext uri="{FF2B5EF4-FFF2-40B4-BE49-F238E27FC236}">
                <a16:creationId xmlns:a16="http://schemas.microsoft.com/office/drawing/2014/main" id="{521D265E-D4C9-4CEC-AFA4-12A93048B27C}"/>
              </a:ext>
            </a:extLst>
          </p:cNvPr>
          <p:cNvSpPr/>
          <p:nvPr userDrawn="1"/>
        </p:nvSpPr>
        <p:spPr>
          <a:xfrm rot="16200000">
            <a:off x="11900597" y="3277604"/>
            <a:ext cx="388777" cy="18768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>
              <a:lumMod val="75000"/>
              <a:alpha val="59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17" name="TextBox 16">
            <a:hlinkClick r:id="" action="ppaction://noaction"/>
            <a:extLst>
              <a:ext uri="{FF2B5EF4-FFF2-40B4-BE49-F238E27FC236}">
                <a16:creationId xmlns:a16="http://schemas.microsoft.com/office/drawing/2014/main" id="{11151554-5DEB-49E1-B789-2B99EDC34D78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18" name="TextBox 17">
            <a:hlinkClick r:id="" action="ppaction://noaction"/>
            <a:extLst>
              <a:ext uri="{FF2B5EF4-FFF2-40B4-BE49-F238E27FC236}">
                <a16:creationId xmlns:a16="http://schemas.microsoft.com/office/drawing/2014/main" id="{22A7C8C8-D286-4CC1-95EF-D91F4A91438A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7B5F63BD-BA01-42DE-92FA-E8A21AA2F8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64933FD0-9D2C-48A7-BB09-96AFAF27CAF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FAFA73B-0310-4B71-A94F-9A8D2B395F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45" name="Freeform 9">
            <a:extLst>
              <a:ext uri="{FF2B5EF4-FFF2-40B4-BE49-F238E27FC236}">
                <a16:creationId xmlns:a16="http://schemas.microsoft.com/office/drawing/2014/main" id="{4D15CC26-757E-4EA9-8DAE-220469240F7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95767" y="4176118"/>
            <a:ext cx="181694" cy="212254"/>
          </a:xfrm>
          <a:custGeom>
            <a:avLst/>
            <a:gdLst>
              <a:gd name="T0" fmla="*/ 708 w 809"/>
              <a:gd name="T1" fmla="*/ 509 h 945"/>
              <a:gd name="T2" fmla="*/ 405 w 809"/>
              <a:gd name="T3" fmla="*/ 838 h 945"/>
              <a:gd name="T4" fmla="*/ 404 w 809"/>
              <a:gd name="T5" fmla="*/ 838 h 945"/>
              <a:gd name="T6" fmla="*/ 404 w 809"/>
              <a:gd name="T7" fmla="*/ 473 h 945"/>
              <a:gd name="T8" fmla="*/ 101 w 809"/>
              <a:gd name="T9" fmla="*/ 473 h 945"/>
              <a:gd name="T10" fmla="*/ 101 w 809"/>
              <a:gd name="T11" fmla="*/ 245 h 945"/>
              <a:gd name="T12" fmla="*/ 404 w 809"/>
              <a:gd name="T13" fmla="*/ 123 h 945"/>
              <a:gd name="T14" fmla="*/ 404 w 809"/>
              <a:gd name="T15" fmla="*/ 473 h 945"/>
              <a:gd name="T16" fmla="*/ 708 w 809"/>
              <a:gd name="T17" fmla="*/ 473 h 945"/>
              <a:gd name="T18" fmla="*/ 708 w 809"/>
              <a:gd name="T19" fmla="*/ 509 h 945"/>
              <a:gd name="T20" fmla="*/ 792 w 809"/>
              <a:gd name="T21" fmla="*/ 150 h 945"/>
              <a:gd name="T22" fmla="*/ 415 w 809"/>
              <a:gd name="T23" fmla="*/ 4 h 945"/>
              <a:gd name="T24" fmla="*/ 394 w 809"/>
              <a:gd name="T25" fmla="*/ 4 h 945"/>
              <a:gd name="T26" fmla="*/ 17 w 809"/>
              <a:gd name="T27" fmla="*/ 150 h 945"/>
              <a:gd name="T28" fmla="*/ 0 w 809"/>
              <a:gd name="T29" fmla="*/ 168 h 945"/>
              <a:gd name="T30" fmla="*/ 0 w 809"/>
              <a:gd name="T31" fmla="*/ 508 h 945"/>
              <a:gd name="T32" fmla="*/ 398 w 809"/>
              <a:gd name="T33" fmla="*/ 944 h 945"/>
              <a:gd name="T34" fmla="*/ 410 w 809"/>
              <a:gd name="T35" fmla="*/ 944 h 945"/>
              <a:gd name="T36" fmla="*/ 809 w 809"/>
              <a:gd name="T37" fmla="*/ 508 h 945"/>
              <a:gd name="T38" fmla="*/ 809 w 809"/>
              <a:gd name="T39" fmla="*/ 168 h 945"/>
              <a:gd name="T40" fmla="*/ 792 w 809"/>
              <a:gd name="T41" fmla="*/ 150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9" h="945">
                <a:moveTo>
                  <a:pt x="708" y="509"/>
                </a:moveTo>
                <a:cubicBezTo>
                  <a:pt x="708" y="713"/>
                  <a:pt x="483" y="811"/>
                  <a:pt x="405" y="838"/>
                </a:cubicBezTo>
                <a:cubicBezTo>
                  <a:pt x="405" y="838"/>
                  <a:pt x="404" y="838"/>
                  <a:pt x="404" y="838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101" y="473"/>
                  <a:pt x="101" y="473"/>
                  <a:pt x="101" y="473"/>
                </a:cubicBezTo>
                <a:cubicBezTo>
                  <a:pt x="101" y="245"/>
                  <a:pt x="101" y="245"/>
                  <a:pt x="101" y="245"/>
                </a:cubicBezTo>
                <a:cubicBezTo>
                  <a:pt x="185" y="231"/>
                  <a:pt x="288" y="197"/>
                  <a:pt x="404" y="123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708" y="473"/>
                  <a:pt x="708" y="473"/>
                  <a:pt x="708" y="473"/>
                </a:cubicBezTo>
                <a:lnTo>
                  <a:pt x="708" y="509"/>
                </a:lnTo>
                <a:close/>
                <a:moveTo>
                  <a:pt x="792" y="150"/>
                </a:moveTo>
                <a:cubicBezTo>
                  <a:pt x="691" y="146"/>
                  <a:pt x="562" y="109"/>
                  <a:pt x="415" y="4"/>
                </a:cubicBezTo>
                <a:cubicBezTo>
                  <a:pt x="409" y="0"/>
                  <a:pt x="400" y="0"/>
                  <a:pt x="394" y="4"/>
                </a:cubicBezTo>
                <a:cubicBezTo>
                  <a:pt x="247" y="109"/>
                  <a:pt x="118" y="146"/>
                  <a:pt x="17" y="150"/>
                </a:cubicBezTo>
                <a:cubicBezTo>
                  <a:pt x="7" y="150"/>
                  <a:pt x="0" y="158"/>
                  <a:pt x="0" y="168"/>
                </a:cubicBezTo>
                <a:cubicBezTo>
                  <a:pt x="0" y="209"/>
                  <a:pt x="0" y="325"/>
                  <a:pt x="0" y="508"/>
                </a:cubicBezTo>
                <a:cubicBezTo>
                  <a:pt x="0" y="792"/>
                  <a:pt x="348" y="926"/>
                  <a:pt x="398" y="944"/>
                </a:cubicBezTo>
                <a:cubicBezTo>
                  <a:pt x="402" y="945"/>
                  <a:pt x="406" y="945"/>
                  <a:pt x="410" y="944"/>
                </a:cubicBezTo>
                <a:cubicBezTo>
                  <a:pt x="460" y="926"/>
                  <a:pt x="809" y="792"/>
                  <a:pt x="809" y="508"/>
                </a:cubicBezTo>
                <a:cubicBezTo>
                  <a:pt x="809" y="325"/>
                  <a:pt x="809" y="209"/>
                  <a:pt x="809" y="168"/>
                </a:cubicBezTo>
                <a:cubicBezTo>
                  <a:pt x="809" y="158"/>
                  <a:pt x="801" y="150"/>
                  <a:pt x="792" y="15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46" name="Freeform 13">
            <a:extLst>
              <a:ext uri="{FF2B5EF4-FFF2-40B4-BE49-F238E27FC236}">
                <a16:creationId xmlns:a16="http://schemas.microsoft.com/office/drawing/2014/main" id="{6E217B9A-A9EE-4490-92EC-2D5721BE4C9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87920" y="5097137"/>
            <a:ext cx="218911" cy="197141"/>
          </a:xfrm>
          <a:custGeom>
            <a:avLst/>
            <a:gdLst>
              <a:gd name="T0" fmla="*/ 757 w 1043"/>
              <a:gd name="T1" fmla="*/ 313 h 939"/>
              <a:gd name="T2" fmla="*/ 313 w 1043"/>
              <a:gd name="T3" fmla="*/ 321 h 939"/>
              <a:gd name="T4" fmla="*/ 321 w 1043"/>
              <a:gd name="T5" fmla="*/ 348 h 939"/>
              <a:gd name="T6" fmla="*/ 765 w 1043"/>
              <a:gd name="T7" fmla="*/ 340 h 939"/>
              <a:gd name="T8" fmla="*/ 765 w 1043"/>
              <a:gd name="T9" fmla="*/ 251 h 939"/>
              <a:gd name="T10" fmla="*/ 321 w 1043"/>
              <a:gd name="T11" fmla="*/ 243 h 939"/>
              <a:gd name="T12" fmla="*/ 313 w 1043"/>
              <a:gd name="T13" fmla="*/ 270 h 939"/>
              <a:gd name="T14" fmla="*/ 757 w 1043"/>
              <a:gd name="T15" fmla="*/ 278 h 939"/>
              <a:gd name="T16" fmla="*/ 765 w 1043"/>
              <a:gd name="T17" fmla="*/ 251 h 939"/>
              <a:gd name="T18" fmla="*/ 757 w 1043"/>
              <a:gd name="T19" fmla="*/ 382 h 939"/>
              <a:gd name="T20" fmla="*/ 313 w 1043"/>
              <a:gd name="T21" fmla="*/ 390 h 939"/>
              <a:gd name="T22" fmla="*/ 321 w 1043"/>
              <a:gd name="T23" fmla="*/ 417 h 939"/>
              <a:gd name="T24" fmla="*/ 765 w 1043"/>
              <a:gd name="T25" fmla="*/ 409 h 939"/>
              <a:gd name="T26" fmla="*/ 765 w 1043"/>
              <a:gd name="T27" fmla="*/ 182 h 939"/>
              <a:gd name="T28" fmla="*/ 321 w 1043"/>
              <a:gd name="T29" fmla="*/ 174 h 939"/>
              <a:gd name="T30" fmla="*/ 313 w 1043"/>
              <a:gd name="T31" fmla="*/ 201 h 939"/>
              <a:gd name="T32" fmla="*/ 757 w 1043"/>
              <a:gd name="T33" fmla="*/ 209 h 939"/>
              <a:gd name="T34" fmla="*/ 765 w 1043"/>
              <a:gd name="T35" fmla="*/ 182 h 939"/>
              <a:gd name="T36" fmla="*/ 1027 w 1043"/>
              <a:gd name="T37" fmla="*/ 730 h 939"/>
              <a:gd name="T38" fmla="*/ 491 w 1043"/>
              <a:gd name="T39" fmla="*/ 735 h 939"/>
              <a:gd name="T40" fmla="*/ 487 w 1043"/>
              <a:gd name="T41" fmla="*/ 747 h 939"/>
              <a:gd name="T42" fmla="*/ 358 w 1043"/>
              <a:gd name="T43" fmla="*/ 869 h 939"/>
              <a:gd name="T44" fmla="*/ 243 w 1043"/>
              <a:gd name="T45" fmla="*/ 757 h 939"/>
              <a:gd name="T46" fmla="*/ 243 w 1043"/>
              <a:gd name="T47" fmla="*/ 139 h 939"/>
              <a:gd name="T48" fmla="*/ 742 w 1043"/>
              <a:gd name="T49" fmla="*/ 69 h 939"/>
              <a:gd name="T50" fmla="*/ 834 w 1043"/>
              <a:gd name="T51" fmla="*/ 695 h 939"/>
              <a:gd name="T52" fmla="*/ 904 w 1043"/>
              <a:gd name="T53" fmla="*/ 161 h 939"/>
              <a:gd name="T54" fmla="*/ 685 w 1043"/>
              <a:gd name="T55" fmla="*/ 0 h 939"/>
              <a:gd name="T56" fmla="*/ 0 w 1043"/>
              <a:gd name="T57" fmla="*/ 174 h 939"/>
              <a:gd name="T58" fmla="*/ 16 w 1043"/>
              <a:gd name="T59" fmla="*/ 209 h 939"/>
              <a:gd name="T60" fmla="*/ 174 w 1043"/>
              <a:gd name="T61" fmla="*/ 757 h 939"/>
              <a:gd name="T62" fmla="*/ 820 w 1043"/>
              <a:gd name="T63" fmla="*/ 939 h 939"/>
              <a:gd name="T64" fmla="*/ 1043 w 1043"/>
              <a:gd name="T65" fmla="*/ 765 h 939"/>
              <a:gd name="T66" fmla="*/ 765 w 1043"/>
              <a:gd name="T67" fmla="*/ 529 h 939"/>
              <a:gd name="T68" fmla="*/ 321 w 1043"/>
              <a:gd name="T69" fmla="*/ 522 h 939"/>
              <a:gd name="T70" fmla="*/ 313 w 1043"/>
              <a:gd name="T71" fmla="*/ 548 h 939"/>
              <a:gd name="T72" fmla="*/ 757 w 1043"/>
              <a:gd name="T73" fmla="*/ 556 h 939"/>
              <a:gd name="T74" fmla="*/ 765 w 1043"/>
              <a:gd name="T75" fmla="*/ 529 h 939"/>
              <a:gd name="T76" fmla="*/ 757 w 1043"/>
              <a:gd name="T77" fmla="*/ 452 h 939"/>
              <a:gd name="T78" fmla="*/ 313 w 1043"/>
              <a:gd name="T79" fmla="*/ 460 h 939"/>
              <a:gd name="T80" fmla="*/ 321 w 1043"/>
              <a:gd name="T81" fmla="*/ 487 h 939"/>
              <a:gd name="T82" fmla="*/ 765 w 1043"/>
              <a:gd name="T83" fmla="*/ 479 h 939"/>
              <a:gd name="T84" fmla="*/ 765 w 1043"/>
              <a:gd name="T85" fmla="*/ 599 h 939"/>
              <a:gd name="T86" fmla="*/ 757 w 1043"/>
              <a:gd name="T87" fmla="*/ 626 h 939"/>
              <a:gd name="T88" fmla="*/ 313 w 1043"/>
              <a:gd name="T89" fmla="*/ 618 h 939"/>
              <a:gd name="T90" fmla="*/ 321 w 1043"/>
              <a:gd name="T91" fmla="*/ 591 h 939"/>
              <a:gd name="T92" fmla="*/ 765 w 1043"/>
              <a:gd name="T93" fmla="*/ 59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43" h="939">
                <a:moveTo>
                  <a:pt x="765" y="321"/>
                </a:moveTo>
                <a:cubicBezTo>
                  <a:pt x="765" y="316"/>
                  <a:pt x="761" y="313"/>
                  <a:pt x="757" y="313"/>
                </a:cubicBezTo>
                <a:cubicBezTo>
                  <a:pt x="321" y="313"/>
                  <a:pt x="321" y="313"/>
                  <a:pt x="321" y="313"/>
                </a:cubicBezTo>
                <a:cubicBezTo>
                  <a:pt x="316" y="313"/>
                  <a:pt x="313" y="316"/>
                  <a:pt x="313" y="321"/>
                </a:cubicBezTo>
                <a:cubicBezTo>
                  <a:pt x="313" y="340"/>
                  <a:pt x="313" y="340"/>
                  <a:pt x="313" y="340"/>
                </a:cubicBezTo>
                <a:cubicBezTo>
                  <a:pt x="313" y="344"/>
                  <a:pt x="316" y="348"/>
                  <a:pt x="321" y="348"/>
                </a:cubicBezTo>
                <a:cubicBezTo>
                  <a:pt x="757" y="348"/>
                  <a:pt x="757" y="348"/>
                  <a:pt x="757" y="348"/>
                </a:cubicBezTo>
                <a:cubicBezTo>
                  <a:pt x="761" y="348"/>
                  <a:pt x="765" y="344"/>
                  <a:pt x="765" y="340"/>
                </a:cubicBezTo>
                <a:lnTo>
                  <a:pt x="765" y="321"/>
                </a:lnTo>
                <a:close/>
                <a:moveTo>
                  <a:pt x="765" y="251"/>
                </a:moveTo>
                <a:cubicBezTo>
                  <a:pt x="765" y="247"/>
                  <a:pt x="761" y="243"/>
                  <a:pt x="757" y="243"/>
                </a:cubicBezTo>
                <a:cubicBezTo>
                  <a:pt x="321" y="243"/>
                  <a:pt x="321" y="243"/>
                  <a:pt x="321" y="243"/>
                </a:cubicBezTo>
                <a:cubicBezTo>
                  <a:pt x="316" y="243"/>
                  <a:pt x="313" y="247"/>
                  <a:pt x="313" y="251"/>
                </a:cubicBezTo>
                <a:cubicBezTo>
                  <a:pt x="313" y="270"/>
                  <a:pt x="313" y="270"/>
                  <a:pt x="313" y="270"/>
                </a:cubicBezTo>
                <a:cubicBezTo>
                  <a:pt x="313" y="275"/>
                  <a:pt x="316" y="278"/>
                  <a:pt x="321" y="278"/>
                </a:cubicBezTo>
                <a:cubicBezTo>
                  <a:pt x="757" y="278"/>
                  <a:pt x="757" y="278"/>
                  <a:pt x="757" y="278"/>
                </a:cubicBezTo>
                <a:cubicBezTo>
                  <a:pt x="761" y="278"/>
                  <a:pt x="765" y="275"/>
                  <a:pt x="765" y="270"/>
                </a:cubicBezTo>
                <a:lnTo>
                  <a:pt x="765" y="251"/>
                </a:lnTo>
                <a:close/>
                <a:moveTo>
                  <a:pt x="765" y="390"/>
                </a:moveTo>
                <a:cubicBezTo>
                  <a:pt x="765" y="386"/>
                  <a:pt x="761" y="382"/>
                  <a:pt x="757" y="382"/>
                </a:cubicBezTo>
                <a:cubicBezTo>
                  <a:pt x="321" y="382"/>
                  <a:pt x="321" y="382"/>
                  <a:pt x="321" y="382"/>
                </a:cubicBezTo>
                <a:cubicBezTo>
                  <a:pt x="316" y="382"/>
                  <a:pt x="313" y="386"/>
                  <a:pt x="313" y="390"/>
                </a:cubicBezTo>
                <a:cubicBezTo>
                  <a:pt x="313" y="409"/>
                  <a:pt x="313" y="409"/>
                  <a:pt x="313" y="409"/>
                </a:cubicBezTo>
                <a:cubicBezTo>
                  <a:pt x="313" y="414"/>
                  <a:pt x="316" y="417"/>
                  <a:pt x="321" y="417"/>
                </a:cubicBezTo>
                <a:cubicBezTo>
                  <a:pt x="757" y="417"/>
                  <a:pt x="757" y="417"/>
                  <a:pt x="757" y="417"/>
                </a:cubicBezTo>
                <a:cubicBezTo>
                  <a:pt x="761" y="417"/>
                  <a:pt x="765" y="414"/>
                  <a:pt x="765" y="409"/>
                </a:cubicBezTo>
                <a:lnTo>
                  <a:pt x="765" y="390"/>
                </a:lnTo>
                <a:close/>
                <a:moveTo>
                  <a:pt x="765" y="182"/>
                </a:moveTo>
                <a:cubicBezTo>
                  <a:pt x="765" y="177"/>
                  <a:pt x="761" y="174"/>
                  <a:pt x="757" y="174"/>
                </a:cubicBezTo>
                <a:cubicBezTo>
                  <a:pt x="321" y="174"/>
                  <a:pt x="321" y="174"/>
                  <a:pt x="321" y="174"/>
                </a:cubicBezTo>
                <a:cubicBezTo>
                  <a:pt x="316" y="174"/>
                  <a:pt x="313" y="177"/>
                  <a:pt x="313" y="182"/>
                </a:cubicBezTo>
                <a:cubicBezTo>
                  <a:pt x="313" y="201"/>
                  <a:pt x="313" y="201"/>
                  <a:pt x="313" y="201"/>
                </a:cubicBezTo>
                <a:cubicBezTo>
                  <a:pt x="313" y="205"/>
                  <a:pt x="316" y="209"/>
                  <a:pt x="321" y="209"/>
                </a:cubicBezTo>
                <a:cubicBezTo>
                  <a:pt x="757" y="209"/>
                  <a:pt x="757" y="209"/>
                  <a:pt x="757" y="209"/>
                </a:cubicBezTo>
                <a:cubicBezTo>
                  <a:pt x="761" y="209"/>
                  <a:pt x="765" y="205"/>
                  <a:pt x="765" y="201"/>
                </a:cubicBezTo>
                <a:lnTo>
                  <a:pt x="765" y="182"/>
                </a:lnTo>
                <a:close/>
                <a:moveTo>
                  <a:pt x="1041" y="743"/>
                </a:moveTo>
                <a:cubicBezTo>
                  <a:pt x="1041" y="736"/>
                  <a:pt x="1034" y="730"/>
                  <a:pt x="1027" y="730"/>
                </a:cubicBezTo>
                <a:cubicBezTo>
                  <a:pt x="501" y="730"/>
                  <a:pt x="501" y="730"/>
                  <a:pt x="501" y="730"/>
                </a:cubicBezTo>
                <a:cubicBezTo>
                  <a:pt x="497" y="730"/>
                  <a:pt x="494" y="732"/>
                  <a:pt x="491" y="735"/>
                </a:cubicBezTo>
                <a:cubicBezTo>
                  <a:pt x="488" y="737"/>
                  <a:pt x="486" y="741"/>
                  <a:pt x="487" y="745"/>
                </a:cubicBezTo>
                <a:cubicBezTo>
                  <a:pt x="487" y="746"/>
                  <a:pt x="487" y="747"/>
                  <a:pt x="487" y="747"/>
                </a:cubicBezTo>
                <a:cubicBezTo>
                  <a:pt x="487" y="815"/>
                  <a:pt x="432" y="869"/>
                  <a:pt x="365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295" y="869"/>
                  <a:pt x="243" y="819"/>
                  <a:pt x="243" y="757"/>
                </a:cubicBezTo>
                <a:cubicBezTo>
                  <a:pt x="243" y="757"/>
                  <a:pt x="243" y="243"/>
                  <a:pt x="243" y="174"/>
                </a:cubicBezTo>
                <a:cubicBezTo>
                  <a:pt x="243" y="139"/>
                  <a:pt x="243" y="139"/>
                  <a:pt x="243" y="139"/>
                </a:cubicBezTo>
                <a:cubicBezTo>
                  <a:pt x="243" y="100"/>
                  <a:pt x="212" y="69"/>
                  <a:pt x="174" y="69"/>
                </a:cubicBezTo>
                <a:cubicBezTo>
                  <a:pt x="742" y="69"/>
                  <a:pt x="742" y="69"/>
                  <a:pt x="742" y="69"/>
                </a:cubicBezTo>
                <a:cubicBezTo>
                  <a:pt x="793" y="69"/>
                  <a:pt x="834" y="111"/>
                  <a:pt x="834" y="161"/>
                </a:cubicBezTo>
                <a:cubicBezTo>
                  <a:pt x="834" y="695"/>
                  <a:pt x="834" y="695"/>
                  <a:pt x="834" y="695"/>
                </a:cubicBezTo>
                <a:cubicBezTo>
                  <a:pt x="904" y="695"/>
                  <a:pt x="904" y="695"/>
                  <a:pt x="904" y="695"/>
                </a:cubicBezTo>
                <a:cubicBezTo>
                  <a:pt x="904" y="573"/>
                  <a:pt x="904" y="326"/>
                  <a:pt x="904" y="161"/>
                </a:cubicBezTo>
                <a:cubicBezTo>
                  <a:pt x="904" y="72"/>
                  <a:pt x="832" y="0"/>
                  <a:pt x="742" y="0"/>
                </a:cubicBezTo>
                <a:cubicBezTo>
                  <a:pt x="685" y="0"/>
                  <a:pt x="685" y="0"/>
                  <a:pt x="685" y="0"/>
                </a:cubicBezTo>
                <a:cubicBezTo>
                  <a:pt x="174" y="0"/>
                  <a:pt x="174" y="0"/>
                  <a:pt x="174" y="0"/>
                </a:cubicBezTo>
                <a:cubicBezTo>
                  <a:pt x="78" y="0"/>
                  <a:pt x="0" y="78"/>
                  <a:pt x="0" y="174"/>
                </a:cubicBezTo>
                <a:cubicBezTo>
                  <a:pt x="0" y="181"/>
                  <a:pt x="0" y="188"/>
                  <a:pt x="1" y="196"/>
                </a:cubicBezTo>
                <a:cubicBezTo>
                  <a:pt x="2" y="203"/>
                  <a:pt x="8" y="209"/>
                  <a:pt x="16" y="209"/>
                </a:cubicBezTo>
                <a:cubicBezTo>
                  <a:pt x="174" y="209"/>
                  <a:pt x="174" y="209"/>
                  <a:pt x="174" y="209"/>
                </a:cubicBezTo>
                <a:cubicBezTo>
                  <a:pt x="174" y="410"/>
                  <a:pt x="174" y="694"/>
                  <a:pt x="174" y="757"/>
                </a:cubicBezTo>
                <a:cubicBezTo>
                  <a:pt x="174" y="857"/>
                  <a:pt x="256" y="939"/>
                  <a:pt x="358" y="939"/>
                </a:cubicBezTo>
                <a:cubicBezTo>
                  <a:pt x="820" y="939"/>
                  <a:pt x="820" y="939"/>
                  <a:pt x="820" y="939"/>
                </a:cubicBezTo>
                <a:cubicBezTo>
                  <a:pt x="869" y="939"/>
                  <a:pt x="869" y="939"/>
                  <a:pt x="869" y="939"/>
                </a:cubicBezTo>
                <a:cubicBezTo>
                  <a:pt x="965" y="939"/>
                  <a:pt x="1043" y="861"/>
                  <a:pt x="1043" y="765"/>
                </a:cubicBezTo>
                <a:cubicBezTo>
                  <a:pt x="1043" y="757"/>
                  <a:pt x="1042" y="750"/>
                  <a:pt x="1041" y="743"/>
                </a:cubicBezTo>
                <a:close/>
                <a:moveTo>
                  <a:pt x="765" y="529"/>
                </a:moveTo>
                <a:cubicBezTo>
                  <a:pt x="765" y="525"/>
                  <a:pt x="761" y="522"/>
                  <a:pt x="757" y="522"/>
                </a:cubicBezTo>
                <a:cubicBezTo>
                  <a:pt x="321" y="522"/>
                  <a:pt x="321" y="522"/>
                  <a:pt x="321" y="522"/>
                </a:cubicBezTo>
                <a:cubicBezTo>
                  <a:pt x="316" y="522"/>
                  <a:pt x="313" y="525"/>
                  <a:pt x="313" y="529"/>
                </a:cubicBezTo>
                <a:cubicBezTo>
                  <a:pt x="313" y="548"/>
                  <a:pt x="313" y="548"/>
                  <a:pt x="313" y="548"/>
                </a:cubicBezTo>
                <a:cubicBezTo>
                  <a:pt x="313" y="553"/>
                  <a:pt x="316" y="556"/>
                  <a:pt x="321" y="556"/>
                </a:cubicBezTo>
                <a:cubicBezTo>
                  <a:pt x="757" y="556"/>
                  <a:pt x="757" y="556"/>
                  <a:pt x="757" y="556"/>
                </a:cubicBezTo>
                <a:cubicBezTo>
                  <a:pt x="761" y="556"/>
                  <a:pt x="765" y="553"/>
                  <a:pt x="765" y="548"/>
                </a:cubicBezTo>
                <a:lnTo>
                  <a:pt x="765" y="529"/>
                </a:lnTo>
                <a:close/>
                <a:moveTo>
                  <a:pt x="765" y="460"/>
                </a:moveTo>
                <a:cubicBezTo>
                  <a:pt x="765" y="456"/>
                  <a:pt x="761" y="452"/>
                  <a:pt x="757" y="452"/>
                </a:cubicBezTo>
                <a:cubicBezTo>
                  <a:pt x="321" y="452"/>
                  <a:pt x="321" y="452"/>
                  <a:pt x="321" y="452"/>
                </a:cubicBezTo>
                <a:cubicBezTo>
                  <a:pt x="316" y="452"/>
                  <a:pt x="313" y="456"/>
                  <a:pt x="313" y="460"/>
                </a:cubicBezTo>
                <a:cubicBezTo>
                  <a:pt x="313" y="479"/>
                  <a:pt x="313" y="479"/>
                  <a:pt x="313" y="479"/>
                </a:cubicBezTo>
                <a:cubicBezTo>
                  <a:pt x="313" y="483"/>
                  <a:pt x="316" y="487"/>
                  <a:pt x="321" y="487"/>
                </a:cubicBezTo>
                <a:cubicBezTo>
                  <a:pt x="757" y="487"/>
                  <a:pt x="757" y="487"/>
                  <a:pt x="757" y="487"/>
                </a:cubicBezTo>
                <a:cubicBezTo>
                  <a:pt x="761" y="487"/>
                  <a:pt x="765" y="483"/>
                  <a:pt x="765" y="479"/>
                </a:cubicBezTo>
                <a:lnTo>
                  <a:pt x="765" y="460"/>
                </a:lnTo>
                <a:close/>
                <a:moveTo>
                  <a:pt x="765" y="599"/>
                </a:moveTo>
                <a:cubicBezTo>
                  <a:pt x="765" y="618"/>
                  <a:pt x="765" y="618"/>
                  <a:pt x="765" y="618"/>
                </a:cubicBezTo>
                <a:cubicBezTo>
                  <a:pt x="765" y="622"/>
                  <a:pt x="761" y="626"/>
                  <a:pt x="757" y="626"/>
                </a:cubicBezTo>
                <a:cubicBezTo>
                  <a:pt x="321" y="626"/>
                  <a:pt x="321" y="626"/>
                  <a:pt x="321" y="626"/>
                </a:cubicBezTo>
                <a:cubicBezTo>
                  <a:pt x="316" y="626"/>
                  <a:pt x="313" y="622"/>
                  <a:pt x="313" y="618"/>
                </a:cubicBezTo>
                <a:cubicBezTo>
                  <a:pt x="313" y="599"/>
                  <a:pt x="313" y="599"/>
                  <a:pt x="313" y="599"/>
                </a:cubicBezTo>
                <a:cubicBezTo>
                  <a:pt x="313" y="595"/>
                  <a:pt x="316" y="591"/>
                  <a:pt x="321" y="591"/>
                </a:cubicBezTo>
                <a:cubicBezTo>
                  <a:pt x="757" y="591"/>
                  <a:pt x="757" y="591"/>
                  <a:pt x="757" y="591"/>
                </a:cubicBezTo>
                <a:cubicBezTo>
                  <a:pt x="761" y="591"/>
                  <a:pt x="765" y="595"/>
                  <a:pt x="765" y="5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A1EAF592-3852-4489-AF2D-35A1C88FF77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200260" y="2340801"/>
            <a:ext cx="182832" cy="231961"/>
            <a:chOff x="849313" y="-539751"/>
            <a:chExt cx="8375650" cy="10623551"/>
          </a:xfrm>
          <a:solidFill>
            <a:schemeClr val="bg1">
              <a:alpha val="70000"/>
            </a:schemeClr>
          </a:solidFill>
        </p:grpSpPr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41A74F2A-7FE3-4A69-9995-41C2AB2E68C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3" y="2670175"/>
              <a:ext cx="8375650" cy="7413625"/>
            </a:xfrm>
            <a:custGeom>
              <a:avLst/>
              <a:gdLst>
                <a:gd name="T0" fmla="*/ 116 w 741"/>
                <a:gd name="T1" fmla="*/ 656 h 656"/>
                <a:gd name="T2" fmla="*/ 165 w 741"/>
                <a:gd name="T3" fmla="*/ 561 h 656"/>
                <a:gd name="T4" fmla="*/ 92 w 741"/>
                <a:gd name="T5" fmla="*/ 506 h 656"/>
                <a:gd name="T6" fmla="*/ 0 w 741"/>
                <a:gd name="T7" fmla="*/ 284 h 656"/>
                <a:gd name="T8" fmla="*/ 181 w 741"/>
                <a:gd name="T9" fmla="*/ 0 h 656"/>
                <a:gd name="T10" fmla="*/ 210 w 741"/>
                <a:gd name="T11" fmla="*/ 118 h 656"/>
                <a:gd name="T12" fmla="*/ 118 w 741"/>
                <a:gd name="T13" fmla="*/ 275 h 656"/>
                <a:gd name="T14" fmla="*/ 347 w 741"/>
                <a:gd name="T15" fmla="*/ 437 h 656"/>
                <a:gd name="T16" fmla="*/ 663 w 741"/>
                <a:gd name="T17" fmla="*/ 353 h 656"/>
                <a:gd name="T18" fmla="*/ 699 w 741"/>
                <a:gd name="T19" fmla="*/ 374 h 656"/>
                <a:gd name="T20" fmla="*/ 678 w 741"/>
                <a:gd name="T21" fmla="*/ 410 h 656"/>
                <a:gd name="T22" fmla="*/ 373 w 741"/>
                <a:gd name="T23" fmla="*/ 491 h 656"/>
                <a:gd name="T24" fmla="*/ 386 w 741"/>
                <a:gd name="T25" fmla="*/ 539 h 656"/>
                <a:gd name="T26" fmla="*/ 623 w 741"/>
                <a:gd name="T27" fmla="*/ 539 h 656"/>
                <a:gd name="T28" fmla="*/ 741 w 741"/>
                <a:gd name="T29" fmla="*/ 656 h 656"/>
                <a:gd name="T30" fmla="*/ 116 w 741"/>
                <a:gd name="T31" fmla="*/ 656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1" h="656">
                  <a:moveTo>
                    <a:pt x="116" y="656"/>
                  </a:moveTo>
                  <a:cubicBezTo>
                    <a:pt x="116" y="617"/>
                    <a:pt x="136" y="582"/>
                    <a:pt x="165" y="561"/>
                  </a:cubicBezTo>
                  <a:cubicBezTo>
                    <a:pt x="138" y="546"/>
                    <a:pt x="113" y="528"/>
                    <a:pt x="92" y="506"/>
                  </a:cubicBezTo>
                  <a:cubicBezTo>
                    <a:pt x="35" y="449"/>
                    <a:pt x="0" y="371"/>
                    <a:pt x="0" y="284"/>
                  </a:cubicBezTo>
                  <a:cubicBezTo>
                    <a:pt x="0" y="162"/>
                    <a:pt x="71" y="52"/>
                    <a:pt x="181" y="0"/>
                  </a:cubicBezTo>
                  <a:cubicBezTo>
                    <a:pt x="171" y="41"/>
                    <a:pt x="182" y="86"/>
                    <a:pt x="210" y="118"/>
                  </a:cubicBezTo>
                  <a:cubicBezTo>
                    <a:pt x="156" y="151"/>
                    <a:pt x="120" y="210"/>
                    <a:pt x="118" y="275"/>
                  </a:cubicBezTo>
                  <a:cubicBezTo>
                    <a:pt x="114" y="385"/>
                    <a:pt x="226" y="466"/>
                    <a:pt x="347" y="437"/>
                  </a:cubicBezTo>
                  <a:cubicBezTo>
                    <a:pt x="663" y="353"/>
                    <a:pt x="663" y="353"/>
                    <a:pt x="663" y="353"/>
                  </a:cubicBezTo>
                  <a:cubicBezTo>
                    <a:pt x="678" y="349"/>
                    <a:pt x="694" y="358"/>
                    <a:pt x="699" y="374"/>
                  </a:cubicBezTo>
                  <a:cubicBezTo>
                    <a:pt x="703" y="389"/>
                    <a:pt x="693" y="406"/>
                    <a:pt x="678" y="410"/>
                  </a:cubicBezTo>
                  <a:cubicBezTo>
                    <a:pt x="373" y="491"/>
                    <a:pt x="373" y="491"/>
                    <a:pt x="373" y="491"/>
                  </a:cubicBezTo>
                  <a:cubicBezTo>
                    <a:pt x="386" y="539"/>
                    <a:pt x="386" y="539"/>
                    <a:pt x="386" y="539"/>
                  </a:cubicBezTo>
                  <a:cubicBezTo>
                    <a:pt x="623" y="539"/>
                    <a:pt x="623" y="539"/>
                    <a:pt x="623" y="539"/>
                  </a:cubicBezTo>
                  <a:cubicBezTo>
                    <a:pt x="688" y="539"/>
                    <a:pt x="741" y="591"/>
                    <a:pt x="741" y="656"/>
                  </a:cubicBezTo>
                  <a:lnTo>
                    <a:pt x="116" y="6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9A8423B7-3ABB-45C5-969F-98D04AF827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1" y="5043487"/>
              <a:ext cx="2587625" cy="1231900"/>
            </a:xfrm>
            <a:custGeom>
              <a:avLst/>
              <a:gdLst>
                <a:gd name="T0" fmla="*/ 40 w 229"/>
                <a:gd name="T1" fmla="*/ 104 h 109"/>
                <a:gd name="T2" fmla="*/ 4 w 229"/>
                <a:gd name="T3" fmla="*/ 84 h 109"/>
                <a:gd name="T4" fmla="*/ 25 w 229"/>
                <a:gd name="T5" fmla="*/ 48 h 109"/>
                <a:gd name="T6" fmla="*/ 188 w 229"/>
                <a:gd name="T7" fmla="*/ 4 h 109"/>
                <a:gd name="T8" fmla="*/ 224 w 229"/>
                <a:gd name="T9" fmla="*/ 25 h 109"/>
                <a:gd name="T10" fmla="*/ 204 w 229"/>
                <a:gd name="T11" fmla="*/ 61 h 109"/>
                <a:gd name="T12" fmla="*/ 40 w 229"/>
                <a:gd name="T13" fmla="*/ 10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109">
                  <a:moveTo>
                    <a:pt x="40" y="104"/>
                  </a:moveTo>
                  <a:cubicBezTo>
                    <a:pt x="25" y="109"/>
                    <a:pt x="9" y="99"/>
                    <a:pt x="4" y="84"/>
                  </a:cubicBezTo>
                  <a:cubicBezTo>
                    <a:pt x="0" y="68"/>
                    <a:pt x="10" y="52"/>
                    <a:pt x="25" y="48"/>
                  </a:cubicBezTo>
                  <a:cubicBezTo>
                    <a:pt x="188" y="4"/>
                    <a:pt x="188" y="4"/>
                    <a:pt x="188" y="4"/>
                  </a:cubicBezTo>
                  <a:cubicBezTo>
                    <a:pt x="204" y="0"/>
                    <a:pt x="220" y="9"/>
                    <a:pt x="224" y="25"/>
                  </a:cubicBezTo>
                  <a:cubicBezTo>
                    <a:pt x="229" y="40"/>
                    <a:pt x="219" y="57"/>
                    <a:pt x="204" y="61"/>
                  </a:cubicBezTo>
                  <a:lnTo>
                    <a:pt x="4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F175EB21-7FF3-4A0A-ADC2-163CF97AA8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4851" y="-539751"/>
              <a:ext cx="4092575" cy="5910263"/>
            </a:xfrm>
            <a:custGeom>
              <a:avLst/>
              <a:gdLst>
                <a:gd name="T0" fmla="*/ 105 w 362"/>
                <a:gd name="T1" fmla="*/ 348 h 523"/>
                <a:gd name="T2" fmla="*/ 69 w 362"/>
                <a:gd name="T3" fmla="*/ 327 h 523"/>
                <a:gd name="T4" fmla="*/ 90 w 362"/>
                <a:gd name="T5" fmla="*/ 291 h 523"/>
                <a:gd name="T6" fmla="*/ 126 w 362"/>
                <a:gd name="T7" fmla="*/ 312 h 523"/>
                <a:gd name="T8" fmla="*/ 105 w 362"/>
                <a:gd name="T9" fmla="*/ 348 h 523"/>
                <a:gd name="T10" fmla="*/ 358 w 362"/>
                <a:gd name="T11" fmla="*/ 441 h 523"/>
                <a:gd name="T12" fmla="*/ 271 w 362"/>
                <a:gd name="T13" fmla="*/ 115 h 523"/>
                <a:gd name="T14" fmla="*/ 233 w 362"/>
                <a:gd name="T15" fmla="*/ 93 h 523"/>
                <a:gd name="T16" fmla="*/ 206 w 362"/>
                <a:gd name="T17" fmla="*/ 101 h 523"/>
                <a:gd name="T18" fmla="*/ 182 w 362"/>
                <a:gd name="T19" fmla="*/ 12 h 523"/>
                <a:gd name="T20" fmla="*/ 164 w 362"/>
                <a:gd name="T21" fmla="*/ 2 h 523"/>
                <a:gd name="T22" fmla="*/ 93 w 362"/>
                <a:gd name="T23" fmla="*/ 21 h 523"/>
                <a:gd name="T24" fmla="*/ 83 w 362"/>
                <a:gd name="T25" fmla="*/ 39 h 523"/>
                <a:gd name="T26" fmla="*/ 107 w 362"/>
                <a:gd name="T27" fmla="*/ 127 h 523"/>
                <a:gd name="T28" fmla="*/ 80 w 362"/>
                <a:gd name="T29" fmla="*/ 135 h 523"/>
                <a:gd name="T30" fmla="*/ 58 w 362"/>
                <a:gd name="T31" fmla="*/ 172 h 523"/>
                <a:gd name="T32" fmla="*/ 75 w 362"/>
                <a:gd name="T33" fmla="*/ 235 h 523"/>
                <a:gd name="T34" fmla="*/ 12 w 362"/>
                <a:gd name="T35" fmla="*/ 342 h 523"/>
                <a:gd name="T36" fmla="*/ 120 w 362"/>
                <a:gd name="T37" fmla="*/ 405 h 523"/>
                <a:gd name="T38" fmla="*/ 120 w 362"/>
                <a:gd name="T39" fmla="*/ 405 h 523"/>
                <a:gd name="T40" fmla="*/ 145 w 362"/>
                <a:gd name="T41" fmla="*/ 498 h 523"/>
                <a:gd name="T42" fmla="*/ 181 w 362"/>
                <a:gd name="T43" fmla="*/ 518 h 523"/>
                <a:gd name="T44" fmla="*/ 337 w 362"/>
                <a:gd name="T45" fmla="*/ 477 h 523"/>
                <a:gd name="T46" fmla="*/ 358 w 362"/>
                <a:gd name="T47" fmla="*/ 441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2" h="523">
                  <a:moveTo>
                    <a:pt x="105" y="348"/>
                  </a:moveTo>
                  <a:cubicBezTo>
                    <a:pt x="89" y="352"/>
                    <a:pt x="73" y="343"/>
                    <a:pt x="69" y="327"/>
                  </a:cubicBezTo>
                  <a:cubicBezTo>
                    <a:pt x="65" y="311"/>
                    <a:pt x="74" y="295"/>
                    <a:pt x="90" y="291"/>
                  </a:cubicBezTo>
                  <a:cubicBezTo>
                    <a:pt x="106" y="287"/>
                    <a:pt x="122" y="296"/>
                    <a:pt x="126" y="312"/>
                  </a:cubicBezTo>
                  <a:cubicBezTo>
                    <a:pt x="130" y="328"/>
                    <a:pt x="121" y="344"/>
                    <a:pt x="105" y="348"/>
                  </a:cubicBezTo>
                  <a:close/>
                  <a:moveTo>
                    <a:pt x="358" y="441"/>
                  </a:moveTo>
                  <a:cubicBezTo>
                    <a:pt x="271" y="115"/>
                    <a:pt x="271" y="115"/>
                    <a:pt x="271" y="115"/>
                  </a:cubicBezTo>
                  <a:cubicBezTo>
                    <a:pt x="266" y="99"/>
                    <a:pt x="250" y="89"/>
                    <a:pt x="233" y="93"/>
                  </a:cubicBezTo>
                  <a:cubicBezTo>
                    <a:pt x="206" y="101"/>
                    <a:pt x="206" y="101"/>
                    <a:pt x="206" y="101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0" y="4"/>
                    <a:pt x="172" y="0"/>
                    <a:pt x="164" y="2"/>
                  </a:cubicBezTo>
                  <a:cubicBezTo>
                    <a:pt x="93" y="21"/>
                    <a:pt x="93" y="21"/>
                    <a:pt x="93" y="21"/>
                  </a:cubicBezTo>
                  <a:cubicBezTo>
                    <a:pt x="86" y="23"/>
                    <a:pt x="81" y="31"/>
                    <a:pt x="83" y="39"/>
                  </a:cubicBezTo>
                  <a:cubicBezTo>
                    <a:pt x="107" y="127"/>
                    <a:pt x="107" y="127"/>
                    <a:pt x="107" y="127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63" y="139"/>
                    <a:pt x="54" y="156"/>
                    <a:pt x="58" y="172"/>
                  </a:cubicBezTo>
                  <a:cubicBezTo>
                    <a:pt x="75" y="235"/>
                    <a:pt x="75" y="235"/>
                    <a:pt x="75" y="235"/>
                  </a:cubicBezTo>
                  <a:cubicBezTo>
                    <a:pt x="28" y="247"/>
                    <a:pt x="0" y="295"/>
                    <a:pt x="12" y="342"/>
                  </a:cubicBezTo>
                  <a:cubicBezTo>
                    <a:pt x="25" y="389"/>
                    <a:pt x="73" y="417"/>
                    <a:pt x="120" y="405"/>
                  </a:cubicBezTo>
                  <a:cubicBezTo>
                    <a:pt x="120" y="405"/>
                    <a:pt x="120" y="405"/>
                    <a:pt x="120" y="405"/>
                  </a:cubicBezTo>
                  <a:cubicBezTo>
                    <a:pt x="145" y="498"/>
                    <a:pt x="145" y="498"/>
                    <a:pt x="145" y="498"/>
                  </a:cubicBezTo>
                  <a:cubicBezTo>
                    <a:pt x="150" y="513"/>
                    <a:pt x="166" y="523"/>
                    <a:pt x="181" y="518"/>
                  </a:cubicBezTo>
                  <a:cubicBezTo>
                    <a:pt x="337" y="477"/>
                    <a:pt x="337" y="477"/>
                    <a:pt x="337" y="477"/>
                  </a:cubicBezTo>
                  <a:cubicBezTo>
                    <a:pt x="353" y="472"/>
                    <a:pt x="362" y="456"/>
                    <a:pt x="358" y="4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51" name="Freeform 47">
            <a:extLst>
              <a:ext uri="{FF2B5EF4-FFF2-40B4-BE49-F238E27FC236}">
                <a16:creationId xmlns:a16="http://schemas.microsoft.com/office/drawing/2014/main" id="{1082F9FD-8004-4B7E-B87F-66BF161D2E6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844932" y="3268800"/>
            <a:ext cx="201116" cy="201139"/>
          </a:xfrm>
          <a:custGeom>
            <a:avLst/>
            <a:gdLst>
              <a:gd name="T0" fmla="*/ 951 w 981"/>
              <a:gd name="T1" fmla="*/ 842 h 981"/>
              <a:gd name="T2" fmla="*/ 711 w 981"/>
              <a:gd name="T3" fmla="*/ 603 h 981"/>
              <a:gd name="T4" fmla="*/ 603 w 981"/>
              <a:gd name="T5" fmla="*/ 107 h 981"/>
              <a:gd name="T6" fmla="*/ 107 w 981"/>
              <a:gd name="T7" fmla="*/ 216 h 981"/>
              <a:gd name="T8" fmla="*/ 216 w 981"/>
              <a:gd name="T9" fmla="*/ 712 h 981"/>
              <a:gd name="T10" fmla="*/ 603 w 981"/>
              <a:gd name="T11" fmla="*/ 712 h 981"/>
              <a:gd name="T12" fmla="*/ 842 w 981"/>
              <a:gd name="T13" fmla="*/ 951 h 981"/>
              <a:gd name="T14" fmla="*/ 951 w 981"/>
              <a:gd name="T15" fmla="*/ 951 h 981"/>
              <a:gd name="T16" fmla="*/ 951 w 981"/>
              <a:gd name="T17" fmla="*/ 843 h 981"/>
              <a:gd name="T18" fmla="*/ 951 w 981"/>
              <a:gd name="T19" fmla="*/ 842 h 981"/>
              <a:gd name="T20" fmla="*/ 153 w 981"/>
              <a:gd name="T21" fmla="*/ 410 h 981"/>
              <a:gd name="T22" fmla="*/ 410 w 981"/>
              <a:gd name="T23" fmla="*/ 153 h 981"/>
              <a:gd name="T24" fmla="*/ 666 w 981"/>
              <a:gd name="T25" fmla="*/ 410 h 981"/>
              <a:gd name="T26" fmla="*/ 410 w 981"/>
              <a:gd name="T27" fmla="*/ 666 h 981"/>
              <a:gd name="T28" fmla="*/ 153 w 981"/>
              <a:gd name="T29" fmla="*/ 410 h 9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81" h="981">
                <a:moveTo>
                  <a:pt x="951" y="842"/>
                </a:moveTo>
                <a:cubicBezTo>
                  <a:pt x="711" y="603"/>
                  <a:pt x="711" y="603"/>
                  <a:pt x="711" y="603"/>
                </a:cubicBezTo>
                <a:cubicBezTo>
                  <a:pt x="818" y="436"/>
                  <a:pt x="770" y="214"/>
                  <a:pt x="603" y="107"/>
                </a:cubicBezTo>
                <a:cubicBezTo>
                  <a:pt x="436" y="0"/>
                  <a:pt x="214" y="49"/>
                  <a:pt x="107" y="216"/>
                </a:cubicBezTo>
                <a:cubicBezTo>
                  <a:pt x="0" y="383"/>
                  <a:pt x="49" y="605"/>
                  <a:pt x="216" y="712"/>
                </a:cubicBezTo>
                <a:cubicBezTo>
                  <a:pt x="334" y="787"/>
                  <a:pt x="485" y="787"/>
                  <a:pt x="603" y="712"/>
                </a:cubicBezTo>
                <a:cubicBezTo>
                  <a:pt x="842" y="951"/>
                  <a:pt x="842" y="951"/>
                  <a:pt x="842" y="951"/>
                </a:cubicBezTo>
                <a:cubicBezTo>
                  <a:pt x="872" y="981"/>
                  <a:pt x="921" y="981"/>
                  <a:pt x="951" y="951"/>
                </a:cubicBezTo>
                <a:cubicBezTo>
                  <a:pt x="981" y="921"/>
                  <a:pt x="981" y="873"/>
                  <a:pt x="951" y="843"/>
                </a:cubicBezTo>
                <a:cubicBezTo>
                  <a:pt x="951" y="843"/>
                  <a:pt x="951" y="842"/>
                  <a:pt x="951" y="842"/>
                </a:cubicBezTo>
                <a:close/>
                <a:moveTo>
                  <a:pt x="153" y="410"/>
                </a:moveTo>
                <a:cubicBezTo>
                  <a:pt x="153" y="268"/>
                  <a:pt x="268" y="153"/>
                  <a:pt x="410" y="153"/>
                </a:cubicBezTo>
                <a:cubicBezTo>
                  <a:pt x="551" y="153"/>
                  <a:pt x="666" y="268"/>
                  <a:pt x="666" y="410"/>
                </a:cubicBezTo>
                <a:cubicBezTo>
                  <a:pt x="666" y="551"/>
                  <a:pt x="551" y="666"/>
                  <a:pt x="410" y="666"/>
                </a:cubicBezTo>
                <a:cubicBezTo>
                  <a:pt x="268" y="666"/>
                  <a:pt x="153" y="551"/>
                  <a:pt x="153" y="41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1C106793-1DEC-4336-A347-1FFD29F6934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84359" y="2786642"/>
            <a:ext cx="219317" cy="283896"/>
            <a:chOff x="10758416" y="1419641"/>
            <a:chExt cx="3297184" cy="4266944"/>
          </a:xfrm>
          <a:solidFill>
            <a:schemeClr val="bg1">
              <a:alpha val="80000"/>
            </a:schemeClr>
          </a:solidFill>
        </p:grpSpPr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D9AC832F-978C-4D96-B459-50244FC2A676}"/>
                </a:ext>
              </a:extLst>
            </p:cNvPr>
            <p:cNvSpPr/>
            <p:nvPr/>
          </p:nvSpPr>
          <p:spPr>
            <a:xfrm>
              <a:off x="10758416" y="1419641"/>
              <a:ext cx="3297184" cy="4266944"/>
            </a:xfrm>
            <a:custGeom>
              <a:avLst/>
              <a:gdLst>
                <a:gd name="connsiteX0" fmla="*/ 2763817 w 3297184"/>
                <a:gd name="connsiteY0" fmla="*/ 1939520 h 4266944"/>
                <a:gd name="connsiteX1" fmla="*/ 2424401 w 3297184"/>
                <a:gd name="connsiteY1" fmla="*/ 1600104 h 4266944"/>
                <a:gd name="connsiteX2" fmla="*/ 2763817 w 3297184"/>
                <a:gd name="connsiteY2" fmla="*/ 1260688 h 4266944"/>
                <a:gd name="connsiteX3" fmla="*/ 3103233 w 3297184"/>
                <a:gd name="connsiteY3" fmla="*/ 1600104 h 4266944"/>
                <a:gd name="connsiteX4" fmla="*/ 2763817 w 3297184"/>
                <a:gd name="connsiteY4" fmla="*/ 1939520 h 4266944"/>
                <a:gd name="connsiteX5" fmla="*/ 3297185 w 3297184"/>
                <a:gd name="connsiteY5" fmla="*/ 1600104 h 4266944"/>
                <a:gd name="connsiteX6" fmla="*/ 2763817 w 3297184"/>
                <a:gd name="connsiteY6" fmla="*/ 1066736 h 4266944"/>
                <a:gd name="connsiteX7" fmla="*/ 2230449 w 3297184"/>
                <a:gd name="connsiteY7" fmla="*/ 1600104 h 4266944"/>
                <a:gd name="connsiteX8" fmla="*/ 2618353 w 3297184"/>
                <a:gd name="connsiteY8" fmla="*/ 2114077 h 4266944"/>
                <a:gd name="connsiteX9" fmla="*/ 2618353 w 3297184"/>
                <a:gd name="connsiteY9" fmla="*/ 3248697 h 4266944"/>
                <a:gd name="connsiteX10" fmla="*/ 1891032 w 3297184"/>
                <a:gd name="connsiteY10" fmla="*/ 3976017 h 4266944"/>
                <a:gd name="connsiteX11" fmla="*/ 1163712 w 3297184"/>
                <a:gd name="connsiteY11" fmla="*/ 3248697 h 4266944"/>
                <a:gd name="connsiteX12" fmla="*/ 1163712 w 3297184"/>
                <a:gd name="connsiteY12" fmla="*/ 2754119 h 4266944"/>
                <a:gd name="connsiteX13" fmla="*/ 2036496 w 3297184"/>
                <a:gd name="connsiteY13" fmla="*/ 1745568 h 4266944"/>
                <a:gd name="connsiteX14" fmla="*/ 1939520 w 3297184"/>
                <a:gd name="connsiteY14" fmla="*/ 1580709 h 4266944"/>
                <a:gd name="connsiteX15" fmla="*/ 1939520 w 3297184"/>
                <a:gd name="connsiteY15" fmla="*/ 387904 h 4266944"/>
                <a:gd name="connsiteX16" fmla="*/ 1687383 w 3297184"/>
                <a:gd name="connsiteY16" fmla="*/ 101825 h 4266944"/>
                <a:gd name="connsiteX17" fmla="*/ 1551616 w 3297184"/>
                <a:gd name="connsiteY17" fmla="*/ 0 h 4266944"/>
                <a:gd name="connsiteX18" fmla="*/ 1503128 w 3297184"/>
                <a:gd name="connsiteY18" fmla="*/ 0 h 4266944"/>
                <a:gd name="connsiteX19" fmla="*/ 1309176 w 3297184"/>
                <a:gd name="connsiteY19" fmla="*/ 193952 h 4266944"/>
                <a:gd name="connsiteX20" fmla="*/ 1503128 w 3297184"/>
                <a:gd name="connsiteY20" fmla="*/ 387904 h 4266944"/>
                <a:gd name="connsiteX21" fmla="*/ 1551616 w 3297184"/>
                <a:gd name="connsiteY21" fmla="*/ 387904 h 4266944"/>
                <a:gd name="connsiteX22" fmla="*/ 1687383 w 3297184"/>
                <a:gd name="connsiteY22" fmla="*/ 300626 h 4266944"/>
                <a:gd name="connsiteX23" fmla="*/ 1745568 w 3297184"/>
                <a:gd name="connsiteY23" fmla="*/ 387904 h 4266944"/>
                <a:gd name="connsiteX24" fmla="*/ 1745568 w 3297184"/>
                <a:gd name="connsiteY24" fmla="*/ 1580709 h 4266944"/>
                <a:gd name="connsiteX25" fmla="*/ 1648592 w 3297184"/>
                <a:gd name="connsiteY25" fmla="*/ 1745568 h 4266944"/>
                <a:gd name="connsiteX26" fmla="*/ 1018248 w 3297184"/>
                <a:gd name="connsiteY26" fmla="*/ 2375913 h 4266944"/>
                <a:gd name="connsiteX27" fmla="*/ 387904 w 3297184"/>
                <a:gd name="connsiteY27" fmla="*/ 1745568 h 4266944"/>
                <a:gd name="connsiteX28" fmla="*/ 290928 w 3297184"/>
                <a:gd name="connsiteY28" fmla="*/ 1580709 h 4266944"/>
                <a:gd name="connsiteX29" fmla="*/ 290928 w 3297184"/>
                <a:gd name="connsiteY29" fmla="*/ 387904 h 4266944"/>
                <a:gd name="connsiteX30" fmla="*/ 349114 w 3297184"/>
                <a:gd name="connsiteY30" fmla="*/ 300626 h 4266944"/>
                <a:gd name="connsiteX31" fmla="*/ 484880 w 3297184"/>
                <a:gd name="connsiteY31" fmla="*/ 387904 h 4266944"/>
                <a:gd name="connsiteX32" fmla="*/ 533368 w 3297184"/>
                <a:gd name="connsiteY32" fmla="*/ 387904 h 4266944"/>
                <a:gd name="connsiteX33" fmla="*/ 727320 w 3297184"/>
                <a:gd name="connsiteY33" fmla="*/ 193952 h 4266944"/>
                <a:gd name="connsiteX34" fmla="*/ 533368 w 3297184"/>
                <a:gd name="connsiteY34" fmla="*/ 0 h 4266944"/>
                <a:gd name="connsiteX35" fmla="*/ 484880 w 3297184"/>
                <a:gd name="connsiteY35" fmla="*/ 0 h 4266944"/>
                <a:gd name="connsiteX36" fmla="*/ 349114 w 3297184"/>
                <a:gd name="connsiteY36" fmla="*/ 101825 h 4266944"/>
                <a:gd name="connsiteX37" fmla="*/ 96976 w 3297184"/>
                <a:gd name="connsiteY37" fmla="*/ 387904 h 4266944"/>
                <a:gd name="connsiteX38" fmla="*/ 96976 w 3297184"/>
                <a:gd name="connsiteY38" fmla="*/ 1580709 h 4266944"/>
                <a:gd name="connsiteX39" fmla="*/ 0 w 3297184"/>
                <a:gd name="connsiteY39" fmla="*/ 1745568 h 4266944"/>
                <a:gd name="connsiteX40" fmla="*/ 872784 w 3297184"/>
                <a:gd name="connsiteY40" fmla="*/ 2754119 h 4266944"/>
                <a:gd name="connsiteX41" fmla="*/ 872784 w 3297184"/>
                <a:gd name="connsiteY41" fmla="*/ 3248697 h 4266944"/>
                <a:gd name="connsiteX42" fmla="*/ 1891032 w 3297184"/>
                <a:gd name="connsiteY42" fmla="*/ 4266945 h 4266944"/>
                <a:gd name="connsiteX43" fmla="*/ 2909281 w 3297184"/>
                <a:gd name="connsiteY43" fmla="*/ 3248697 h 4266944"/>
                <a:gd name="connsiteX44" fmla="*/ 2909281 w 3297184"/>
                <a:gd name="connsiteY44" fmla="*/ 2114077 h 4266944"/>
                <a:gd name="connsiteX45" fmla="*/ 3297185 w 3297184"/>
                <a:gd name="connsiteY45" fmla="*/ 1600104 h 4266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3297184" h="4266944">
                  <a:moveTo>
                    <a:pt x="2763817" y="1939520"/>
                  </a:moveTo>
                  <a:cubicBezTo>
                    <a:pt x="2574713" y="1939520"/>
                    <a:pt x="2424401" y="1789208"/>
                    <a:pt x="2424401" y="1600104"/>
                  </a:cubicBezTo>
                  <a:cubicBezTo>
                    <a:pt x="2424401" y="1411001"/>
                    <a:pt x="2574713" y="1260688"/>
                    <a:pt x="2763817" y="1260688"/>
                  </a:cubicBezTo>
                  <a:cubicBezTo>
                    <a:pt x="2952920" y="1260688"/>
                    <a:pt x="3103233" y="1411001"/>
                    <a:pt x="3103233" y="1600104"/>
                  </a:cubicBezTo>
                  <a:cubicBezTo>
                    <a:pt x="3103233" y="1789208"/>
                    <a:pt x="2952920" y="1939520"/>
                    <a:pt x="2763817" y="1939520"/>
                  </a:cubicBezTo>
                  <a:close/>
                  <a:moveTo>
                    <a:pt x="3297185" y="1600104"/>
                  </a:moveTo>
                  <a:cubicBezTo>
                    <a:pt x="3297185" y="1304328"/>
                    <a:pt x="3059594" y="1066736"/>
                    <a:pt x="2763817" y="1066736"/>
                  </a:cubicBezTo>
                  <a:cubicBezTo>
                    <a:pt x="2468040" y="1066736"/>
                    <a:pt x="2230449" y="1304328"/>
                    <a:pt x="2230449" y="1600104"/>
                  </a:cubicBezTo>
                  <a:cubicBezTo>
                    <a:pt x="2230449" y="1842544"/>
                    <a:pt x="2395308" y="2051043"/>
                    <a:pt x="2618353" y="2114077"/>
                  </a:cubicBezTo>
                  <a:lnTo>
                    <a:pt x="2618353" y="3248697"/>
                  </a:lnTo>
                  <a:cubicBezTo>
                    <a:pt x="2618353" y="3651147"/>
                    <a:pt x="2293483" y="3976017"/>
                    <a:pt x="1891032" y="3976017"/>
                  </a:cubicBezTo>
                  <a:cubicBezTo>
                    <a:pt x="1488582" y="3976017"/>
                    <a:pt x="1163712" y="3651147"/>
                    <a:pt x="1163712" y="3248697"/>
                  </a:cubicBezTo>
                  <a:lnTo>
                    <a:pt x="1163712" y="2754119"/>
                  </a:lnTo>
                  <a:cubicBezTo>
                    <a:pt x="1658290" y="2681387"/>
                    <a:pt x="2036496" y="2259541"/>
                    <a:pt x="2036496" y="1745568"/>
                  </a:cubicBezTo>
                  <a:cubicBezTo>
                    <a:pt x="2036496" y="1672836"/>
                    <a:pt x="1997706" y="1609802"/>
                    <a:pt x="1939520" y="1580709"/>
                  </a:cubicBezTo>
                  <a:lnTo>
                    <a:pt x="1939520" y="387904"/>
                  </a:lnTo>
                  <a:cubicBezTo>
                    <a:pt x="1939520" y="242440"/>
                    <a:pt x="1827998" y="121220"/>
                    <a:pt x="1687383" y="101825"/>
                  </a:cubicBezTo>
                  <a:cubicBezTo>
                    <a:pt x="1667988" y="43639"/>
                    <a:pt x="1614651" y="0"/>
                    <a:pt x="1551616" y="0"/>
                  </a:cubicBezTo>
                  <a:lnTo>
                    <a:pt x="1503128" y="0"/>
                  </a:lnTo>
                  <a:cubicBezTo>
                    <a:pt x="1396455" y="0"/>
                    <a:pt x="1309176" y="87278"/>
                    <a:pt x="1309176" y="193952"/>
                  </a:cubicBezTo>
                  <a:cubicBezTo>
                    <a:pt x="1309176" y="300626"/>
                    <a:pt x="1396455" y="387904"/>
                    <a:pt x="1503128" y="387904"/>
                  </a:cubicBezTo>
                  <a:lnTo>
                    <a:pt x="1551616" y="387904"/>
                  </a:lnTo>
                  <a:cubicBezTo>
                    <a:pt x="1609802" y="387904"/>
                    <a:pt x="1663139" y="349114"/>
                    <a:pt x="1687383" y="300626"/>
                  </a:cubicBezTo>
                  <a:cubicBezTo>
                    <a:pt x="1721324" y="315172"/>
                    <a:pt x="1745568" y="349114"/>
                    <a:pt x="1745568" y="387904"/>
                  </a:cubicBezTo>
                  <a:lnTo>
                    <a:pt x="1745568" y="1580709"/>
                  </a:lnTo>
                  <a:cubicBezTo>
                    <a:pt x="1687383" y="1614651"/>
                    <a:pt x="1648592" y="1677685"/>
                    <a:pt x="1648592" y="1745568"/>
                  </a:cubicBezTo>
                  <a:cubicBezTo>
                    <a:pt x="1648592" y="2094682"/>
                    <a:pt x="1367362" y="2375913"/>
                    <a:pt x="1018248" y="2375913"/>
                  </a:cubicBezTo>
                  <a:cubicBezTo>
                    <a:pt x="669135" y="2375913"/>
                    <a:pt x="387904" y="2094682"/>
                    <a:pt x="387904" y="1745568"/>
                  </a:cubicBezTo>
                  <a:cubicBezTo>
                    <a:pt x="387904" y="1672836"/>
                    <a:pt x="349114" y="1609802"/>
                    <a:pt x="290928" y="1580709"/>
                  </a:cubicBezTo>
                  <a:lnTo>
                    <a:pt x="290928" y="387904"/>
                  </a:lnTo>
                  <a:cubicBezTo>
                    <a:pt x="290928" y="349114"/>
                    <a:pt x="315172" y="315172"/>
                    <a:pt x="349114" y="300626"/>
                  </a:cubicBezTo>
                  <a:cubicBezTo>
                    <a:pt x="373358" y="353963"/>
                    <a:pt x="421846" y="387904"/>
                    <a:pt x="484880" y="387904"/>
                  </a:cubicBezTo>
                  <a:lnTo>
                    <a:pt x="533368" y="387904"/>
                  </a:lnTo>
                  <a:cubicBezTo>
                    <a:pt x="640042" y="387904"/>
                    <a:pt x="727320" y="300626"/>
                    <a:pt x="727320" y="193952"/>
                  </a:cubicBezTo>
                  <a:cubicBezTo>
                    <a:pt x="727320" y="87278"/>
                    <a:pt x="640042" y="0"/>
                    <a:pt x="533368" y="0"/>
                  </a:cubicBezTo>
                  <a:lnTo>
                    <a:pt x="484880" y="0"/>
                  </a:lnTo>
                  <a:cubicBezTo>
                    <a:pt x="421846" y="0"/>
                    <a:pt x="368509" y="43639"/>
                    <a:pt x="349114" y="101825"/>
                  </a:cubicBezTo>
                  <a:cubicBezTo>
                    <a:pt x="208498" y="121220"/>
                    <a:pt x="96976" y="242440"/>
                    <a:pt x="96976" y="387904"/>
                  </a:cubicBezTo>
                  <a:lnTo>
                    <a:pt x="96976" y="1580709"/>
                  </a:lnTo>
                  <a:cubicBezTo>
                    <a:pt x="38790" y="1614651"/>
                    <a:pt x="0" y="1677685"/>
                    <a:pt x="0" y="1745568"/>
                  </a:cubicBezTo>
                  <a:cubicBezTo>
                    <a:pt x="0" y="2259541"/>
                    <a:pt x="378206" y="2681387"/>
                    <a:pt x="872784" y="2754119"/>
                  </a:cubicBezTo>
                  <a:lnTo>
                    <a:pt x="872784" y="3248697"/>
                  </a:lnTo>
                  <a:cubicBezTo>
                    <a:pt x="872784" y="3811158"/>
                    <a:pt x="1328572" y="4266945"/>
                    <a:pt x="1891032" y="4266945"/>
                  </a:cubicBezTo>
                  <a:cubicBezTo>
                    <a:pt x="2453493" y="4266945"/>
                    <a:pt x="2909281" y="3811158"/>
                    <a:pt x="2909281" y="3248697"/>
                  </a:cubicBezTo>
                  <a:lnTo>
                    <a:pt x="2909281" y="2114077"/>
                  </a:lnTo>
                  <a:cubicBezTo>
                    <a:pt x="3132326" y="2051043"/>
                    <a:pt x="3297185" y="1842544"/>
                    <a:pt x="3297185" y="1600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FC1A83BE-1AB1-4B73-9878-B4EABDF8FB97}"/>
                </a:ext>
              </a:extLst>
            </p:cNvPr>
            <p:cNvSpPr/>
            <p:nvPr/>
          </p:nvSpPr>
          <p:spPr>
            <a:xfrm>
              <a:off x="13279792" y="2777305"/>
              <a:ext cx="484880" cy="484880"/>
            </a:xfrm>
            <a:custGeom>
              <a:avLst/>
              <a:gdLst>
                <a:gd name="connsiteX0" fmla="*/ 484880 w 484880"/>
                <a:gd name="connsiteY0" fmla="*/ 242440 h 484880"/>
                <a:gd name="connsiteX1" fmla="*/ 242440 w 484880"/>
                <a:gd name="connsiteY1" fmla="*/ 484880 h 484880"/>
                <a:gd name="connsiteX2" fmla="*/ 0 w 484880"/>
                <a:gd name="connsiteY2" fmla="*/ 242440 h 484880"/>
                <a:gd name="connsiteX3" fmla="*/ 242440 w 484880"/>
                <a:gd name="connsiteY3" fmla="*/ 0 h 484880"/>
                <a:gd name="connsiteX4" fmla="*/ 484880 w 484880"/>
                <a:gd name="connsiteY4" fmla="*/ 242440 h 484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880" h="484880">
                  <a:moveTo>
                    <a:pt x="484880" y="242440"/>
                  </a:moveTo>
                  <a:cubicBezTo>
                    <a:pt x="484880" y="376336"/>
                    <a:pt x="376336" y="484880"/>
                    <a:pt x="242440" y="484880"/>
                  </a:cubicBezTo>
                  <a:cubicBezTo>
                    <a:pt x="108544" y="484880"/>
                    <a:pt x="0" y="376336"/>
                    <a:pt x="0" y="242440"/>
                  </a:cubicBezTo>
                  <a:cubicBezTo>
                    <a:pt x="0" y="108544"/>
                    <a:pt x="108544" y="0"/>
                    <a:pt x="242440" y="0"/>
                  </a:cubicBezTo>
                  <a:cubicBezTo>
                    <a:pt x="376336" y="0"/>
                    <a:pt x="484880" y="108544"/>
                    <a:pt x="484880" y="2424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F5C0F19-F664-4A1B-885D-76719D06EA96}"/>
              </a:ext>
            </a:extLst>
          </p:cNvPr>
          <p:cNvGrpSpPr/>
          <p:nvPr userDrawn="1"/>
        </p:nvGrpSpPr>
        <p:grpSpPr>
          <a:xfrm>
            <a:off x="11169212" y="3702633"/>
            <a:ext cx="229989" cy="225311"/>
            <a:chOff x="2634853" y="3844528"/>
            <a:chExt cx="261938" cy="268319"/>
          </a:xfrm>
          <a:solidFill>
            <a:schemeClr val="bg1">
              <a:alpha val="80000"/>
            </a:schemeClr>
          </a:solidFill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ABD2D445-D984-4E33-B0E7-7614044BDF94}"/>
                </a:ext>
              </a:extLst>
            </p:cNvPr>
            <p:cNvSpPr/>
            <p:nvPr/>
          </p:nvSpPr>
          <p:spPr>
            <a:xfrm>
              <a:off x="2634853" y="3965972"/>
              <a:ext cx="34366" cy="108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154CE34C-03D3-4BAF-8F94-7EBDF4E1C21C}"/>
                </a:ext>
              </a:extLst>
            </p:cNvPr>
            <p:cNvSpPr/>
            <p:nvPr/>
          </p:nvSpPr>
          <p:spPr>
            <a:xfrm>
              <a:off x="2691746" y="3894534"/>
              <a:ext cx="34366" cy="18024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30A7154E-1879-4D18-B66F-D412BB37DF43}"/>
                </a:ext>
              </a:extLst>
            </p:cNvPr>
            <p:cNvSpPr/>
            <p:nvPr/>
          </p:nvSpPr>
          <p:spPr>
            <a:xfrm>
              <a:off x="2748639" y="3992166"/>
              <a:ext cx="34366" cy="826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8E4A5DBD-D19F-4467-85AF-104DBEA22ED0}"/>
                </a:ext>
              </a:extLst>
            </p:cNvPr>
            <p:cNvSpPr/>
            <p:nvPr/>
          </p:nvSpPr>
          <p:spPr>
            <a:xfrm>
              <a:off x="2805532" y="3942160"/>
              <a:ext cx="34366" cy="13261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8FF4B8B8-B5FA-465E-853B-F246E25C08DA}"/>
                </a:ext>
              </a:extLst>
            </p:cNvPr>
            <p:cNvSpPr/>
            <p:nvPr/>
          </p:nvSpPr>
          <p:spPr>
            <a:xfrm>
              <a:off x="2862425" y="3844528"/>
              <a:ext cx="34366" cy="2302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C614AD2C-7BAA-4C86-B409-6AD47CB4627E}"/>
                </a:ext>
              </a:extLst>
            </p:cNvPr>
            <p:cNvSpPr/>
            <p:nvPr/>
          </p:nvSpPr>
          <p:spPr>
            <a:xfrm>
              <a:off x="2634853" y="4094559"/>
              <a:ext cx="261938" cy="1828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6172F45-6E64-4F9D-A1A6-B1D688CFAD5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43494" y="4609169"/>
            <a:ext cx="247314" cy="241130"/>
            <a:chOff x="2578100" y="0"/>
            <a:chExt cx="11628438" cy="11334750"/>
          </a:xfrm>
          <a:solidFill>
            <a:schemeClr val="bg1">
              <a:alpha val="80000"/>
            </a:schemeClr>
          </a:solidFill>
        </p:grpSpPr>
        <p:sp>
          <p:nvSpPr>
            <p:cNvPr id="59" name="Freeform 15">
              <a:extLst>
                <a:ext uri="{FF2B5EF4-FFF2-40B4-BE49-F238E27FC236}">
                  <a16:creationId xmlns:a16="http://schemas.microsoft.com/office/drawing/2014/main" id="{79BBE1D4-AC36-4866-9132-1D89F7D08B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2263" y="0"/>
              <a:ext cx="4994275" cy="5073650"/>
            </a:xfrm>
            <a:custGeom>
              <a:avLst/>
              <a:gdLst>
                <a:gd name="T0" fmla="*/ 211 w 442"/>
                <a:gd name="T1" fmla="*/ 137 h 449"/>
                <a:gd name="T2" fmla="*/ 308 w 442"/>
                <a:gd name="T3" fmla="*/ 215 h 449"/>
                <a:gd name="T4" fmla="*/ 231 w 442"/>
                <a:gd name="T5" fmla="*/ 312 h 449"/>
                <a:gd name="T6" fmla="*/ 133 w 442"/>
                <a:gd name="T7" fmla="*/ 235 h 449"/>
                <a:gd name="T8" fmla="*/ 211 w 442"/>
                <a:gd name="T9" fmla="*/ 137 h 449"/>
                <a:gd name="T10" fmla="*/ 65 w 442"/>
                <a:gd name="T11" fmla="*/ 283 h 449"/>
                <a:gd name="T12" fmla="*/ 16 w 442"/>
                <a:gd name="T13" fmla="*/ 320 h 449"/>
                <a:gd name="T14" fmla="*/ 71 w 442"/>
                <a:gd name="T15" fmla="*/ 394 h 449"/>
                <a:gd name="T16" fmla="*/ 121 w 442"/>
                <a:gd name="T17" fmla="*/ 357 h 449"/>
                <a:gd name="T18" fmla="*/ 194 w 442"/>
                <a:gd name="T19" fmla="*/ 389 h 449"/>
                <a:gd name="T20" fmla="*/ 201 w 442"/>
                <a:gd name="T21" fmla="*/ 449 h 449"/>
                <a:gd name="T22" fmla="*/ 292 w 442"/>
                <a:gd name="T23" fmla="*/ 439 h 449"/>
                <a:gd name="T24" fmla="*/ 285 w 442"/>
                <a:gd name="T25" fmla="*/ 378 h 449"/>
                <a:gd name="T26" fmla="*/ 349 w 442"/>
                <a:gd name="T27" fmla="*/ 330 h 449"/>
                <a:gd name="T28" fmla="*/ 405 w 442"/>
                <a:gd name="T29" fmla="*/ 354 h 449"/>
                <a:gd name="T30" fmla="*/ 442 w 442"/>
                <a:gd name="T31" fmla="*/ 270 h 449"/>
                <a:gd name="T32" fmla="*/ 385 w 442"/>
                <a:gd name="T33" fmla="*/ 246 h 449"/>
                <a:gd name="T34" fmla="*/ 376 w 442"/>
                <a:gd name="T35" fmla="*/ 166 h 449"/>
                <a:gd name="T36" fmla="*/ 425 w 442"/>
                <a:gd name="T37" fmla="*/ 130 h 449"/>
                <a:gd name="T38" fmla="*/ 370 w 442"/>
                <a:gd name="T39" fmla="*/ 56 h 449"/>
                <a:gd name="T40" fmla="*/ 321 w 442"/>
                <a:gd name="T41" fmla="*/ 93 h 449"/>
                <a:gd name="T42" fmla="*/ 248 w 442"/>
                <a:gd name="T43" fmla="*/ 61 h 449"/>
                <a:gd name="T44" fmla="*/ 241 w 442"/>
                <a:gd name="T45" fmla="*/ 0 h 449"/>
                <a:gd name="T46" fmla="*/ 149 w 442"/>
                <a:gd name="T47" fmla="*/ 11 h 449"/>
                <a:gd name="T48" fmla="*/ 156 w 442"/>
                <a:gd name="T49" fmla="*/ 72 h 449"/>
                <a:gd name="T50" fmla="*/ 93 w 442"/>
                <a:gd name="T51" fmla="*/ 119 h 449"/>
                <a:gd name="T52" fmla="*/ 36 w 442"/>
                <a:gd name="T53" fmla="*/ 95 h 449"/>
                <a:gd name="T54" fmla="*/ 0 w 442"/>
                <a:gd name="T55" fmla="*/ 180 h 449"/>
                <a:gd name="T56" fmla="*/ 56 w 442"/>
                <a:gd name="T57" fmla="*/ 204 h 449"/>
                <a:gd name="T58" fmla="*/ 65 w 442"/>
                <a:gd name="T59" fmla="*/ 283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2" h="449">
                  <a:moveTo>
                    <a:pt x="211" y="137"/>
                  </a:moveTo>
                  <a:cubicBezTo>
                    <a:pt x="259" y="132"/>
                    <a:pt x="303" y="166"/>
                    <a:pt x="308" y="215"/>
                  </a:cubicBezTo>
                  <a:cubicBezTo>
                    <a:pt x="314" y="263"/>
                    <a:pt x="279" y="307"/>
                    <a:pt x="231" y="312"/>
                  </a:cubicBezTo>
                  <a:cubicBezTo>
                    <a:pt x="183" y="318"/>
                    <a:pt x="139" y="283"/>
                    <a:pt x="133" y="235"/>
                  </a:cubicBezTo>
                  <a:cubicBezTo>
                    <a:pt x="128" y="187"/>
                    <a:pt x="162" y="143"/>
                    <a:pt x="211" y="137"/>
                  </a:cubicBezTo>
                  <a:close/>
                  <a:moveTo>
                    <a:pt x="65" y="283"/>
                  </a:moveTo>
                  <a:cubicBezTo>
                    <a:pt x="16" y="320"/>
                    <a:pt x="16" y="320"/>
                    <a:pt x="16" y="320"/>
                  </a:cubicBezTo>
                  <a:cubicBezTo>
                    <a:pt x="71" y="394"/>
                    <a:pt x="71" y="394"/>
                    <a:pt x="71" y="394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94" y="389"/>
                    <a:pt x="194" y="389"/>
                    <a:pt x="194" y="389"/>
                  </a:cubicBezTo>
                  <a:cubicBezTo>
                    <a:pt x="201" y="449"/>
                    <a:pt x="201" y="449"/>
                    <a:pt x="201" y="449"/>
                  </a:cubicBezTo>
                  <a:cubicBezTo>
                    <a:pt x="292" y="439"/>
                    <a:pt x="292" y="439"/>
                    <a:pt x="292" y="439"/>
                  </a:cubicBezTo>
                  <a:cubicBezTo>
                    <a:pt x="285" y="378"/>
                    <a:pt x="285" y="378"/>
                    <a:pt x="285" y="378"/>
                  </a:cubicBezTo>
                  <a:cubicBezTo>
                    <a:pt x="349" y="330"/>
                    <a:pt x="349" y="330"/>
                    <a:pt x="349" y="330"/>
                  </a:cubicBezTo>
                  <a:cubicBezTo>
                    <a:pt x="405" y="354"/>
                    <a:pt x="405" y="354"/>
                    <a:pt x="405" y="354"/>
                  </a:cubicBezTo>
                  <a:cubicBezTo>
                    <a:pt x="442" y="270"/>
                    <a:pt x="442" y="270"/>
                    <a:pt x="442" y="270"/>
                  </a:cubicBezTo>
                  <a:cubicBezTo>
                    <a:pt x="385" y="246"/>
                    <a:pt x="385" y="246"/>
                    <a:pt x="385" y="246"/>
                  </a:cubicBezTo>
                  <a:cubicBezTo>
                    <a:pt x="376" y="166"/>
                    <a:pt x="376" y="166"/>
                    <a:pt x="376" y="166"/>
                  </a:cubicBezTo>
                  <a:cubicBezTo>
                    <a:pt x="425" y="130"/>
                    <a:pt x="425" y="130"/>
                    <a:pt x="425" y="130"/>
                  </a:cubicBezTo>
                  <a:cubicBezTo>
                    <a:pt x="370" y="56"/>
                    <a:pt x="370" y="56"/>
                    <a:pt x="370" y="56"/>
                  </a:cubicBezTo>
                  <a:cubicBezTo>
                    <a:pt x="321" y="93"/>
                    <a:pt x="321" y="93"/>
                    <a:pt x="321" y="93"/>
                  </a:cubicBezTo>
                  <a:cubicBezTo>
                    <a:pt x="248" y="61"/>
                    <a:pt x="248" y="61"/>
                    <a:pt x="248" y="61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56" y="72"/>
                    <a:pt x="156" y="72"/>
                    <a:pt x="156" y="72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36" y="95"/>
                    <a:pt x="36" y="95"/>
                    <a:pt x="36" y="95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56" y="204"/>
                    <a:pt x="56" y="204"/>
                    <a:pt x="56" y="204"/>
                  </a:cubicBezTo>
                  <a:lnTo>
                    <a:pt x="65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60" name="Freeform 16">
              <a:extLst>
                <a:ext uri="{FF2B5EF4-FFF2-40B4-BE49-F238E27FC236}">
                  <a16:creationId xmlns:a16="http://schemas.microsoft.com/office/drawing/2014/main" id="{EA264CC9-AB8B-4702-84F2-859A7B2211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0313" y="6340475"/>
              <a:ext cx="5073650" cy="4994275"/>
            </a:xfrm>
            <a:custGeom>
              <a:avLst/>
              <a:gdLst>
                <a:gd name="T0" fmla="*/ 306 w 449"/>
                <a:gd name="T1" fmla="*/ 256 h 442"/>
                <a:gd name="T2" fmla="*/ 190 w 449"/>
                <a:gd name="T3" fmla="*/ 302 h 442"/>
                <a:gd name="T4" fmla="*/ 144 w 449"/>
                <a:gd name="T5" fmla="*/ 186 h 442"/>
                <a:gd name="T6" fmla="*/ 259 w 449"/>
                <a:gd name="T7" fmla="*/ 140 h 442"/>
                <a:gd name="T8" fmla="*/ 306 w 449"/>
                <a:gd name="T9" fmla="*/ 256 h 442"/>
                <a:gd name="T10" fmla="*/ 449 w 449"/>
                <a:gd name="T11" fmla="*/ 240 h 442"/>
                <a:gd name="T12" fmla="*/ 438 w 449"/>
                <a:gd name="T13" fmla="*/ 149 h 442"/>
                <a:gd name="T14" fmla="*/ 377 w 449"/>
                <a:gd name="T15" fmla="*/ 156 h 442"/>
                <a:gd name="T16" fmla="*/ 330 w 449"/>
                <a:gd name="T17" fmla="*/ 92 h 442"/>
                <a:gd name="T18" fmla="*/ 354 w 449"/>
                <a:gd name="T19" fmla="*/ 36 h 442"/>
                <a:gd name="T20" fmla="*/ 269 w 449"/>
                <a:gd name="T21" fmla="*/ 0 h 442"/>
                <a:gd name="T22" fmla="*/ 245 w 449"/>
                <a:gd name="T23" fmla="*/ 56 h 442"/>
                <a:gd name="T24" fmla="*/ 166 w 449"/>
                <a:gd name="T25" fmla="*/ 66 h 442"/>
                <a:gd name="T26" fmla="*/ 129 w 449"/>
                <a:gd name="T27" fmla="*/ 17 h 442"/>
                <a:gd name="T28" fmla="*/ 55 w 449"/>
                <a:gd name="T29" fmla="*/ 72 h 442"/>
                <a:gd name="T30" fmla="*/ 92 w 449"/>
                <a:gd name="T31" fmla="*/ 121 h 442"/>
                <a:gd name="T32" fmla="*/ 61 w 449"/>
                <a:gd name="T33" fmla="*/ 194 h 442"/>
                <a:gd name="T34" fmla="*/ 0 w 449"/>
                <a:gd name="T35" fmla="*/ 202 h 442"/>
                <a:gd name="T36" fmla="*/ 11 w 449"/>
                <a:gd name="T37" fmla="*/ 293 h 442"/>
                <a:gd name="T38" fmla="*/ 72 w 449"/>
                <a:gd name="T39" fmla="*/ 286 h 442"/>
                <a:gd name="T40" fmla="*/ 120 w 449"/>
                <a:gd name="T41" fmla="*/ 350 h 442"/>
                <a:gd name="T42" fmla="*/ 96 w 449"/>
                <a:gd name="T43" fmla="*/ 406 h 442"/>
                <a:gd name="T44" fmla="*/ 180 w 449"/>
                <a:gd name="T45" fmla="*/ 442 h 442"/>
                <a:gd name="T46" fmla="*/ 205 w 449"/>
                <a:gd name="T47" fmla="*/ 386 h 442"/>
                <a:gd name="T48" fmla="*/ 284 w 449"/>
                <a:gd name="T49" fmla="*/ 376 h 442"/>
                <a:gd name="T50" fmla="*/ 320 w 449"/>
                <a:gd name="T51" fmla="*/ 425 h 442"/>
                <a:gd name="T52" fmla="*/ 394 w 449"/>
                <a:gd name="T53" fmla="*/ 370 h 442"/>
                <a:gd name="T54" fmla="*/ 357 w 449"/>
                <a:gd name="T55" fmla="*/ 321 h 442"/>
                <a:gd name="T56" fmla="*/ 389 w 449"/>
                <a:gd name="T57" fmla="*/ 248 h 442"/>
                <a:gd name="T58" fmla="*/ 449 w 449"/>
                <a:gd name="T59" fmla="*/ 24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9" h="442">
                  <a:moveTo>
                    <a:pt x="306" y="256"/>
                  </a:moveTo>
                  <a:cubicBezTo>
                    <a:pt x="287" y="300"/>
                    <a:pt x="235" y="321"/>
                    <a:pt x="190" y="302"/>
                  </a:cubicBezTo>
                  <a:cubicBezTo>
                    <a:pt x="145" y="283"/>
                    <a:pt x="125" y="231"/>
                    <a:pt x="144" y="186"/>
                  </a:cubicBezTo>
                  <a:cubicBezTo>
                    <a:pt x="163" y="142"/>
                    <a:pt x="215" y="121"/>
                    <a:pt x="259" y="140"/>
                  </a:cubicBezTo>
                  <a:cubicBezTo>
                    <a:pt x="304" y="159"/>
                    <a:pt x="325" y="211"/>
                    <a:pt x="306" y="256"/>
                  </a:cubicBezTo>
                  <a:close/>
                  <a:moveTo>
                    <a:pt x="449" y="240"/>
                  </a:moveTo>
                  <a:cubicBezTo>
                    <a:pt x="438" y="149"/>
                    <a:pt x="438" y="149"/>
                    <a:pt x="438" y="149"/>
                  </a:cubicBezTo>
                  <a:cubicBezTo>
                    <a:pt x="377" y="156"/>
                    <a:pt x="377" y="156"/>
                    <a:pt x="377" y="156"/>
                  </a:cubicBezTo>
                  <a:cubicBezTo>
                    <a:pt x="330" y="92"/>
                    <a:pt x="330" y="92"/>
                    <a:pt x="330" y="92"/>
                  </a:cubicBezTo>
                  <a:cubicBezTo>
                    <a:pt x="354" y="36"/>
                    <a:pt x="354" y="36"/>
                    <a:pt x="354" y="36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245" y="56"/>
                    <a:pt x="245" y="56"/>
                    <a:pt x="245" y="56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92" y="121"/>
                    <a:pt x="92" y="121"/>
                    <a:pt x="92" y="121"/>
                  </a:cubicBezTo>
                  <a:cubicBezTo>
                    <a:pt x="61" y="194"/>
                    <a:pt x="61" y="194"/>
                    <a:pt x="61" y="194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11" y="293"/>
                    <a:pt x="11" y="293"/>
                    <a:pt x="11" y="293"/>
                  </a:cubicBezTo>
                  <a:cubicBezTo>
                    <a:pt x="72" y="286"/>
                    <a:pt x="72" y="286"/>
                    <a:pt x="72" y="286"/>
                  </a:cubicBezTo>
                  <a:cubicBezTo>
                    <a:pt x="120" y="350"/>
                    <a:pt x="120" y="350"/>
                    <a:pt x="120" y="350"/>
                  </a:cubicBezTo>
                  <a:cubicBezTo>
                    <a:pt x="96" y="406"/>
                    <a:pt x="96" y="406"/>
                    <a:pt x="96" y="406"/>
                  </a:cubicBezTo>
                  <a:cubicBezTo>
                    <a:pt x="180" y="442"/>
                    <a:pt x="180" y="442"/>
                    <a:pt x="180" y="442"/>
                  </a:cubicBezTo>
                  <a:cubicBezTo>
                    <a:pt x="205" y="386"/>
                    <a:pt x="205" y="386"/>
                    <a:pt x="205" y="386"/>
                  </a:cubicBezTo>
                  <a:cubicBezTo>
                    <a:pt x="284" y="376"/>
                    <a:pt x="284" y="376"/>
                    <a:pt x="284" y="376"/>
                  </a:cubicBezTo>
                  <a:cubicBezTo>
                    <a:pt x="320" y="425"/>
                    <a:pt x="320" y="425"/>
                    <a:pt x="320" y="425"/>
                  </a:cubicBezTo>
                  <a:cubicBezTo>
                    <a:pt x="394" y="370"/>
                    <a:pt x="394" y="370"/>
                    <a:pt x="394" y="370"/>
                  </a:cubicBezTo>
                  <a:cubicBezTo>
                    <a:pt x="357" y="321"/>
                    <a:pt x="357" y="321"/>
                    <a:pt x="357" y="321"/>
                  </a:cubicBezTo>
                  <a:cubicBezTo>
                    <a:pt x="389" y="248"/>
                    <a:pt x="389" y="248"/>
                    <a:pt x="389" y="248"/>
                  </a:cubicBezTo>
                  <a:lnTo>
                    <a:pt x="449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61" name="Freeform 17">
              <a:extLst>
                <a:ext uri="{FF2B5EF4-FFF2-40B4-BE49-F238E27FC236}">
                  <a16:creationId xmlns:a16="http://schemas.microsoft.com/office/drawing/2014/main" id="{8099FD57-BAF1-4910-834F-900DA522CB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8100" y="1638300"/>
              <a:ext cx="7627938" cy="7616825"/>
            </a:xfrm>
            <a:custGeom>
              <a:avLst/>
              <a:gdLst>
                <a:gd name="T0" fmla="*/ 337 w 675"/>
                <a:gd name="T1" fmla="*/ 485 h 674"/>
                <a:gd name="T2" fmla="*/ 189 w 675"/>
                <a:gd name="T3" fmla="*/ 337 h 674"/>
                <a:gd name="T4" fmla="*/ 337 w 675"/>
                <a:gd name="T5" fmla="*/ 189 h 674"/>
                <a:gd name="T6" fmla="*/ 486 w 675"/>
                <a:gd name="T7" fmla="*/ 337 h 674"/>
                <a:gd name="T8" fmla="*/ 337 w 675"/>
                <a:gd name="T9" fmla="*/ 485 h 674"/>
                <a:gd name="T10" fmla="*/ 571 w 675"/>
                <a:gd name="T11" fmla="*/ 479 h 674"/>
                <a:gd name="T12" fmla="*/ 602 w 675"/>
                <a:gd name="T13" fmla="*/ 401 h 674"/>
                <a:gd name="T14" fmla="*/ 675 w 675"/>
                <a:gd name="T15" fmla="*/ 395 h 674"/>
                <a:gd name="T16" fmla="*/ 675 w 675"/>
                <a:gd name="T17" fmla="*/ 279 h 674"/>
                <a:gd name="T18" fmla="*/ 602 w 675"/>
                <a:gd name="T19" fmla="*/ 272 h 674"/>
                <a:gd name="T20" fmla="*/ 571 w 675"/>
                <a:gd name="T21" fmla="*/ 195 h 674"/>
                <a:gd name="T22" fmla="*/ 617 w 675"/>
                <a:gd name="T23" fmla="*/ 139 h 674"/>
                <a:gd name="T24" fmla="*/ 535 w 675"/>
                <a:gd name="T25" fmla="*/ 57 h 674"/>
                <a:gd name="T26" fmla="*/ 479 w 675"/>
                <a:gd name="T27" fmla="*/ 104 h 674"/>
                <a:gd name="T28" fmla="*/ 402 w 675"/>
                <a:gd name="T29" fmla="*/ 72 h 674"/>
                <a:gd name="T30" fmla="*/ 395 w 675"/>
                <a:gd name="T31" fmla="*/ 0 h 674"/>
                <a:gd name="T32" fmla="*/ 279 w 675"/>
                <a:gd name="T33" fmla="*/ 0 h 674"/>
                <a:gd name="T34" fmla="*/ 273 w 675"/>
                <a:gd name="T35" fmla="*/ 72 h 674"/>
                <a:gd name="T36" fmla="*/ 195 w 675"/>
                <a:gd name="T37" fmla="*/ 103 h 674"/>
                <a:gd name="T38" fmla="*/ 140 w 675"/>
                <a:gd name="T39" fmla="*/ 57 h 674"/>
                <a:gd name="T40" fmla="*/ 58 w 675"/>
                <a:gd name="T41" fmla="*/ 139 h 674"/>
                <a:gd name="T42" fmla="*/ 104 w 675"/>
                <a:gd name="T43" fmla="*/ 195 h 674"/>
                <a:gd name="T44" fmla="*/ 72 w 675"/>
                <a:gd name="T45" fmla="*/ 272 h 674"/>
                <a:gd name="T46" fmla="*/ 0 w 675"/>
                <a:gd name="T47" fmla="*/ 279 h 674"/>
                <a:gd name="T48" fmla="*/ 0 w 675"/>
                <a:gd name="T49" fmla="*/ 395 h 674"/>
                <a:gd name="T50" fmla="*/ 72 w 675"/>
                <a:gd name="T51" fmla="*/ 401 h 674"/>
                <a:gd name="T52" fmla="*/ 104 w 675"/>
                <a:gd name="T53" fmla="*/ 479 h 674"/>
                <a:gd name="T54" fmla="*/ 58 w 675"/>
                <a:gd name="T55" fmla="*/ 534 h 674"/>
                <a:gd name="T56" fmla="*/ 140 w 675"/>
                <a:gd name="T57" fmla="*/ 616 h 674"/>
                <a:gd name="T58" fmla="*/ 195 w 675"/>
                <a:gd name="T59" fmla="*/ 570 h 674"/>
                <a:gd name="T60" fmla="*/ 273 w 675"/>
                <a:gd name="T61" fmla="*/ 602 h 674"/>
                <a:gd name="T62" fmla="*/ 279 w 675"/>
                <a:gd name="T63" fmla="*/ 674 h 674"/>
                <a:gd name="T64" fmla="*/ 395 w 675"/>
                <a:gd name="T65" fmla="*/ 674 h 674"/>
                <a:gd name="T66" fmla="*/ 402 w 675"/>
                <a:gd name="T67" fmla="*/ 602 h 674"/>
                <a:gd name="T68" fmla="*/ 479 w 675"/>
                <a:gd name="T69" fmla="*/ 570 h 674"/>
                <a:gd name="T70" fmla="*/ 535 w 675"/>
                <a:gd name="T71" fmla="*/ 616 h 674"/>
                <a:gd name="T72" fmla="*/ 617 w 675"/>
                <a:gd name="T73" fmla="*/ 534 h 674"/>
                <a:gd name="T74" fmla="*/ 571 w 675"/>
                <a:gd name="T75" fmla="*/ 479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5" h="674">
                  <a:moveTo>
                    <a:pt x="337" y="485"/>
                  </a:moveTo>
                  <a:cubicBezTo>
                    <a:pt x="255" y="485"/>
                    <a:pt x="189" y="419"/>
                    <a:pt x="189" y="337"/>
                  </a:cubicBezTo>
                  <a:cubicBezTo>
                    <a:pt x="189" y="255"/>
                    <a:pt x="255" y="189"/>
                    <a:pt x="337" y="189"/>
                  </a:cubicBezTo>
                  <a:cubicBezTo>
                    <a:pt x="419" y="189"/>
                    <a:pt x="486" y="255"/>
                    <a:pt x="486" y="337"/>
                  </a:cubicBezTo>
                  <a:cubicBezTo>
                    <a:pt x="486" y="419"/>
                    <a:pt x="419" y="485"/>
                    <a:pt x="337" y="485"/>
                  </a:cubicBezTo>
                  <a:close/>
                  <a:moveTo>
                    <a:pt x="571" y="479"/>
                  </a:moveTo>
                  <a:cubicBezTo>
                    <a:pt x="602" y="401"/>
                    <a:pt x="602" y="401"/>
                    <a:pt x="602" y="401"/>
                  </a:cubicBezTo>
                  <a:cubicBezTo>
                    <a:pt x="675" y="395"/>
                    <a:pt x="675" y="395"/>
                    <a:pt x="675" y="395"/>
                  </a:cubicBezTo>
                  <a:cubicBezTo>
                    <a:pt x="675" y="279"/>
                    <a:pt x="675" y="279"/>
                    <a:pt x="675" y="279"/>
                  </a:cubicBezTo>
                  <a:cubicBezTo>
                    <a:pt x="602" y="272"/>
                    <a:pt x="602" y="272"/>
                    <a:pt x="602" y="272"/>
                  </a:cubicBezTo>
                  <a:cubicBezTo>
                    <a:pt x="571" y="195"/>
                    <a:pt x="571" y="195"/>
                    <a:pt x="571" y="195"/>
                  </a:cubicBezTo>
                  <a:cubicBezTo>
                    <a:pt x="617" y="139"/>
                    <a:pt x="617" y="139"/>
                    <a:pt x="617" y="139"/>
                  </a:cubicBezTo>
                  <a:cubicBezTo>
                    <a:pt x="535" y="57"/>
                    <a:pt x="535" y="57"/>
                    <a:pt x="535" y="57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02" y="72"/>
                    <a:pt x="402" y="72"/>
                    <a:pt x="402" y="72"/>
                  </a:cubicBezTo>
                  <a:cubicBezTo>
                    <a:pt x="395" y="0"/>
                    <a:pt x="395" y="0"/>
                    <a:pt x="395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3" y="72"/>
                    <a:pt x="273" y="72"/>
                    <a:pt x="273" y="72"/>
                  </a:cubicBezTo>
                  <a:cubicBezTo>
                    <a:pt x="195" y="103"/>
                    <a:pt x="195" y="103"/>
                    <a:pt x="195" y="103"/>
                  </a:cubicBezTo>
                  <a:cubicBezTo>
                    <a:pt x="140" y="57"/>
                    <a:pt x="140" y="57"/>
                    <a:pt x="140" y="57"/>
                  </a:cubicBezTo>
                  <a:cubicBezTo>
                    <a:pt x="58" y="139"/>
                    <a:pt x="58" y="139"/>
                    <a:pt x="58" y="139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72" y="272"/>
                    <a:pt x="72" y="272"/>
                    <a:pt x="72" y="272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0" y="395"/>
                    <a:pt x="0" y="395"/>
                    <a:pt x="0" y="395"/>
                  </a:cubicBezTo>
                  <a:cubicBezTo>
                    <a:pt x="72" y="401"/>
                    <a:pt x="72" y="401"/>
                    <a:pt x="72" y="401"/>
                  </a:cubicBezTo>
                  <a:cubicBezTo>
                    <a:pt x="104" y="479"/>
                    <a:pt x="104" y="479"/>
                    <a:pt x="104" y="479"/>
                  </a:cubicBezTo>
                  <a:cubicBezTo>
                    <a:pt x="58" y="534"/>
                    <a:pt x="58" y="534"/>
                    <a:pt x="58" y="534"/>
                  </a:cubicBezTo>
                  <a:cubicBezTo>
                    <a:pt x="140" y="616"/>
                    <a:pt x="140" y="616"/>
                    <a:pt x="140" y="616"/>
                  </a:cubicBezTo>
                  <a:cubicBezTo>
                    <a:pt x="195" y="570"/>
                    <a:pt x="195" y="570"/>
                    <a:pt x="195" y="570"/>
                  </a:cubicBezTo>
                  <a:cubicBezTo>
                    <a:pt x="273" y="602"/>
                    <a:pt x="273" y="602"/>
                    <a:pt x="273" y="602"/>
                  </a:cubicBezTo>
                  <a:cubicBezTo>
                    <a:pt x="279" y="674"/>
                    <a:pt x="279" y="674"/>
                    <a:pt x="279" y="674"/>
                  </a:cubicBezTo>
                  <a:cubicBezTo>
                    <a:pt x="395" y="674"/>
                    <a:pt x="395" y="674"/>
                    <a:pt x="395" y="674"/>
                  </a:cubicBezTo>
                  <a:cubicBezTo>
                    <a:pt x="402" y="602"/>
                    <a:pt x="402" y="602"/>
                    <a:pt x="402" y="602"/>
                  </a:cubicBezTo>
                  <a:cubicBezTo>
                    <a:pt x="479" y="570"/>
                    <a:pt x="479" y="570"/>
                    <a:pt x="479" y="570"/>
                  </a:cubicBezTo>
                  <a:cubicBezTo>
                    <a:pt x="535" y="616"/>
                    <a:pt x="535" y="616"/>
                    <a:pt x="535" y="616"/>
                  </a:cubicBezTo>
                  <a:cubicBezTo>
                    <a:pt x="617" y="534"/>
                    <a:pt x="617" y="534"/>
                    <a:pt x="617" y="534"/>
                  </a:cubicBezTo>
                  <a:lnTo>
                    <a:pt x="571" y="4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C5B304B2-E2DE-46B4-BFE8-32E3A3451DB3}"/>
              </a:ext>
            </a:extLst>
          </p:cNvPr>
          <p:cNvGrpSpPr/>
          <p:nvPr userDrawn="1"/>
        </p:nvGrpSpPr>
        <p:grpSpPr>
          <a:xfrm>
            <a:off x="11217797" y="1860685"/>
            <a:ext cx="192111" cy="290045"/>
            <a:chOff x="-3947158" y="1719597"/>
            <a:chExt cx="3385092" cy="5109416"/>
          </a:xfrm>
          <a:solidFill>
            <a:schemeClr val="bg1">
              <a:alpha val="80000"/>
            </a:schemeClr>
          </a:solidFill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2EBC6676-7196-4E06-B859-7A89E5063DED}"/>
                </a:ext>
              </a:extLst>
            </p:cNvPr>
            <p:cNvSpPr/>
            <p:nvPr/>
          </p:nvSpPr>
          <p:spPr>
            <a:xfrm>
              <a:off x="-3624517" y="2322583"/>
              <a:ext cx="3062451" cy="218046"/>
            </a:xfrm>
            <a:prstGeom prst="rect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1B199456-02F3-431E-8FE8-9542063BED5E}"/>
                </a:ext>
              </a:extLst>
            </p:cNvPr>
            <p:cNvSpPr/>
            <p:nvPr/>
          </p:nvSpPr>
          <p:spPr>
            <a:xfrm>
              <a:off x="-3947158" y="3738067"/>
              <a:ext cx="1988090" cy="3089947"/>
            </a:xfrm>
            <a:custGeom>
              <a:avLst/>
              <a:gdLst>
                <a:gd name="connsiteX0" fmla="*/ 1536585 w 1988090"/>
                <a:gd name="connsiteY0" fmla="*/ 279 h 3089947"/>
                <a:gd name="connsiteX1" fmla="*/ 1493799 w 1988090"/>
                <a:gd name="connsiteY1" fmla="*/ 6084 h 3089947"/>
                <a:gd name="connsiteX2" fmla="*/ 994045 w 1988090"/>
                <a:gd name="connsiteY2" fmla="*/ 201257 h 3089947"/>
                <a:gd name="connsiteX3" fmla="*/ 494330 w 1988090"/>
                <a:gd name="connsiteY3" fmla="*/ 6122 h 3089947"/>
                <a:gd name="connsiteX4" fmla="*/ 451390 w 1988090"/>
                <a:gd name="connsiteY4" fmla="*/ 317 h 3089947"/>
                <a:gd name="connsiteX5" fmla="*/ 362549 w 1988090"/>
                <a:gd name="connsiteY5" fmla="*/ 12004 h 3089947"/>
                <a:gd name="connsiteX6" fmla="*/ 126819 w 1988090"/>
                <a:gd name="connsiteY6" fmla="*/ 305590 h 3089947"/>
                <a:gd name="connsiteX7" fmla="*/ 36 w 1988090"/>
                <a:gd name="connsiteY7" fmla="*/ 1551706 h 3089947"/>
                <a:gd name="connsiteX8" fmla="*/ 56470 w 1988090"/>
                <a:gd name="connsiteY8" fmla="*/ 1695481 h 3089947"/>
                <a:gd name="connsiteX9" fmla="*/ 198053 w 1988090"/>
                <a:gd name="connsiteY9" fmla="*/ 1757220 h 3089947"/>
                <a:gd name="connsiteX10" fmla="*/ 199975 w 1988090"/>
                <a:gd name="connsiteY10" fmla="*/ 1757258 h 3089947"/>
                <a:gd name="connsiteX11" fmla="*/ 201898 w 1988090"/>
                <a:gd name="connsiteY11" fmla="*/ 1757258 h 3089947"/>
                <a:gd name="connsiteX12" fmla="*/ 290969 w 1988090"/>
                <a:gd name="connsiteY12" fmla="*/ 1736154 h 3089947"/>
                <a:gd name="connsiteX13" fmla="*/ 359743 w 1988090"/>
                <a:gd name="connsiteY13" fmla="*/ 1679873 h 3089947"/>
                <a:gd name="connsiteX14" fmla="*/ 359743 w 1988090"/>
                <a:gd name="connsiteY14" fmla="*/ 2240751 h 3089947"/>
                <a:gd name="connsiteX15" fmla="*/ 359743 w 1988090"/>
                <a:gd name="connsiteY15" fmla="*/ 2801628 h 3089947"/>
                <a:gd name="connsiteX16" fmla="*/ 444201 w 1988090"/>
                <a:gd name="connsiteY16" fmla="*/ 3005489 h 3089947"/>
                <a:gd name="connsiteX17" fmla="*/ 648062 w 1988090"/>
                <a:gd name="connsiteY17" fmla="*/ 3089947 h 3089947"/>
                <a:gd name="connsiteX18" fmla="*/ 851923 w 1988090"/>
                <a:gd name="connsiteY18" fmla="*/ 3005489 h 3089947"/>
                <a:gd name="connsiteX19" fmla="*/ 936382 w 1988090"/>
                <a:gd name="connsiteY19" fmla="*/ 2801628 h 3089947"/>
                <a:gd name="connsiteX20" fmla="*/ 936382 w 1988090"/>
                <a:gd name="connsiteY20" fmla="*/ 2340317 h 3089947"/>
                <a:gd name="connsiteX21" fmla="*/ 936382 w 1988090"/>
                <a:gd name="connsiteY21" fmla="*/ 1879006 h 3089947"/>
                <a:gd name="connsiteX22" fmla="*/ 994045 w 1988090"/>
                <a:gd name="connsiteY22" fmla="*/ 1879006 h 3089947"/>
                <a:gd name="connsiteX23" fmla="*/ 1051709 w 1988090"/>
                <a:gd name="connsiteY23" fmla="*/ 1879006 h 3089947"/>
                <a:gd name="connsiteX24" fmla="*/ 1051709 w 1988090"/>
                <a:gd name="connsiteY24" fmla="*/ 2340317 h 3089947"/>
                <a:gd name="connsiteX25" fmla="*/ 1051709 w 1988090"/>
                <a:gd name="connsiteY25" fmla="*/ 2801628 h 3089947"/>
                <a:gd name="connsiteX26" fmla="*/ 1136167 w 1988090"/>
                <a:gd name="connsiteY26" fmla="*/ 3005489 h 3089947"/>
                <a:gd name="connsiteX27" fmla="*/ 1340029 w 1988090"/>
                <a:gd name="connsiteY27" fmla="*/ 3089947 h 3089947"/>
                <a:gd name="connsiteX28" fmla="*/ 1543889 w 1988090"/>
                <a:gd name="connsiteY28" fmla="*/ 3005489 h 3089947"/>
                <a:gd name="connsiteX29" fmla="*/ 1628348 w 1988090"/>
                <a:gd name="connsiteY29" fmla="*/ 2801628 h 3089947"/>
                <a:gd name="connsiteX30" fmla="*/ 1628348 w 1988090"/>
                <a:gd name="connsiteY30" fmla="*/ 2263432 h 3089947"/>
                <a:gd name="connsiteX31" fmla="*/ 1628348 w 1988090"/>
                <a:gd name="connsiteY31" fmla="*/ 1725313 h 3089947"/>
                <a:gd name="connsiteX32" fmla="*/ 1628348 w 1988090"/>
                <a:gd name="connsiteY32" fmla="*/ 1725236 h 3089947"/>
                <a:gd name="connsiteX33" fmla="*/ 1628348 w 1988090"/>
                <a:gd name="connsiteY33" fmla="*/ 1725159 h 3089947"/>
                <a:gd name="connsiteX34" fmla="*/ 1628348 w 1988090"/>
                <a:gd name="connsiteY34" fmla="*/ 1702478 h 3089947"/>
                <a:gd name="connsiteX35" fmla="*/ 1628348 w 1988090"/>
                <a:gd name="connsiteY35" fmla="*/ 1679797 h 3089947"/>
                <a:gd name="connsiteX36" fmla="*/ 1697122 w 1988090"/>
                <a:gd name="connsiteY36" fmla="*/ 1736115 h 3089947"/>
                <a:gd name="connsiteX37" fmla="*/ 1786193 w 1988090"/>
                <a:gd name="connsiteY37" fmla="*/ 1757220 h 3089947"/>
                <a:gd name="connsiteX38" fmla="*/ 1788115 w 1988090"/>
                <a:gd name="connsiteY38" fmla="*/ 1757220 h 3089947"/>
                <a:gd name="connsiteX39" fmla="*/ 1790037 w 1988090"/>
                <a:gd name="connsiteY39" fmla="*/ 1757182 h 3089947"/>
                <a:gd name="connsiteX40" fmla="*/ 1931621 w 1988090"/>
                <a:gd name="connsiteY40" fmla="*/ 1695443 h 3089947"/>
                <a:gd name="connsiteX41" fmla="*/ 1988055 w 1988090"/>
                <a:gd name="connsiteY41" fmla="*/ 1551668 h 3089947"/>
                <a:gd name="connsiteX42" fmla="*/ 1861233 w 1988090"/>
                <a:gd name="connsiteY42" fmla="*/ 305552 h 3089947"/>
                <a:gd name="connsiteX43" fmla="*/ 1625465 w 1988090"/>
                <a:gd name="connsiteY43" fmla="*/ 11966 h 3089947"/>
                <a:gd name="connsiteX44" fmla="*/ 1536585 w 1988090"/>
                <a:gd name="connsiteY44" fmla="*/ 279 h 308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988090" h="3089947">
                  <a:moveTo>
                    <a:pt x="1536585" y="279"/>
                  </a:moveTo>
                  <a:cubicBezTo>
                    <a:pt x="1521939" y="971"/>
                    <a:pt x="1507676" y="3008"/>
                    <a:pt x="1493799" y="6084"/>
                  </a:cubicBezTo>
                  <a:cubicBezTo>
                    <a:pt x="1361787" y="126870"/>
                    <a:pt x="1186643" y="201257"/>
                    <a:pt x="994045" y="201257"/>
                  </a:cubicBezTo>
                  <a:cubicBezTo>
                    <a:pt x="801448" y="201257"/>
                    <a:pt x="626342" y="126870"/>
                    <a:pt x="494330" y="6122"/>
                  </a:cubicBezTo>
                  <a:cubicBezTo>
                    <a:pt x="480414" y="3047"/>
                    <a:pt x="466075" y="1009"/>
                    <a:pt x="451390" y="317"/>
                  </a:cubicBezTo>
                  <a:cubicBezTo>
                    <a:pt x="422827" y="-1028"/>
                    <a:pt x="392996" y="2432"/>
                    <a:pt x="362549" y="12004"/>
                  </a:cubicBezTo>
                  <a:cubicBezTo>
                    <a:pt x="277591" y="38683"/>
                    <a:pt x="193133" y="92772"/>
                    <a:pt x="126819" y="305590"/>
                  </a:cubicBezTo>
                  <a:cubicBezTo>
                    <a:pt x="60506" y="518408"/>
                    <a:pt x="12337" y="889994"/>
                    <a:pt x="36" y="1551706"/>
                  </a:cubicBezTo>
                  <a:cubicBezTo>
                    <a:pt x="-1002" y="1607409"/>
                    <a:pt x="20641" y="1658308"/>
                    <a:pt x="56470" y="1695481"/>
                  </a:cubicBezTo>
                  <a:cubicBezTo>
                    <a:pt x="92298" y="1732655"/>
                    <a:pt x="142312" y="1756221"/>
                    <a:pt x="198053" y="1757220"/>
                  </a:cubicBezTo>
                  <a:cubicBezTo>
                    <a:pt x="198707" y="1757220"/>
                    <a:pt x="199322" y="1757220"/>
                    <a:pt x="199975" y="1757258"/>
                  </a:cubicBezTo>
                  <a:cubicBezTo>
                    <a:pt x="200629" y="1757297"/>
                    <a:pt x="201244" y="1757258"/>
                    <a:pt x="201898" y="1757258"/>
                  </a:cubicBezTo>
                  <a:cubicBezTo>
                    <a:pt x="233920" y="1757258"/>
                    <a:pt x="264136" y="1749647"/>
                    <a:pt x="290969" y="1736154"/>
                  </a:cubicBezTo>
                  <a:cubicBezTo>
                    <a:pt x="317802" y="1722660"/>
                    <a:pt x="341214" y="1703323"/>
                    <a:pt x="359743" y="1679873"/>
                  </a:cubicBezTo>
                  <a:lnTo>
                    <a:pt x="359743" y="2240751"/>
                  </a:lnTo>
                  <a:lnTo>
                    <a:pt x="359743" y="2801628"/>
                  </a:lnTo>
                  <a:cubicBezTo>
                    <a:pt x="359743" y="2881243"/>
                    <a:pt x="391996" y="2953323"/>
                    <a:pt x="444201" y="3005489"/>
                  </a:cubicBezTo>
                  <a:cubicBezTo>
                    <a:pt x="496406" y="3057656"/>
                    <a:pt x="568447" y="3089947"/>
                    <a:pt x="648062" y="3089947"/>
                  </a:cubicBezTo>
                  <a:cubicBezTo>
                    <a:pt x="727677" y="3089947"/>
                    <a:pt x="799757" y="3057694"/>
                    <a:pt x="851923" y="3005489"/>
                  </a:cubicBezTo>
                  <a:cubicBezTo>
                    <a:pt x="904090" y="2953284"/>
                    <a:pt x="936382" y="2881243"/>
                    <a:pt x="936382" y="2801628"/>
                  </a:cubicBezTo>
                  <a:lnTo>
                    <a:pt x="936382" y="2340317"/>
                  </a:lnTo>
                  <a:lnTo>
                    <a:pt x="936382" y="1879006"/>
                  </a:lnTo>
                  <a:lnTo>
                    <a:pt x="994045" y="1879006"/>
                  </a:lnTo>
                  <a:lnTo>
                    <a:pt x="1051709" y="1879006"/>
                  </a:lnTo>
                  <a:lnTo>
                    <a:pt x="1051709" y="2340317"/>
                  </a:lnTo>
                  <a:lnTo>
                    <a:pt x="1051709" y="2801628"/>
                  </a:lnTo>
                  <a:cubicBezTo>
                    <a:pt x="1051709" y="2881243"/>
                    <a:pt x="1083962" y="2953323"/>
                    <a:pt x="1136167" y="3005489"/>
                  </a:cubicBezTo>
                  <a:cubicBezTo>
                    <a:pt x="1188372" y="3057656"/>
                    <a:pt x="1260414" y="3089947"/>
                    <a:pt x="1340029" y="3089947"/>
                  </a:cubicBezTo>
                  <a:cubicBezTo>
                    <a:pt x="1419643" y="3089947"/>
                    <a:pt x="1491723" y="3057694"/>
                    <a:pt x="1543889" y="3005489"/>
                  </a:cubicBezTo>
                  <a:cubicBezTo>
                    <a:pt x="1596056" y="2953284"/>
                    <a:pt x="1628348" y="2881243"/>
                    <a:pt x="1628348" y="2801628"/>
                  </a:cubicBezTo>
                  <a:lnTo>
                    <a:pt x="1628348" y="2263432"/>
                  </a:lnTo>
                  <a:lnTo>
                    <a:pt x="1628348" y="1725313"/>
                  </a:lnTo>
                  <a:cubicBezTo>
                    <a:pt x="1628348" y="1725274"/>
                    <a:pt x="1628348" y="1725274"/>
                    <a:pt x="1628348" y="1725236"/>
                  </a:cubicBezTo>
                  <a:cubicBezTo>
                    <a:pt x="1628348" y="1725197"/>
                    <a:pt x="1628348" y="1725197"/>
                    <a:pt x="1628348" y="1725159"/>
                  </a:cubicBezTo>
                  <a:lnTo>
                    <a:pt x="1628348" y="1702478"/>
                  </a:lnTo>
                  <a:lnTo>
                    <a:pt x="1628348" y="1679797"/>
                  </a:lnTo>
                  <a:cubicBezTo>
                    <a:pt x="1646839" y="1703247"/>
                    <a:pt x="1670289" y="1722622"/>
                    <a:pt x="1697122" y="1736115"/>
                  </a:cubicBezTo>
                  <a:cubicBezTo>
                    <a:pt x="1723955" y="1749609"/>
                    <a:pt x="1754170" y="1757220"/>
                    <a:pt x="1786193" y="1757220"/>
                  </a:cubicBezTo>
                  <a:cubicBezTo>
                    <a:pt x="1786847" y="1757220"/>
                    <a:pt x="1787461" y="1757220"/>
                    <a:pt x="1788115" y="1757220"/>
                  </a:cubicBezTo>
                  <a:cubicBezTo>
                    <a:pt x="1788769" y="1757220"/>
                    <a:pt x="1789384" y="1757220"/>
                    <a:pt x="1790037" y="1757182"/>
                  </a:cubicBezTo>
                  <a:cubicBezTo>
                    <a:pt x="1845779" y="1756144"/>
                    <a:pt x="1895793" y="1732617"/>
                    <a:pt x="1931621" y="1695443"/>
                  </a:cubicBezTo>
                  <a:cubicBezTo>
                    <a:pt x="1967450" y="1658269"/>
                    <a:pt x="1989093" y="1607371"/>
                    <a:pt x="1988055" y="1551668"/>
                  </a:cubicBezTo>
                  <a:cubicBezTo>
                    <a:pt x="1975715" y="889955"/>
                    <a:pt x="1927585" y="518370"/>
                    <a:pt x="1861233" y="305552"/>
                  </a:cubicBezTo>
                  <a:cubicBezTo>
                    <a:pt x="1794881" y="92733"/>
                    <a:pt x="1710423" y="38683"/>
                    <a:pt x="1625465" y="11966"/>
                  </a:cubicBezTo>
                  <a:cubicBezTo>
                    <a:pt x="1594980" y="2393"/>
                    <a:pt x="1565148" y="-1066"/>
                    <a:pt x="1536585" y="27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F8E50F5E-3AFE-4BAC-B591-3FE21982BDEB}"/>
                </a:ext>
              </a:extLst>
            </p:cNvPr>
            <p:cNvSpPr/>
            <p:nvPr/>
          </p:nvSpPr>
          <p:spPr>
            <a:xfrm>
              <a:off x="-3541246" y="2609288"/>
              <a:ext cx="1176265" cy="1176265"/>
            </a:xfrm>
            <a:custGeom>
              <a:avLst/>
              <a:gdLst>
                <a:gd name="connsiteX0" fmla="*/ 1176266 w 1176265"/>
                <a:gd name="connsiteY0" fmla="*/ 588133 h 1176265"/>
                <a:gd name="connsiteX1" fmla="*/ 588133 w 1176265"/>
                <a:gd name="connsiteY1" fmla="*/ 1176266 h 1176265"/>
                <a:gd name="connsiteX2" fmla="*/ 0 w 1176265"/>
                <a:gd name="connsiteY2" fmla="*/ 588133 h 1176265"/>
                <a:gd name="connsiteX3" fmla="*/ 588133 w 1176265"/>
                <a:gd name="connsiteY3" fmla="*/ 0 h 1176265"/>
                <a:gd name="connsiteX4" fmla="*/ 1176266 w 1176265"/>
                <a:gd name="connsiteY4" fmla="*/ 588133 h 117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6265" h="1176265">
                  <a:moveTo>
                    <a:pt x="1176266" y="588133"/>
                  </a:moveTo>
                  <a:cubicBezTo>
                    <a:pt x="1176266" y="912950"/>
                    <a:pt x="912950" y="1176266"/>
                    <a:pt x="588133" y="1176266"/>
                  </a:cubicBezTo>
                  <a:cubicBezTo>
                    <a:pt x="263316" y="1176266"/>
                    <a:pt x="0" y="912950"/>
                    <a:pt x="0" y="588133"/>
                  </a:cubicBezTo>
                  <a:cubicBezTo>
                    <a:pt x="0" y="263316"/>
                    <a:pt x="263316" y="0"/>
                    <a:pt x="588133" y="0"/>
                  </a:cubicBezTo>
                  <a:cubicBezTo>
                    <a:pt x="912950" y="0"/>
                    <a:pt x="1176266" y="263316"/>
                    <a:pt x="1176266" y="5881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F2690A3A-A29D-4E37-BE91-E4210E7E083D}"/>
                </a:ext>
              </a:extLst>
            </p:cNvPr>
            <p:cNvSpPr/>
            <p:nvPr/>
          </p:nvSpPr>
          <p:spPr>
            <a:xfrm>
              <a:off x="-1697617" y="2605328"/>
              <a:ext cx="956528" cy="4223685"/>
            </a:xfrm>
            <a:custGeom>
              <a:avLst/>
              <a:gdLst>
                <a:gd name="connsiteX0" fmla="*/ 956528 w 956528"/>
                <a:gd name="connsiteY0" fmla="*/ 4223686 h 4223685"/>
                <a:gd name="connsiteX1" fmla="*/ 956528 w 956528"/>
                <a:gd name="connsiteY1" fmla="*/ 0 h 4223685"/>
                <a:gd name="connsiteX2" fmla="*/ 900248 w 956528"/>
                <a:gd name="connsiteY2" fmla="*/ 0 h 4223685"/>
                <a:gd name="connsiteX3" fmla="*/ 900248 w 956528"/>
                <a:gd name="connsiteY3" fmla="*/ 4167445 h 4223685"/>
                <a:gd name="connsiteX4" fmla="*/ 56280 w 956528"/>
                <a:gd name="connsiteY4" fmla="*/ 4167445 h 4223685"/>
                <a:gd name="connsiteX5" fmla="*/ 56280 w 956528"/>
                <a:gd name="connsiteY5" fmla="*/ 3998643 h 4223685"/>
                <a:gd name="connsiteX6" fmla="*/ 337603 w 956528"/>
                <a:gd name="connsiteY6" fmla="*/ 3998643 h 4223685"/>
                <a:gd name="connsiteX7" fmla="*/ 337603 w 956528"/>
                <a:gd name="connsiteY7" fmla="*/ 3942363 h 4223685"/>
                <a:gd name="connsiteX8" fmla="*/ 56280 w 956528"/>
                <a:gd name="connsiteY8" fmla="*/ 3942363 h 4223685"/>
                <a:gd name="connsiteX9" fmla="*/ 56280 w 956528"/>
                <a:gd name="connsiteY9" fmla="*/ 3773562 h 4223685"/>
                <a:gd name="connsiteX10" fmla="*/ 337603 w 956528"/>
                <a:gd name="connsiteY10" fmla="*/ 3773562 h 4223685"/>
                <a:gd name="connsiteX11" fmla="*/ 337603 w 956528"/>
                <a:gd name="connsiteY11" fmla="*/ 3717321 h 4223685"/>
                <a:gd name="connsiteX12" fmla="*/ 56280 w 956528"/>
                <a:gd name="connsiteY12" fmla="*/ 3717321 h 4223685"/>
                <a:gd name="connsiteX13" fmla="*/ 56280 w 956528"/>
                <a:gd name="connsiteY13" fmla="*/ 3548519 h 4223685"/>
                <a:gd name="connsiteX14" fmla="*/ 337603 w 956528"/>
                <a:gd name="connsiteY14" fmla="*/ 3548519 h 4223685"/>
                <a:gd name="connsiteX15" fmla="*/ 337603 w 956528"/>
                <a:gd name="connsiteY15" fmla="*/ 3492239 h 4223685"/>
                <a:gd name="connsiteX16" fmla="*/ 56280 w 956528"/>
                <a:gd name="connsiteY16" fmla="*/ 3492239 h 4223685"/>
                <a:gd name="connsiteX17" fmla="*/ 56280 w 956528"/>
                <a:gd name="connsiteY17" fmla="*/ 3323438 h 4223685"/>
                <a:gd name="connsiteX18" fmla="*/ 675205 w 956528"/>
                <a:gd name="connsiteY18" fmla="*/ 3323438 h 4223685"/>
                <a:gd name="connsiteX19" fmla="*/ 675205 w 956528"/>
                <a:gd name="connsiteY19" fmla="*/ 3267158 h 4223685"/>
                <a:gd name="connsiteX20" fmla="*/ 56280 w 956528"/>
                <a:gd name="connsiteY20" fmla="*/ 3267158 h 4223685"/>
                <a:gd name="connsiteX21" fmla="*/ 56280 w 956528"/>
                <a:gd name="connsiteY21" fmla="*/ 3098395 h 4223685"/>
                <a:gd name="connsiteX22" fmla="*/ 337603 w 956528"/>
                <a:gd name="connsiteY22" fmla="*/ 3098395 h 4223685"/>
                <a:gd name="connsiteX23" fmla="*/ 337603 w 956528"/>
                <a:gd name="connsiteY23" fmla="*/ 3042115 h 4223685"/>
                <a:gd name="connsiteX24" fmla="*/ 56280 w 956528"/>
                <a:gd name="connsiteY24" fmla="*/ 3042115 h 4223685"/>
                <a:gd name="connsiteX25" fmla="*/ 56280 w 956528"/>
                <a:gd name="connsiteY25" fmla="*/ 2873314 h 4223685"/>
                <a:gd name="connsiteX26" fmla="*/ 337603 w 956528"/>
                <a:gd name="connsiteY26" fmla="*/ 2873314 h 4223685"/>
                <a:gd name="connsiteX27" fmla="*/ 337603 w 956528"/>
                <a:gd name="connsiteY27" fmla="*/ 2817034 h 4223685"/>
                <a:gd name="connsiteX28" fmla="*/ 56280 w 956528"/>
                <a:gd name="connsiteY28" fmla="*/ 2817034 h 4223685"/>
                <a:gd name="connsiteX29" fmla="*/ 56280 w 956528"/>
                <a:gd name="connsiteY29" fmla="*/ 2648233 h 4223685"/>
                <a:gd name="connsiteX30" fmla="*/ 337603 w 956528"/>
                <a:gd name="connsiteY30" fmla="*/ 2648233 h 4223685"/>
                <a:gd name="connsiteX31" fmla="*/ 337603 w 956528"/>
                <a:gd name="connsiteY31" fmla="*/ 2591991 h 4223685"/>
                <a:gd name="connsiteX32" fmla="*/ 56280 w 956528"/>
                <a:gd name="connsiteY32" fmla="*/ 2591991 h 4223685"/>
                <a:gd name="connsiteX33" fmla="*/ 56280 w 956528"/>
                <a:gd name="connsiteY33" fmla="*/ 2423190 h 4223685"/>
                <a:gd name="connsiteX34" fmla="*/ 675205 w 956528"/>
                <a:gd name="connsiteY34" fmla="*/ 2423190 h 4223685"/>
                <a:gd name="connsiteX35" fmla="*/ 675205 w 956528"/>
                <a:gd name="connsiteY35" fmla="*/ 2366909 h 4223685"/>
                <a:gd name="connsiteX36" fmla="*/ 56280 w 956528"/>
                <a:gd name="connsiteY36" fmla="*/ 2366909 h 4223685"/>
                <a:gd name="connsiteX37" fmla="*/ 56280 w 956528"/>
                <a:gd name="connsiteY37" fmla="*/ 2198108 h 4223685"/>
                <a:gd name="connsiteX38" fmla="*/ 337603 w 956528"/>
                <a:gd name="connsiteY38" fmla="*/ 2198108 h 4223685"/>
                <a:gd name="connsiteX39" fmla="*/ 337603 w 956528"/>
                <a:gd name="connsiteY39" fmla="*/ 2141867 h 4223685"/>
                <a:gd name="connsiteX40" fmla="*/ 56280 w 956528"/>
                <a:gd name="connsiteY40" fmla="*/ 2141867 h 4223685"/>
                <a:gd name="connsiteX41" fmla="*/ 56280 w 956528"/>
                <a:gd name="connsiteY41" fmla="*/ 1973065 h 4223685"/>
                <a:gd name="connsiteX42" fmla="*/ 337603 w 956528"/>
                <a:gd name="connsiteY42" fmla="*/ 1973065 h 4223685"/>
                <a:gd name="connsiteX43" fmla="*/ 337603 w 956528"/>
                <a:gd name="connsiteY43" fmla="*/ 1916785 h 4223685"/>
                <a:gd name="connsiteX44" fmla="*/ 56280 w 956528"/>
                <a:gd name="connsiteY44" fmla="*/ 1916785 h 4223685"/>
                <a:gd name="connsiteX45" fmla="*/ 56280 w 956528"/>
                <a:gd name="connsiteY45" fmla="*/ 1747984 h 4223685"/>
                <a:gd name="connsiteX46" fmla="*/ 337603 w 956528"/>
                <a:gd name="connsiteY46" fmla="*/ 1747984 h 4223685"/>
                <a:gd name="connsiteX47" fmla="*/ 337603 w 956528"/>
                <a:gd name="connsiteY47" fmla="*/ 1691704 h 4223685"/>
                <a:gd name="connsiteX48" fmla="*/ 56280 w 956528"/>
                <a:gd name="connsiteY48" fmla="*/ 1691704 h 4223685"/>
                <a:gd name="connsiteX49" fmla="*/ 56280 w 956528"/>
                <a:gd name="connsiteY49" fmla="*/ 1522941 h 4223685"/>
                <a:gd name="connsiteX50" fmla="*/ 675205 w 956528"/>
                <a:gd name="connsiteY50" fmla="*/ 1522941 h 4223685"/>
                <a:gd name="connsiteX51" fmla="*/ 675205 w 956528"/>
                <a:gd name="connsiteY51" fmla="*/ 1466661 h 4223685"/>
                <a:gd name="connsiteX52" fmla="*/ 56280 w 956528"/>
                <a:gd name="connsiteY52" fmla="*/ 1466661 h 4223685"/>
                <a:gd name="connsiteX53" fmla="*/ 56280 w 956528"/>
                <a:gd name="connsiteY53" fmla="*/ 1297860 h 4223685"/>
                <a:gd name="connsiteX54" fmla="*/ 337603 w 956528"/>
                <a:gd name="connsiteY54" fmla="*/ 1297860 h 4223685"/>
                <a:gd name="connsiteX55" fmla="*/ 337603 w 956528"/>
                <a:gd name="connsiteY55" fmla="*/ 1241580 h 4223685"/>
                <a:gd name="connsiteX56" fmla="*/ 56280 w 956528"/>
                <a:gd name="connsiteY56" fmla="*/ 1241580 h 4223685"/>
                <a:gd name="connsiteX57" fmla="*/ 56280 w 956528"/>
                <a:gd name="connsiteY57" fmla="*/ 1072779 h 4223685"/>
                <a:gd name="connsiteX58" fmla="*/ 337603 w 956528"/>
                <a:gd name="connsiteY58" fmla="*/ 1072779 h 4223685"/>
                <a:gd name="connsiteX59" fmla="*/ 337603 w 956528"/>
                <a:gd name="connsiteY59" fmla="*/ 1016537 h 4223685"/>
                <a:gd name="connsiteX60" fmla="*/ 56280 w 956528"/>
                <a:gd name="connsiteY60" fmla="*/ 1016537 h 4223685"/>
                <a:gd name="connsiteX61" fmla="*/ 56280 w 956528"/>
                <a:gd name="connsiteY61" fmla="*/ 847736 h 4223685"/>
                <a:gd name="connsiteX62" fmla="*/ 337603 w 956528"/>
                <a:gd name="connsiteY62" fmla="*/ 847736 h 4223685"/>
                <a:gd name="connsiteX63" fmla="*/ 337603 w 956528"/>
                <a:gd name="connsiteY63" fmla="*/ 791456 h 4223685"/>
                <a:gd name="connsiteX64" fmla="*/ 56280 w 956528"/>
                <a:gd name="connsiteY64" fmla="*/ 791456 h 4223685"/>
                <a:gd name="connsiteX65" fmla="*/ 56280 w 956528"/>
                <a:gd name="connsiteY65" fmla="*/ 622654 h 4223685"/>
                <a:gd name="connsiteX66" fmla="*/ 675205 w 956528"/>
                <a:gd name="connsiteY66" fmla="*/ 622654 h 4223685"/>
                <a:gd name="connsiteX67" fmla="*/ 675205 w 956528"/>
                <a:gd name="connsiteY67" fmla="*/ 566413 h 4223685"/>
                <a:gd name="connsiteX68" fmla="*/ 56280 w 956528"/>
                <a:gd name="connsiteY68" fmla="*/ 566413 h 4223685"/>
                <a:gd name="connsiteX69" fmla="*/ 56280 w 956528"/>
                <a:gd name="connsiteY69" fmla="*/ 397612 h 4223685"/>
                <a:gd name="connsiteX70" fmla="*/ 337603 w 956528"/>
                <a:gd name="connsiteY70" fmla="*/ 397612 h 4223685"/>
                <a:gd name="connsiteX71" fmla="*/ 337603 w 956528"/>
                <a:gd name="connsiteY71" fmla="*/ 341332 h 4223685"/>
                <a:gd name="connsiteX72" fmla="*/ 56280 w 956528"/>
                <a:gd name="connsiteY72" fmla="*/ 341332 h 4223685"/>
                <a:gd name="connsiteX73" fmla="*/ 56280 w 956528"/>
                <a:gd name="connsiteY73" fmla="*/ 172530 h 4223685"/>
                <a:gd name="connsiteX74" fmla="*/ 337603 w 956528"/>
                <a:gd name="connsiteY74" fmla="*/ 172530 h 4223685"/>
                <a:gd name="connsiteX75" fmla="*/ 337603 w 956528"/>
                <a:gd name="connsiteY75" fmla="*/ 116250 h 4223685"/>
                <a:gd name="connsiteX76" fmla="*/ 56280 w 956528"/>
                <a:gd name="connsiteY76" fmla="*/ 116250 h 4223685"/>
                <a:gd name="connsiteX77" fmla="*/ 56280 w 956528"/>
                <a:gd name="connsiteY77" fmla="*/ 0 h 4223685"/>
                <a:gd name="connsiteX78" fmla="*/ 0 w 956528"/>
                <a:gd name="connsiteY78" fmla="*/ 0 h 4223685"/>
                <a:gd name="connsiteX79" fmla="*/ 0 w 956528"/>
                <a:gd name="connsiteY79" fmla="*/ 4223686 h 4223685"/>
                <a:gd name="connsiteX80" fmla="*/ 56280 w 956528"/>
                <a:gd name="connsiteY80" fmla="*/ 4223686 h 4223685"/>
                <a:gd name="connsiteX81" fmla="*/ 900248 w 956528"/>
                <a:gd name="connsiteY81" fmla="*/ 4223686 h 422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956528" h="4223685">
                  <a:moveTo>
                    <a:pt x="956528" y="4223686"/>
                  </a:moveTo>
                  <a:lnTo>
                    <a:pt x="956528" y="0"/>
                  </a:lnTo>
                  <a:lnTo>
                    <a:pt x="900248" y="0"/>
                  </a:lnTo>
                  <a:lnTo>
                    <a:pt x="900248" y="4167445"/>
                  </a:lnTo>
                  <a:lnTo>
                    <a:pt x="56280" y="4167445"/>
                  </a:lnTo>
                  <a:lnTo>
                    <a:pt x="56280" y="3998643"/>
                  </a:lnTo>
                  <a:lnTo>
                    <a:pt x="337603" y="3998643"/>
                  </a:lnTo>
                  <a:lnTo>
                    <a:pt x="337603" y="3942363"/>
                  </a:lnTo>
                  <a:lnTo>
                    <a:pt x="56280" y="3942363"/>
                  </a:lnTo>
                  <a:lnTo>
                    <a:pt x="56280" y="3773562"/>
                  </a:lnTo>
                  <a:lnTo>
                    <a:pt x="337603" y="3773562"/>
                  </a:lnTo>
                  <a:lnTo>
                    <a:pt x="337603" y="3717321"/>
                  </a:lnTo>
                  <a:lnTo>
                    <a:pt x="56280" y="3717321"/>
                  </a:lnTo>
                  <a:lnTo>
                    <a:pt x="56280" y="3548519"/>
                  </a:lnTo>
                  <a:lnTo>
                    <a:pt x="337603" y="3548519"/>
                  </a:lnTo>
                  <a:lnTo>
                    <a:pt x="337603" y="3492239"/>
                  </a:lnTo>
                  <a:lnTo>
                    <a:pt x="56280" y="3492239"/>
                  </a:lnTo>
                  <a:lnTo>
                    <a:pt x="56280" y="3323438"/>
                  </a:lnTo>
                  <a:lnTo>
                    <a:pt x="675205" y="3323438"/>
                  </a:lnTo>
                  <a:lnTo>
                    <a:pt x="675205" y="3267158"/>
                  </a:lnTo>
                  <a:lnTo>
                    <a:pt x="56280" y="3267158"/>
                  </a:lnTo>
                  <a:lnTo>
                    <a:pt x="56280" y="3098395"/>
                  </a:lnTo>
                  <a:lnTo>
                    <a:pt x="337603" y="3098395"/>
                  </a:lnTo>
                  <a:lnTo>
                    <a:pt x="337603" y="3042115"/>
                  </a:lnTo>
                  <a:lnTo>
                    <a:pt x="56280" y="3042115"/>
                  </a:lnTo>
                  <a:lnTo>
                    <a:pt x="56280" y="2873314"/>
                  </a:lnTo>
                  <a:lnTo>
                    <a:pt x="337603" y="2873314"/>
                  </a:lnTo>
                  <a:lnTo>
                    <a:pt x="337603" y="2817034"/>
                  </a:lnTo>
                  <a:lnTo>
                    <a:pt x="56280" y="2817034"/>
                  </a:lnTo>
                  <a:lnTo>
                    <a:pt x="56280" y="2648233"/>
                  </a:lnTo>
                  <a:lnTo>
                    <a:pt x="337603" y="2648233"/>
                  </a:lnTo>
                  <a:lnTo>
                    <a:pt x="337603" y="2591991"/>
                  </a:lnTo>
                  <a:lnTo>
                    <a:pt x="56280" y="2591991"/>
                  </a:lnTo>
                  <a:lnTo>
                    <a:pt x="56280" y="2423190"/>
                  </a:lnTo>
                  <a:lnTo>
                    <a:pt x="675205" y="2423190"/>
                  </a:lnTo>
                  <a:lnTo>
                    <a:pt x="675205" y="2366909"/>
                  </a:lnTo>
                  <a:lnTo>
                    <a:pt x="56280" y="2366909"/>
                  </a:lnTo>
                  <a:lnTo>
                    <a:pt x="56280" y="2198108"/>
                  </a:lnTo>
                  <a:lnTo>
                    <a:pt x="337603" y="2198108"/>
                  </a:lnTo>
                  <a:lnTo>
                    <a:pt x="337603" y="2141867"/>
                  </a:lnTo>
                  <a:lnTo>
                    <a:pt x="56280" y="2141867"/>
                  </a:lnTo>
                  <a:lnTo>
                    <a:pt x="56280" y="1973065"/>
                  </a:lnTo>
                  <a:lnTo>
                    <a:pt x="337603" y="1973065"/>
                  </a:lnTo>
                  <a:lnTo>
                    <a:pt x="337603" y="1916785"/>
                  </a:lnTo>
                  <a:lnTo>
                    <a:pt x="56280" y="1916785"/>
                  </a:lnTo>
                  <a:lnTo>
                    <a:pt x="56280" y="1747984"/>
                  </a:lnTo>
                  <a:lnTo>
                    <a:pt x="337603" y="1747984"/>
                  </a:lnTo>
                  <a:lnTo>
                    <a:pt x="337603" y="1691704"/>
                  </a:lnTo>
                  <a:lnTo>
                    <a:pt x="56280" y="1691704"/>
                  </a:lnTo>
                  <a:lnTo>
                    <a:pt x="56280" y="1522941"/>
                  </a:lnTo>
                  <a:lnTo>
                    <a:pt x="675205" y="1522941"/>
                  </a:lnTo>
                  <a:lnTo>
                    <a:pt x="675205" y="1466661"/>
                  </a:lnTo>
                  <a:lnTo>
                    <a:pt x="56280" y="1466661"/>
                  </a:lnTo>
                  <a:lnTo>
                    <a:pt x="56280" y="1297860"/>
                  </a:lnTo>
                  <a:lnTo>
                    <a:pt x="337603" y="1297860"/>
                  </a:lnTo>
                  <a:lnTo>
                    <a:pt x="337603" y="1241580"/>
                  </a:lnTo>
                  <a:lnTo>
                    <a:pt x="56280" y="1241580"/>
                  </a:lnTo>
                  <a:lnTo>
                    <a:pt x="56280" y="1072779"/>
                  </a:lnTo>
                  <a:lnTo>
                    <a:pt x="337603" y="1072779"/>
                  </a:lnTo>
                  <a:lnTo>
                    <a:pt x="337603" y="1016537"/>
                  </a:lnTo>
                  <a:lnTo>
                    <a:pt x="56280" y="1016537"/>
                  </a:lnTo>
                  <a:lnTo>
                    <a:pt x="56280" y="847736"/>
                  </a:lnTo>
                  <a:lnTo>
                    <a:pt x="337603" y="847736"/>
                  </a:lnTo>
                  <a:lnTo>
                    <a:pt x="337603" y="791456"/>
                  </a:lnTo>
                  <a:lnTo>
                    <a:pt x="56280" y="791456"/>
                  </a:lnTo>
                  <a:lnTo>
                    <a:pt x="56280" y="622654"/>
                  </a:lnTo>
                  <a:lnTo>
                    <a:pt x="675205" y="622654"/>
                  </a:lnTo>
                  <a:lnTo>
                    <a:pt x="675205" y="566413"/>
                  </a:lnTo>
                  <a:lnTo>
                    <a:pt x="56280" y="566413"/>
                  </a:lnTo>
                  <a:lnTo>
                    <a:pt x="56280" y="397612"/>
                  </a:lnTo>
                  <a:lnTo>
                    <a:pt x="337603" y="397612"/>
                  </a:lnTo>
                  <a:lnTo>
                    <a:pt x="337603" y="341332"/>
                  </a:lnTo>
                  <a:lnTo>
                    <a:pt x="56280" y="341332"/>
                  </a:lnTo>
                  <a:lnTo>
                    <a:pt x="56280" y="172530"/>
                  </a:lnTo>
                  <a:lnTo>
                    <a:pt x="337603" y="172530"/>
                  </a:lnTo>
                  <a:lnTo>
                    <a:pt x="337603" y="116250"/>
                  </a:lnTo>
                  <a:lnTo>
                    <a:pt x="56280" y="116250"/>
                  </a:lnTo>
                  <a:lnTo>
                    <a:pt x="56280" y="0"/>
                  </a:lnTo>
                  <a:lnTo>
                    <a:pt x="0" y="0"/>
                  </a:lnTo>
                  <a:lnTo>
                    <a:pt x="0" y="4223686"/>
                  </a:lnTo>
                  <a:lnTo>
                    <a:pt x="56280" y="4223686"/>
                  </a:lnTo>
                  <a:lnTo>
                    <a:pt x="900248" y="42236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B118867D-5017-45C4-9716-99E14715FBF6}"/>
                </a:ext>
              </a:extLst>
            </p:cNvPr>
            <p:cNvSpPr/>
            <p:nvPr/>
          </p:nvSpPr>
          <p:spPr>
            <a:xfrm>
              <a:off x="-1697617" y="1719597"/>
              <a:ext cx="337603" cy="538326"/>
            </a:xfrm>
            <a:custGeom>
              <a:avLst/>
              <a:gdLst>
                <a:gd name="connsiteX0" fmla="*/ 0 w 337603"/>
                <a:gd name="connsiteY0" fmla="*/ 0 h 538326"/>
                <a:gd name="connsiteX1" fmla="*/ 56280 w 337603"/>
                <a:gd name="connsiteY1" fmla="*/ 0 h 538326"/>
                <a:gd name="connsiteX2" fmla="*/ 56280 w 337603"/>
                <a:gd name="connsiteY2" fmla="*/ 101734 h 538326"/>
                <a:gd name="connsiteX3" fmla="*/ 337603 w 337603"/>
                <a:gd name="connsiteY3" fmla="*/ 101734 h 538326"/>
                <a:gd name="connsiteX4" fmla="*/ 337603 w 337603"/>
                <a:gd name="connsiteY4" fmla="*/ 158014 h 538326"/>
                <a:gd name="connsiteX5" fmla="*/ 56280 w 337603"/>
                <a:gd name="connsiteY5" fmla="*/ 158014 h 538326"/>
                <a:gd name="connsiteX6" fmla="*/ 56280 w 337603"/>
                <a:gd name="connsiteY6" fmla="*/ 326815 h 538326"/>
                <a:gd name="connsiteX7" fmla="*/ 337603 w 337603"/>
                <a:gd name="connsiteY7" fmla="*/ 326815 h 538326"/>
                <a:gd name="connsiteX8" fmla="*/ 337603 w 337603"/>
                <a:gd name="connsiteY8" fmla="*/ 383056 h 538326"/>
                <a:gd name="connsiteX9" fmla="*/ 56280 w 337603"/>
                <a:gd name="connsiteY9" fmla="*/ 383056 h 538326"/>
                <a:gd name="connsiteX10" fmla="*/ 56280 w 337603"/>
                <a:gd name="connsiteY10" fmla="*/ 538326 h 538326"/>
                <a:gd name="connsiteX11" fmla="*/ 0 w 337603"/>
                <a:gd name="connsiteY11" fmla="*/ 538326 h 538326"/>
                <a:gd name="connsiteX12" fmla="*/ 0 w 337603"/>
                <a:gd name="connsiteY12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7603" h="538326">
                  <a:moveTo>
                    <a:pt x="0" y="0"/>
                  </a:moveTo>
                  <a:lnTo>
                    <a:pt x="56280" y="0"/>
                  </a:lnTo>
                  <a:lnTo>
                    <a:pt x="56280" y="101734"/>
                  </a:lnTo>
                  <a:lnTo>
                    <a:pt x="337603" y="101734"/>
                  </a:lnTo>
                  <a:lnTo>
                    <a:pt x="337603" y="158014"/>
                  </a:lnTo>
                  <a:lnTo>
                    <a:pt x="56280" y="158014"/>
                  </a:lnTo>
                  <a:lnTo>
                    <a:pt x="56280" y="326815"/>
                  </a:lnTo>
                  <a:lnTo>
                    <a:pt x="337603" y="326815"/>
                  </a:lnTo>
                  <a:lnTo>
                    <a:pt x="337603" y="383056"/>
                  </a:lnTo>
                  <a:lnTo>
                    <a:pt x="56280" y="383056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282D64F2-09BD-412B-BE6C-9D783FE4E047}"/>
                </a:ext>
              </a:extLst>
            </p:cNvPr>
            <p:cNvSpPr/>
            <p:nvPr/>
          </p:nvSpPr>
          <p:spPr>
            <a:xfrm>
              <a:off x="-797368" y="1719597"/>
              <a:ext cx="56280" cy="538326"/>
            </a:xfrm>
            <a:custGeom>
              <a:avLst/>
              <a:gdLst>
                <a:gd name="connsiteX0" fmla="*/ 0 w 56280"/>
                <a:gd name="connsiteY0" fmla="*/ 0 h 538326"/>
                <a:gd name="connsiteX1" fmla="*/ 56280 w 56280"/>
                <a:gd name="connsiteY1" fmla="*/ 0 h 538326"/>
                <a:gd name="connsiteX2" fmla="*/ 56280 w 56280"/>
                <a:gd name="connsiteY2" fmla="*/ 538326 h 538326"/>
                <a:gd name="connsiteX3" fmla="*/ 0 w 56280"/>
                <a:gd name="connsiteY3" fmla="*/ 538326 h 538326"/>
                <a:gd name="connsiteX4" fmla="*/ 0 w 56280"/>
                <a:gd name="connsiteY4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80" h="538326">
                  <a:moveTo>
                    <a:pt x="0" y="0"/>
                  </a:moveTo>
                  <a:lnTo>
                    <a:pt x="56280" y="0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</p:grpSp>
      <p:sp>
        <p:nvSpPr>
          <p:cNvPr id="72" name="Round Same-side Corner of Rectangle 79">
            <a:extLst>
              <a:ext uri="{FF2B5EF4-FFF2-40B4-BE49-F238E27FC236}">
                <a16:creationId xmlns:a16="http://schemas.microsoft.com/office/drawing/2014/main" id="{97E2501B-FFFF-44D8-9459-53482AA604D6}"/>
              </a:ext>
            </a:extLst>
          </p:cNvPr>
          <p:cNvSpPr/>
          <p:nvPr userDrawn="1"/>
        </p:nvSpPr>
        <p:spPr>
          <a:xfrm rot="5400000">
            <a:off x="10613117" y="550943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73" name="TextBox 72">
            <a:hlinkClick r:id="" action="ppaction://noaction"/>
            <a:extLst>
              <a:ext uri="{FF2B5EF4-FFF2-40B4-BE49-F238E27FC236}">
                <a16:creationId xmlns:a16="http://schemas.microsoft.com/office/drawing/2014/main" id="{E9C11F42-54F1-4462-AE2E-ADC449E6441F}"/>
              </a:ext>
            </a:extLst>
          </p:cNvPr>
          <p:cNvSpPr txBox="1"/>
          <p:nvPr userDrawn="1"/>
        </p:nvSpPr>
        <p:spPr>
          <a:xfrm>
            <a:off x="10870644" y="555078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74" name="Round Same-side Corner of Rectangle 79">
            <a:extLst>
              <a:ext uri="{FF2B5EF4-FFF2-40B4-BE49-F238E27FC236}">
                <a16:creationId xmlns:a16="http://schemas.microsoft.com/office/drawing/2014/main" id="{4ECC2310-9155-4172-BCAB-3C8FBF8B2515}"/>
              </a:ext>
            </a:extLst>
          </p:cNvPr>
          <p:cNvSpPr/>
          <p:nvPr userDrawn="1"/>
        </p:nvSpPr>
        <p:spPr>
          <a:xfrm rot="5400000">
            <a:off x="10613117" y="5784862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75" name="TextBox 74">
            <a:hlinkClick r:id="" action="ppaction://noaction"/>
            <a:extLst>
              <a:ext uri="{FF2B5EF4-FFF2-40B4-BE49-F238E27FC236}">
                <a16:creationId xmlns:a16="http://schemas.microsoft.com/office/drawing/2014/main" id="{6B14CAD6-F1F7-4376-9B23-E30FCB93297A}"/>
              </a:ext>
            </a:extLst>
          </p:cNvPr>
          <p:cNvSpPr txBox="1"/>
          <p:nvPr userDrawn="1"/>
        </p:nvSpPr>
        <p:spPr>
          <a:xfrm>
            <a:off x="10870644" y="5826211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76" name="Freeform 25">
            <a:extLst>
              <a:ext uri="{FF2B5EF4-FFF2-40B4-BE49-F238E27FC236}">
                <a16:creationId xmlns:a16="http://schemas.microsoft.com/office/drawing/2014/main" id="{30E6CBC5-7415-4979-84AD-17D6A56DF9A1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5549100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77" name="Round Same-side Corner of Rectangle 79">
            <a:extLst>
              <a:ext uri="{FF2B5EF4-FFF2-40B4-BE49-F238E27FC236}">
                <a16:creationId xmlns:a16="http://schemas.microsoft.com/office/drawing/2014/main" id="{81E4A382-64F1-4D48-8F5A-3C6AB90BD51E}"/>
              </a:ext>
            </a:extLst>
          </p:cNvPr>
          <p:cNvSpPr/>
          <p:nvPr userDrawn="1"/>
        </p:nvSpPr>
        <p:spPr>
          <a:xfrm rot="5400000">
            <a:off x="10615976" y="606635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81" name="TextBox 80">
            <a:hlinkClick r:id="" action="ppaction://noaction"/>
            <a:extLst>
              <a:ext uri="{FF2B5EF4-FFF2-40B4-BE49-F238E27FC236}">
                <a16:creationId xmlns:a16="http://schemas.microsoft.com/office/drawing/2014/main" id="{5E48C19C-B262-45E8-A8A4-4FEB6A09676D}"/>
              </a:ext>
            </a:extLst>
          </p:cNvPr>
          <p:cNvSpPr txBox="1"/>
          <p:nvPr userDrawn="1"/>
        </p:nvSpPr>
        <p:spPr>
          <a:xfrm>
            <a:off x="10873503" y="6107704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82" name="Freeform 21">
            <a:extLst>
              <a:ext uri="{FF2B5EF4-FFF2-40B4-BE49-F238E27FC236}">
                <a16:creationId xmlns:a16="http://schemas.microsoft.com/office/drawing/2014/main" id="{F34F96A5-452D-4CB4-9BBC-D8E6F14A2A05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6115929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83" name="Graphic 28" descr="List">
            <a:extLst>
              <a:ext uri="{FF2B5EF4-FFF2-40B4-BE49-F238E27FC236}">
                <a16:creationId xmlns:a16="http://schemas.microsoft.com/office/drawing/2014/main" id="{DD0279D5-CE91-44E9-9F68-F067F987A15E}"/>
              </a:ext>
            </a:extLst>
          </p:cNvPr>
          <p:cNvGrpSpPr/>
          <p:nvPr userDrawn="1"/>
        </p:nvGrpSpPr>
        <p:grpSpPr>
          <a:xfrm>
            <a:off x="10657446" y="5818069"/>
            <a:ext cx="103548" cy="146640"/>
            <a:chOff x="981871" y="1231905"/>
            <a:chExt cx="246063" cy="317501"/>
          </a:xfrm>
        </p:grpSpPr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25C3C3AF-64DB-451D-8179-24E51CA1B3AD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3BFE4DD-DF56-4F8D-928C-5310970BB24A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370E59D0-FC44-4A5C-B038-A72091D82D21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81945B9-D3E5-46C3-B359-A23B4B4B92AC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C10BDEAE-4E01-4FD3-99DC-2E1A65B3D373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88C4DC23-C34A-4D66-A0AD-89039003CD0D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1C9FA6F5-BFD8-44C0-AD2F-2AEA561BD3C7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AB929321-FF6B-4937-B157-F92EB78962F9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851FB48E-E259-40B9-9414-B96E82648D2A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80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35916527-C17D-467A-AD7D-99DA3F1D85EA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7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5D682633-AE96-4155-9A56-411210A71044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9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F534BD1C-6ADA-42CC-8C11-70812A6BF846}"/>
              </a:ext>
            </a:extLst>
          </p:cNvPr>
          <p:cNvSpPr/>
          <p:nvPr userDrawn="1"/>
        </p:nvSpPr>
        <p:spPr>
          <a:xfrm rot="5400000">
            <a:off x="11280167" y="4840571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0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1051F889-AA4C-4A17-B297-689FB50663B7}"/>
              </a:ext>
            </a:extLst>
          </p:cNvPr>
          <p:cNvSpPr/>
          <p:nvPr userDrawn="1"/>
        </p:nvSpPr>
        <p:spPr>
          <a:xfrm rot="5400000">
            <a:off x="11280167" y="5116475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1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5BF5BD5C-C11B-4EE3-AA7F-422C395B3FEE}"/>
              </a:ext>
            </a:extLst>
          </p:cNvPr>
          <p:cNvSpPr/>
          <p:nvPr userDrawn="1"/>
        </p:nvSpPr>
        <p:spPr>
          <a:xfrm rot="5400000">
            <a:off x="11280167" y="5392379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2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C6C8D6C3-B0FE-4F2C-9314-03E25A352C4B}"/>
              </a:ext>
            </a:extLst>
          </p:cNvPr>
          <p:cNvSpPr/>
          <p:nvPr userDrawn="1"/>
        </p:nvSpPr>
        <p:spPr>
          <a:xfrm rot="5400000">
            <a:off x="11473096" y="1472755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55682B85-7178-4016-AABD-FCB2E4029139}"/>
              </a:ext>
            </a:extLst>
          </p:cNvPr>
          <p:cNvSpPr/>
          <p:nvPr userDrawn="1"/>
        </p:nvSpPr>
        <p:spPr>
          <a:xfrm rot="5400000">
            <a:off x="11473096" y="192820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4" name="Round Same-side Corner of Rectangle 79">
            <a:hlinkClick r:id="rId5" action="ppaction://hlinksldjump"/>
            <a:extLst>
              <a:ext uri="{FF2B5EF4-FFF2-40B4-BE49-F238E27FC236}">
                <a16:creationId xmlns:a16="http://schemas.microsoft.com/office/drawing/2014/main" id="{D5861B3C-CCC9-4E3E-8F74-B48904F7FF04}"/>
              </a:ext>
            </a:extLst>
          </p:cNvPr>
          <p:cNvSpPr/>
          <p:nvPr userDrawn="1"/>
        </p:nvSpPr>
        <p:spPr>
          <a:xfrm rot="5400000">
            <a:off x="11473096" y="2380734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0F01EAD8-2A59-4244-957C-85D9F23D2DAF}"/>
              </a:ext>
            </a:extLst>
          </p:cNvPr>
          <p:cNvSpPr/>
          <p:nvPr userDrawn="1"/>
        </p:nvSpPr>
        <p:spPr>
          <a:xfrm rot="5400000">
            <a:off x="11276956" y="2637122"/>
            <a:ext cx="349171" cy="1474567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6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9C9863FF-F37B-44B3-A61E-F2E17AF2D994}"/>
              </a:ext>
            </a:extLst>
          </p:cNvPr>
          <p:cNvSpPr/>
          <p:nvPr userDrawn="1"/>
        </p:nvSpPr>
        <p:spPr>
          <a:xfrm rot="5400000">
            <a:off x="11473096" y="3285790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7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1CD01D63-53A0-4BEC-998E-202DB6DBFAD6}"/>
              </a:ext>
            </a:extLst>
          </p:cNvPr>
          <p:cNvSpPr/>
          <p:nvPr userDrawn="1"/>
        </p:nvSpPr>
        <p:spPr>
          <a:xfrm rot="5400000">
            <a:off x="11473096" y="3738318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8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A980C901-34F0-42FB-8A7A-9A30F63D22E4}"/>
              </a:ext>
            </a:extLst>
          </p:cNvPr>
          <p:cNvSpPr/>
          <p:nvPr userDrawn="1"/>
        </p:nvSpPr>
        <p:spPr>
          <a:xfrm rot="5400000">
            <a:off x="11473096" y="419084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9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BC345388-9463-4BAB-8203-59DC45561537}"/>
              </a:ext>
            </a:extLst>
          </p:cNvPr>
          <p:cNvSpPr/>
          <p:nvPr userDrawn="1"/>
        </p:nvSpPr>
        <p:spPr>
          <a:xfrm rot="5400000">
            <a:off x="11473096" y="464337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8820217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0286252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Pilla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person&#10;&#10;Description automatically generated">
            <a:extLst>
              <a:ext uri="{FF2B5EF4-FFF2-40B4-BE49-F238E27FC236}">
                <a16:creationId xmlns:a16="http://schemas.microsoft.com/office/drawing/2014/main" id="{228619C2-564A-4C62-9B37-B630D03386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0721" y="0"/>
            <a:ext cx="10288317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52DACC8-F68A-4E7E-B68C-7F1399D9114E}"/>
              </a:ext>
            </a:extLst>
          </p:cNvPr>
          <p:cNvSpPr/>
          <p:nvPr userDrawn="1"/>
        </p:nvSpPr>
        <p:spPr>
          <a:xfrm>
            <a:off x="2072100" y="6705600"/>
            <a:ext cx="8044625" cy="15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800">
                <a:solidFill>
                  <a:schemeClr val="tx1"/>
                </a:solidFill>
                <a:ea typeface="MS PGothic" pitchFamily="34" charset="-128"/>
              </a:rPr>
              <a:t>Pfizer Confidential – Internal Use Only, Not for Further Distribution</a:t>
            </a:r>
            <a:endParaRPr lang="en-US" sz="800">
              <a:solidFill>
                <a:schemeClr val="tx1"/>
              </a:solidFill>
              <a:ea typeface="MS PGothic" pitchFamily="34" charset="-128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C514C5-2143-4E16-837F-CF028230C903}"/>
              </a:ext>
            </a:extLst>
          </p:cNvPr>
          <p:cNvSpPr/>
          <p:nvPr userDrawn="1"/>
        </p:nvSpPr>
        <p:spPr>
          <a:xfrm>
            <a:off x="0" y="0"/>
            <a:ext cx="2011157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E1FD921-B9B9-4E01-8593-A27B37592D89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27281B-F7F1-4E3B-B238-0D64683B763A}"/>
              </a:ext>
            </a:extLst>
          </p:cNvPr>
          <p:cNvSpPr/>
          <p:nvPr userDrawn="1"/>
        </p:nvSpPr>
        <p:spPr>
          <a:xfrm>
            <a:off x="1897132" y="0"/>
            <a:ext cx="138452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3941344-CBA3-46F5-9801-595985401D8A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D2612D66-723A-4927-9CE6-16C13A003646}"/>
              </a:ext>
            </a:extLst>
          </p:cNvPr>
          <p:cNvSpPr/>
          <p:nvPr/>
        </p:nvSpPr>
        <p:spPr>
          <a:xfrm>
            <a:off x="0" y="141677"/>
            <a:ext cx="324007" cy="6853150"/>
          </a:xfrm>
          <a:custGeom>
            <a:avLst/>
            <a:gdLst>
              <a:gd name="connsiteX0" fmla="*/ 0 w 324091"/>
              <a:gd name="connsiteY0" fmla="*/ 6807430 h 6853150"/>
              <a:gd name="connsiteX1" fmla="*/ 81776 w 324091"/>
              <a:gd name="connsiteY1" fmla="*/ 6807430 h 6853150"/>
              <a:gd name="connsiteX2" fmla="*/ 104636 w 324091"/>
              <a:gd name="connsiteY2" fmla="*/ 6830290 h 6853150"/>
              <a:gd name="connsiteX3" fmla="*/ 104635 w 324091"/>
              <a:gd name="connsiteY3" fmla="*/ 6830290 h 6853150"/>
              <a:gd name="connsiteX4" fmla="*/ 81775 w 324091"/>
              <a:gd name="connsiteY4" fmla="*/ 6853150 h 6853150"/>
              <a:gd name="connsiteX5" fmla="*/ 0 w 324091"/>
              <a:gd name="connsiteY5" fmla="*/ 6853150 h 6853150"/>
              <a:gd name="connsiteX6" fmla="*/ 0 w 324091"/>
              <a:gd name="connsiteY6" fmla="*/ 6653902 h 6853150"/>
              <a:gd name="connsiteX7" fmla="*/ 173216 w 324091"/>
              <a:gd name="connsiteY7" fmla="*/ 6653902 h 6853150"/>
              <a:gd name="connsiteX8" fmla="*/ 196076 w 324091"/>
              <a:gd name="connsiteY8" fmla="*/ 6676762 h 6853150"/>
              <a:gd name="connsiteX9" fmla="*/ 196075 w 324091"/>
              <a:gd name="connsiteY9" fmla="*/ 6676762 h 6853150"/>
              <a:gd name="connsiteX10" fmla="*/ 173215 w 324091"/>
              <a:gd name="connsiteY10" fmla="*/ 6699622 h 6853150"/>
              <a:gd name="connsiteX11" fmla="*/ 0 w 324091"/>
              <a:gd name="connsiteY11" fmla="*/ 6699622 h 6853150"/>
              <a:gd name="connsiteX12" fmla="*/ 0 w 324091"/>
              <a:gd name="connsiteY12" fmla="*/ 6500374 h 6853150"/>
              <a:gd name="connsiteX13" fmla="*/ 81776 w 324091"/>
              <a:gd name="connsiteY13" fmla="*/ 6500374 h 6853150"/>
              <a:gd name="connsiteX14" fmla="*/ 104636 w 324091"/>
              <a:gd name="connsiteY14" fmla="*/ 6523234 h 6853150"/>
              <a:gd name="connsiteX15" fmla="*/ 104635 w 324091"/>
              <a:gd name="connsiteY15" fmla="*/ 6523234 h 6853150"/>
              <a:gd name="connsiteX16" fmla="*/ 81775 w 324091"/>
              <a:gd name="connsiteY16" fmla="*/ 6546094 h 6853150"/>
              <a:gd name="connsiteX17" fmla="*/ 0 w 324091"/>
              <a:gd name="connsiteY17" fmla="*/ 6546094 h 6853150"/>
              <a:gd name="connsiteX18" fmla="*/ 0 w 324091"/>
              <a:gd name="connsiteY18" fmla="*/ 6302591 h 6853150"/>
              <a:gd name="connsiteX19" fmla="*/ 279104 w 324091"/>
              <a:gd name="connsiteY19" fmla="*/ 6302591 h 6853150"/>
              <a:gd name="connsiteX20" fmla="*/ 324091 w 324091"/>
              <a:gd name="connsiteY20" fmla="*/ 6347578 h 6853150"/>
              <a:gd name="connsiteX21" fmla="*/ 279104 w 324091"/>
              <a:gd name="connsiteY21" fmla="*/ 6392565 h 6853150"/>
              <a:gd name="connsiteX22" fmla="*/ 0 w 324091"/>
              <a:gd name="connsiteY22" fmla="*/ 6392565 h 6853150"/>
              <a:gd name="connsiteX23" fmla="*/ 0 w 324091"/>
              <a:gd name="connsiteY23" fmla="*/ 6124755 h 6853150"/>
              <a:gd name="connsiteX24" fmla="*/ 81776 w 324091"/>
              <a:gd name="connsiteY24" fmla="*/ 6124755 h 6853150"/>
              <a:gd name="connsiteX25" fmla="*/ 104636 w 324091"/>
              <a:gd name="connsiteY25" fmla="*/ 6147615 h 6853150"/>
              <a:gd name="connsiteX26" fmla="*/ 104635 w 324091"/>
              <a:gd name="connsiteY26" fmla="*/ 6147615 h 6853150"/>
              <a:gd name="connsiteX27" fmla="*/ 81775 w 324091"/>
              <a:gd name="connsiteY27" fmla="*/ 6170475 h 6853150"/>
              <a:gd name="connsiteX28" fmla="*/ 0 w 324091"/>
              <a:gd name="connsiteY28" fmla="*/ 6170475 h 6853150"/>
              <a:gd name="connsiteX29" fmla="*/ 0 w 324091"/>
              <a:gd name="connsiteY29" fmla="*/ 5971227 h 6853150"/>
              <a:gd name="connsiteX30" fmla="*/ 173216 w 324091"/>
              <a:gd name="connsiteY30" fmla="*/ 5971227 h 6853150"/>
              <a:gd name="connsiteX31" fmla="*/ 196076 w 324091"/>
              <a:gd name="connsiteY31" fmla="*/ 5994087 h 6853150"/>
              <a:gd name="connsiteX32" fmla="*/ 196075 w 324091"/>
              <a:gd name="connsiteY32" fmla="*/ 5994087 h 6853150"/>
              <a:gd name="connsiteX33" fmla="*/ 173215 w 324091"/>
              <a:gd name="connsiteY33" fmla="*/ 6016947 h 6853150"/>
              <a:gd name="connsiteX34" fmla="*/ 0 w 324091"/>
              <a:gd name="connsiteY34" fmla="*/ 6016947 h 6853150"/>
              <a:gd name="connsiteX35" fmla="*/ 0 w 324091"/>
              <a:gd name="connsiteY35" fmla="*/ 5817699 h 6853150"/>
              <a:gd name="connsiteX36" fmla="*/ 81776 w 324091"/>
              <a:gd name="connsiteY36" fmla="*/ 5817699 h 6853150"/>
              <a:gd name="connsiteX37" fmla="*/ 104636 w 324091"/>
              <a:gd name="connsiteY37" fmla="*/ 5840559 h 6853150"/>
              <a:gd name="connsiteX38" fmla="*/ 104635 w 324091"/>
              <a:gd name="connsiteY38" fmla="*/ 5840559 h 6853150"/>
              <a:gd name="connsiteX39" fmla="*/ 81775 w 324091"/>
              <a:gd name="connsiteY39" fmla="*/ 5863419 h 6853150"/>
              <a:gd name="connsiteX40" fmla="*/ 0 w 324091"/>
              <a:gd name="connsiteY40" fmla="*/ 5863419 h 6853150"/>
              <a:gd name="connsiteX41" fmla="*/ 0 w 324091"/>
              <a:gd name="connsiteY41" fmla="*/ 5619916 h 6853150"/>
              <a:gd name="connsiteX42" fmla="*/ 279104 w 324091"/>
              <a:gd name="connsiteY42" fmla="*/ 5619916 h 6853150"/>
              <a:gd name="connsiteX43" fmla="*/ 324091 w 324091"/>
              <a:gd name="connsiteY43" fmla="*/ 5664903 h 6853150"/>
              <a:gd name="connsiteX44" fmla="*/ 279104 w 324091"/>
              <a:gd name="connsiteY44" fmla="*/ 5709890 h 6853150"/>
              <a:gd name="connsiteX45" fmla="*/ 0 w 324091"/>
              <a:gd name="connsiteY45" fmla="*/ 5709890 h 6853150"/>
              <a:gd name="connsiteX46" fmla="*/ 0 w 324091"/>
              <a:gd name="connsiteY46" fmla="*/ 5442077 h 6853150"/>
              <a:gd name="connsiteX47" fmla="*/ 81776 w 324091"/>
              <a:gd name="connsiteY47" fmla="*/ 5442077 h 6853150"/>
              <a:gd name="connsiteX48" fmla="*/ 104636 w 324091"/>
              <a:gd name="connsiteY48" fmla="*/ 5464937 h 6853150"/>
              <a:gd name="connsiteX49" fmla="*/ 104635 w 324091"/>
              <a:gd name="connsiteY49" fmla="*/ 5464937 h 6853150"/>
              <a:gd name="connsiteX50" fmla="*/ 81775 w 324091"/>
              <a:gd name="connsiteY50" fmla="*/ 5487797 h 6853150"/>
              <a:gd name="connsiteX51" fmla="*/ 0 w 324091"/>
              <a:gd name="connsiteY51" fmla="*/ 5487797 h 6853150"/>
              <a:gd name="connsiteX52" fmla="*/ 0 w 324091"/>
              <a:gd name="connsiteY52" fmla="*/ 5288549 h 6853150"/>
              <a:gd name="connsiteX53" fmla="*/ 173216 w 324091"/>
              <a:gd name="connsiteY53" fmla="*/ 5288549 h 6853150"/>
              <a:gd name="connsiteX54" fmla="*/ 196076 w 324091"/>
              <a:gd name="connsiteY54" fmla="*/ 5311409 h 6853150"/>
              <a:gd name="connsiteX55" fmla="*/ 196075 w 324091"/>
              <a:gd name="connsiteY55" fmla="*/ 5311409 h 6853150"/>
              <a:gd name="connsiteX56" fmla="*/ 173215 w 324091"/>
              <a:gd name="connsiteY56" fmla="*/ 5334269 h 6853150"/>
              <a:gd name="connsiteX57" fmla="*/ 0 w 324091"/>
              <a:gd name="connsiteY57" fmla="*/ 5334269 h 6853150"/>
              <a:gd name="connsiteX58" fmla="*/ 0 w 324091"/>
              <a:gd name="connsiteY58" fmla="*/ 5135021 h 6853150"/>
              <a:gd name="connsiteX59" fmla="*/ 81776 w 324091"/>
              <a:gd name="connsiteY59" fmla="*/ 5135021 h 6853150"/>
              <a:gd name="connsiteX60" fmla="*/ 104636 w 324091"/>
              <a:gd name="connsiteY60" fmla="*/ 5157881 h 6853150"/>
              <a:gd name="connsiteX61" fmla="*/ 104635 w 324091"/>
              <a:gd name="connsiteY61" fmla="*/ 5157881 h 6853150"/>
              <a:gd name="connsiteX62" fmla="*/ 81775 w 324091"/>
              <a:gd name="connsiteY62" fmla="*/ 5180741 h 6853150"/>
              <a:gd name="connsiteX63" fmla="*/ 0 w 324091"/>
              <a:gd name="connsiteY63" fmla="*/ 5180741 h 6853150"/>
              <a:gd name="connsiteX64" fmla="*/ 0 w 324091"/>
              <a:gd name="connsiteY64" fmla="*/ 4937238 h 6853150"/>
              <a:gd name="connsiteX65" fmla="*/ 279104 w 324091"/>
              <a:gd name="connsiteY65" fmla="*/ 4937238 h 6853150"/>
              <a:gd name="connsiteX66" fmla="*/ 324091 w 324091"/>
              <a:gd name="connsiteY66" fmla="*/ 4982225 h 6853150"/>
              <a:gd name="connsiteX67" fmla="*/ 279104 w 324091"/>
              <a:gd name="connsiteY67" fmla="*/ 5027212 h 6853150"/>
              <a:gd name="connsiteX68" fmla="*/ 0 w 324091"/>
              <a:gd name="connsiteY68" fmla="*/ 5027212 h 6853150"/>
              <a:gd name="connsiteX69" fmla="*/ 0 w 324091"/>
              <a:gd name="connsiteY69" fmla="*/ 4759399 h 6853150"/>
              <a:gd name="connsiteX70" fmla="*/ 81776 w 324091"/>
              <a:gd name="connsiteY70" fmla="*/ 4759399 h 6853150"/>
              <a:gd name="connsiteX71" fmla="*/ 104636 w 324091"/>
              <a:gd name="connsiteY71" fmla="*/ 4782259 h 6853150"/>
              <a:gd name="connsiteX72" fmla="*/ 104635 w 324091"/>
              <a:gd name="connsiteY72" fmla="*/ 4782259 h 6853150"/>
              <a:gd name="connsiteX73" fmla="*/ 81775 w 324091"/>
              <a:gd name="connsiteY73" fmla="*/ 4805119 h 6853150"/>
              <a:gd name="connsiteX74" fmla="*/ 0 w 324091"/>
              <a:gd name="connsiteY74" fmla="*/ 4805119 h 6853150"/>
              <a:gd name="connsiteX75" fmla="*/ 0 w 324091"/>
              <a:gd name="connsiteY75" fmla="*/ 4605871 h 6853150"/>
              <a:gd name="connsiteX76" fmla="*/ 173216 w 324091"/>
              <a:gd name="connsiteY76" fmla="*/ 4605871 h 6853150"/>
              <a:gd name="connsiteX77" fmla="*/ 196076 w 324091"/>
              <a:gd name="connsiteY77" fmla="*/ 4628731 h 6853150"/>
              <a:gd name="connsiteX78" fmla="*/ 196075 w 324091"/>
              <a:gd name="connsiteY78" fmla="*/ 4628731 h 6853150"/>
              <a:gd name="connsiteX79" fmla="*/ 173215 w 324091"/>
              <a:gd name="connsiteY79" fmla="*/ 4651591 h 6853150"/>
              <a:gd name="connsiteX80" fmla="*/ 0 w 324091"/>
              <a:gd name="connsiteY80" fmla="*/ 4651591 h 6853150"/>
              <a:gd name="connsiteX81" fmla="*/ 0 w 324091"/>
              <a:gd name="connsiteY81" fmla="*/ 4452343 h 6853150"/>
              <a:gd name="connsiteX82" fmla="*/ 81776 w 324091"/>
              <a:gd name="connsiteY82" fmla="*/ 4452343 h 6853150"/>
              <a:gd name="connsiteX83" fmla="*/ 104636 w 324091"/>
              <a:gd name="connsiteY83" fmla="*/ 4475203 h 6853150"/>
              <a:gd name="connsiteX84" fmla="*/ 104635 w 324091"/>
              <a:gd name="connsiteY84" fmla="*/ 4475203 h 6853150"/>
              <a:gd name="connsiteX85" fmla="*/ 81775 w 324091"/>
              <a:gd name="connsiteY85" fmla="*/ 4498063 h 6853150"/>
              <a:gd name="connsiteX86" fmla="*/ 0 w 324091"/>
              <a:gd name="connsiteY86" fmla="*/ 4498063 h 6853150"/>
              <a:gd name="connsiteX87" fmla="*/ 0 w 324091"/>
              <a:gd name="connsiteY87" fmla="*/ 4254560 h 6853150"/>
              <a:gd name="connsiteX88" fmla="*/ 279104 w 324091"/>
              <a:gd name="connsiteY88" fmla="*/ 4254560 h 6853150"/>
              <a:gd name="connsiteX89" fmla="*/ 324091 w 324091"/>
              <a:gd name="connsiteY89" fmla="*/ 4299547 h 6853150"/>
              <a:gd name="connsiteX90" fmla="*/ 279104 w 324091"/>
              <a:gd name="connsiteY90" fmla="*/ 4344534 h 6853150"/>
              <a:gd name="connsiteX91" fmla="*/ 0 w 324091"/>
              <a:gd name="connsiteY91" fmla="*/ 4344534 h 6853150"/>
              <a:gd name="connsiteX92" fmla="*/ 0 w 324091"/>
              <a:gd name="connsiteY92" fmla="*/ 4076721 h 6853150"/>
              <a:gd name="connsiteX93" fmla="*/ 81776 w 324091"/>
              <a:gd name="connsiteY93" fmla="*/ 4076721 h 6853150"/>
              <a:gd name="connsiteX94" fmla="*/ 104636 w 324091"/>
              <a:gd name="connsiteY94" fmla="*/ 4099581 h 6853150"/>
              <a:gd name="connsiteX95" fmla="*/ 104635 w 324091"/>
              <a:gd name="connsiteY95" fmla="*/ 4099581 h 6853150"/>
              <a:gd name="connsiteX96" fmla="*/ 81775 w 324091"/>
              <a:gd name="connsiteY96" fmla="*/ 4122441 h 6853150"/>
              <a:gd name="connsiteX97" fmla="*/ 0 w 324091"/>
              <a:gd name="connsiteY97" fmla="*/ 4122441 h 6853150"/>
              <a:gd name="connsiteX98" fmla="*/ 0 w 324091"/>
              <a:gd name="connsiteY98" fmla="*/ 3923193 h 6853150"/>
              <a:gd name="connsiteX99" fmla="*/ 173216 w 324091"/>
              <a:gd name="connsiteY99" fmla="*/ 3923193 h 6853150"/>
              <a:gd name="connsiteX100" fmla="*/ 196076 w 324091"/>
              <a:gd name="connsiteY100" fmla="*/ 3946053 h 6853150"/>
              <a:gd name="connsiteX101" fmla="*/ 196075 w 324091"/>
              <a:gd name="connsiteY101" fmla="*/ 3946053 h 6853150"/>
              <a:gd name="connsiteX102" fmla="*/ 173215 w 324091"/>
              <a:gd name="connsiteY102" fmla="*/ 3968913 h 6853150"/>
              <a:gd name="connsiteX103" fmla="*/ 0 w 324091"/>
              <a:gd name="connsiteY103" fmla="*/ 3968913 h 6853150"/>
              <a:gd name="connsiteX104" fmla="*/ 0 w 324091"/>
              <a:gd name="connsiteY104" fmla="*/ 3769665 h 6853150"/>
              <a:gd name="connsiteX105" fmla="*/ 81776 w 324091"/>
              <a:gd name="connsiteY105" fmla="*/ 3769665 h 6853150"/>
              <a:gd name="connsiteX106" fmla="*/ 104636 w 324091"/>
              <a:gd name="connsiteY106" fmla="*/ 3792525 h 6853150"/>
              <a:gd name="connsiteX107" fmla="*/ 104635 w 324091"/>
              <a:gd name="connsiteY107" fmla="*/ 3792525 h 6853150"/>
              <a:gd name="connsiteX108" fmla="*/ 81775 w 324091"/>
              <a:gd name="connsiteY108" fmla="*/ 3815385 h 6853150"/>
              <a:gd name="connsiteX109" fmla="*/ 0 w 324091"/>
              <a:gd name="connsiteY109" fmla="*/ 3815385 h 6853150"/>
              <a:gd name="connsiteX110" fmla="*/ 0 w 324091"/>
              <a:gd name="connsiteY110" fmla="*/ 3571882 h 6853150"/>
              <a:gd name="connsiteX111" fmla="*/ 279104 w 324091"/>
              <a:gd name="connsiteY111" fmla="*/ 3571882 h 6853150"/>
              <a:gd name="connsiteX112" fmla="*/ 324091 w 324091"/>
              <a:gd name="connsiteY112" fmla="*/ 3616869 h 6853150"/>
              <a:gd name="connsiteX113" fmla="*/ 279104 w 324091"/>
              <a:gd name="connsiteY113" fmla="*/ 3661856 h 6853150"/>
              <a:gd name="connsiteX114" fmla="*/ 0 w 324091"/>
              <a:gd name="connsiteY114" fmla="*/ 3661856 h 6853150"/>
              <a:gd name="connsiteX115" fmla="*/ 0 w 324091"/>
              <a:gd name="connsiteY115" fmla="*/ 3394043 h 6853150"/>
              <a:gd name="connsiteX116" fmla="*/ 81776 w 324091"/>
              <a:gd name="connsiteY116" fmla="*/ 3394043 h 6853150"/>
              <a:gd name="connsiteX117" fmla="*/ 104636 w 324091"/>
              <a:gd name="connsiteY117" fmla="*/ 3416905 h 6853150"/>
              <a:gd name="connsiteX118" fmla="*/ 104635 w 324091"/>
              <a:gd name="connsiteY118" fmla="*/ 3416905 h 6853150"/>
              <a:gd name="connsiteX119" fmla="*/ 81775 w 324091"/>
              <a:gd name="connsiteY119" fmla="*/ 3439763 h 6853150"/>
              <a:gd name="connsiteX120" fmla="*/ 0 w 324091"/>
              <a:gd name="connsiteY120" fmla="*/ 3439763 h 6853150"/>
              <a:gd name="connsiteX121" fmla="*/ 0 w 324091"/>
              <a:gd name="connsiteY121" fmla="*/ 3240516 h 6853150"/>
              <a:gd name="connsiteX122" fmla="*/ 173216 w 324091"/>
              <a:gd name="connsiteY122" fmla="*/ 3240516 h 6853150"/>
              <a:gd name="connsiteX123" fmla="*/ 196076 w 324091"/>
              <a:gd name="connsiteY123" fmla="*/ 3263376 h 6853150"/>
              <a:gd name="connsiteX124" fmla="*/ 196075 w 324091"/>
              <a:gd name="connsiteY124" fmla="*/ 3263376 h 6853150"/>
              <a:gd name="connsiteX125" fmla="*/ 173215 w 324091"/>
              <a:gd name="connsiteY125" fmla="*/ 3286236 h 6853150"/>
              <a:gd name="connsiteX126" fmla="*/ 0 w 324091"/>
              <a:gd name="connsiteY126" fmla="*/ 3286236 h 6853150"/>
              <a:gd name="connsiteX127" fmla="*/ 0 w 324091"/>
              <a:gd name="connsiteY127" fmla="*/ 3086989 h 6853150"/>
              <a:gd name="connsiteX128" fmla="*/ 81776 w 324091"/>
              <a:gd name="connsiteY128" fmla="*/ 3086989 h 6853150"/>
              <a:gd name="connsiteX129" fmla="*/ 104636 w 324091"/>
              <a:gd name="connsiteY129" fmla="*/ 3109849 h 6853150"/>
              <a:gd name="connsiteX130" fmla="*/ 104635 w 324091"/>
              <a:gd name="connsiteY130" fmla="*/ 3109849 h 6853150"/>
              <a:gd name="connsiteX131" fmla="*/ 81775 w 324091"/>
              <a:gd name="connsiteY131" fmla="*/ 3132709 h 6853150"/>
              <a:gd name="connsiteX132" fmla="*/ 0 w 324091"/>
              <a:gd name="connsiteY132" fmla="*/ 3132709 h 6853150"/>
              <a:gd name="connsiteX133" fmla="*/ 0 w 324091"/>
              <a:gd name="connsiteY133" fmla="*/ 2889206 h 6853150"/>
              <a:gd name="connsiteX134" fmla="*/ 279104 w 324091"/>
              <a:gd name="connsiteY134" fmla="*/ 2889206 h 6853150"/>
              <a:gd name="connsiteX135" fmla="*/ 324091 w 324091"/>
              <a:gd name="connsiteY135" fmla="*/ 2934194 h 6853150"/>
              <a:gd name="connsiteX136" fmla="*/ 279104 w 324091"/>
              <a:gd name="connsiteY136" fmla="*/ 2979180 h 6853150"/>
              <a:gd name="connsiteX137" fmla="*/ 0 w 324091"/>
              <a:gd name="connsiteY137" fmla="*/ 2979180 h 6853150"/>
              <a:gd name="connsiteX138" fmla="*/ 0 w 324091"/>
              <a:gd name="connsiteY138" fmla="*/ 2711367 h 6853150"/>
              <a:gd name="connsiteX139" fmla="*/ 81776 w 324091"/>
              <a:gd name="connsiteY139" fmla="*/ 2711367 h 6853150"/>
              <a:gd name="connsiteX140" fmla="*/ 104636 w 324091"/>
              <a:gd name="connsiteY140" fmla="*/ 2734227 h 6853150"/>
              <a:gd name="connsiteX141" fmla="*/ 104635 w 324091"/>
              <a:gd name="connsiteY141" fmla="*/ 2734227 h 6853150"/>
              <a:gd name="connsiteX142" fmla="*/ 81775 w 324091"/>
              <a:gd name="connsiteY142" fmla="*/ 2757087 h 6853150"/>
              <a:gd name="connsiteX143" fmla="*/ 0 w 324091"/>
              <a:gd name="connsiteY143" fmla="*/ 2757087 h 6853150"/>
              <a:gd name="connsiteX144" fmla="*/ 0 w 324091"/>
              <a:gd name="connsiteY144" fmla="*/ 2557839 h 6853150"/>
              <a:gd name="connsiteX145" fmla="*/ 173216 w 324091"/>
              <a:gd name="connsiteY145" fmla="*/ 2557839 h 6853150"/>
              <a:gd name="connsiteX146" fmla="*/ 196076 w 324091"/>
              <a:gd name="connsiteY146" fmla="*/ 2580699 h 6853150"/>
              <a:gd name="connsiteX147" fmla="*/ 196075 w 324091"/>
              <a:gd name="connsiteY147" fmla="*/ 2580699 h 6853150"/>
              <a:gd name="connsiteX148" fmla="*/ 173215 w 324091"/>
              <a:gd name="connsiteY148" fmla="*/ 2603559 h 6853150"/>
              <a:gd name="connsiteX149" fmla="*/ 0 w 324091"/>
              <a:gd name="connsiteY149" fmla="*/ 2603559 h 6853150"/>
              <a:gd name="connsiteX150" fmla="*/ 0 w 324091"/>
              <a:gd name="connsiteY150" fmla="*/ 2404312 h 6853150"/>
              <a:gd name="connsiteX151" fmla="*/ 81776 w 324091"/>
              <a:gd name="connsiteY151" fmla="*/ 2404312 h 6853150"/>
              <a:gd name="connsiteX152" fmla="*/ 104636 w 324091"/>
              <a:gd name="connsiteY152" fmla="*/ 2427171 h 6853150"/>
              <a:gd name="connsiteX153" fmla="*/ 104635 w 324091"/>
              <a:gd name="connsiteY153" fmla="*/ 2427171 h 6853150"/>
              <a:gd name="connsiteX154" fmla="*/ 81775 w 324091"/>
              <a:gd name="connsiteY154" fmla="*/ 2450032 h 6853150"/>
              <a:gd name="connsiteX155" fmla="*/ 0 w 324091"/>
              <a:gd name="connsiteY155" fmla="*/ 2450032 h 6853150"/>
              <a:gd name="connsiteX156" fmla="*/ 0 w 324091"/>
              <a:gd name="connsiteY156" fmla="*/ 2206528 h 6853150"/>
              <a:gd name="connsiteX157" fmla="*/ 279104 w 324091"/>
              <a:gd name="connsiteY157" fmla="*/ 2206528 h 6853150"/>
              <a:gd name="connsiteX158" fmla="*/ 324091 w 324091"/>
              <a:gd name="connsiteY158" fmla="*/ 2251515 h 6853150"/>
              <a:gd name="connsiteX159" fmla="*/ 279104 w 324091"/>
              <a:gd name="connsiteY159" fmla="*/ 2296503 h 6853150"/>
              <a:gd name="connsiteX160" fmla="*/ 0 w 324091"/>
              <a:gd name="connsiteY160" fmla="*/ 2296503 h 6853150"/>
              <a:gd name="connsiteX161" fmla="*/ 0 w 324091"/>
              <a:gd name="connsiteY161" fmla="*/ 2028689 h 6853150"/>
              <a:gd name="connsiteX162" fmla="*/ 81776 w 324091"/>
              <a:gd name="connsiteY162" fmla="*/ 2028689 h 6853150"/>
              <a:gd name="connsiteX163" fmla="*/ 104636 w 324091"/>
              <a:gd name="connsiteY163" fmla="*/ 2051550 h 6853150"/>
              <a:gd name="connsiteX164" fmla="*/ 104635 w 324091"/>
              <a:gd name="connsiteY164" fmla="*/ 2051550 h 6853150"/>
              <a:gd name="connsiteX165" fmla="*/ 81775 w 324091"/>
              <a:gd name="connsiteY165" fmla="*/ 2074409 h 6853150"/>
              <a:gd name="connsiteX166" fmla="*/ 0 w 324091"/>
              <a:gd name="connsiteY166" fmla="*/ 2074409 h 6853150"/>
              <a:gd name="connsiteX167" fmla="*/ 0 w 324091"/>
              <a:gd name="connsiteY167" fmla="*/ 1875162 h 6853150"/>
              <a:gd name="connsiteX168" fmla="*/ 173216 w 324091"/>
              <a:gd name="connsiteY168" fmla="*/ 1875162 h 6853150"/>
              <a:gd name="connsiteX169" fmla="*/ 196076 w 324091"/>
              <a:gd name="connsiteY169" fmla="*/ 1898022 h 6853150"/>
              <a:gd name="connsiteX170" fmla="*/ 196075 w 324091"/>
              <a:gd name="connsiteY170" fmla="*/ 1898022 h 6853150"/>
              <a:gd name="connsiteX171" fmla="*/ 173215 w 324091"/>
              <a:gd name="connsiteY171" fmla="*/ 1920882 h 6853150"/>
              <a:gd name="connsiteX172" fmla="*/ 0 w 324091"/>
              <a:gd name="connsiteY172" fmla="*/ 1920882 h 6853150"/>
              <a:gd name="connsiteX173" fmla="*/ 0 w 324091"/>
              <a:gd name="connsiteY173" fmla="*/ 1721635 h 6853150"/>
              <a:gd name="connsiteX174" fmla="*/ 81776 w 324091"/>
              <a:gd name="connsiteY174" fmla="*/ 1721635 h 6853150"/>
              <a:gd name="connsiteX175" fmla="*/ 104636 w 324091"/>
              <a:gd name="connsiteY175" fmla="*/ 1744495 h 6853150"/>
              <a:gd name="connsiteX176" fmla="*/ 104635 w 324091"/>
              <a:gd name="connsiteY176" fmla="*/ 1744495 h 6853150"/>
              <a:gd name="connsiteX177" fmla="*/ 81775 w 324091"/>
              <a:gd name="connsiteY177" fmla="*/ 1767355 h 6853150"/>
              <a:gd name="connsiteX178" fmla="*/ 0 w 324091"/>
              <a:gd name="connsiteY178" fmla="*/ 1767355 h 6853150"/>
              <a:gd name="connsiteX179" fmla="*/ 0 w 324091"/>
              <a:gd name="connsiteY179" fmla="*/ 1523851 h 6853150"/>
              <a:gd name="connsiteX180" fmla="*/ 279104 w 324091"/>
              <a:gd name="connsiteY180" fmla="*/ 1523851 h 6853150"/>
              <a:gd name="connsiteX181" fmla="*/ 324091 w 324091"/>
              <a:gd name="connsiteY181" fmla="*/ 1568838 h 6853150"/>
              <a:gd name="connsiteX182" fmla="*/ 279104 w 324091"/>
              <a:gd name="connsiteY182" fmla="*/ 1613826 h 6853150"/>
              <a:gd name="connsiteX183" fmla="*/ 0 w 324091"/>
              <a:gd name="connsiteY183" fmla="*/ 1613826 h 6853150"/>
              <a:gd name="connsiteX184" fmla="*/ 0 w 324091"/>
              <a:gd name="connsiteY184" fmla="*/ 1346012 h 6853150"/>
              <a:gd name="connsiteX185" fmla="*/ 81776 w 324091"/>
              <a:gd name="connsiteY185" fmla="*/ 1346012 h 6853150"/>
              <a:gd name="connsiteX186" fmla="*/ 104636 w 324091"/>
              <a:gd name="connsiteY186" fmla="*/ 1368872 h 6853150"/>
              <a:gd name="connsiteX187" fmla="*/ 104635 w 324091"/>
              <a:gd name="connsiteY187" fmla="*/ 1368872 h 6853150"/>
              <a:gd name="connsiteX188" fmla="*/ 81775 w 324091"/>
              <a:gd name="connsiteY188" fmla="*/ 1391732 h 6853150"/>
              <a:gd name="connsiteX189" fmla="*/ 0 w 324091"/>
              <a:gd name="connsiteY189" fmla="*/ 1391732 h 6853150"/>
              <a:gd name="connsiteX190" fmla="*/ 0 w 324091"/>
              <a:gd name="connsiteY190" fmla="*/ 1192484 h 6853150"/>
              <a:gd name="connsiteX191" fmla="*/ 173216 w 324091"/>
              <a:gd name="connsiteY191" fmla="*/ 1192484 h 6853150"/>
              <a:gd name="connsiteX192" fmla="*/ 196076 w 324091"/>
              <a:gd name="connsiteY192" fmla="*/ 1215344 h 6853150"/>
              <a:gd name="connsiteX193" fmla="*/ 196075 w 324091"/>
              <a:gd name="connsiteY193" fmla="*/ 1215344 h 6853150"/>
              <a:gd name="connsiteX194" fmla="*/ 173215 w 324091"/>
              <a:gd name="connsiteY194" fmla="*/ 1238205 h 6853150"/>
              <a:gd name="connsiteX195" fmla="*/ 0 w 324091"/>
              <a:gd name="connsiteY195" fmla="*/ 1238205 h 6853150"/>
              <a:gd name="connsiteX196" fmla="*/ 0 w 324091"/>
              <a:gd name="connsiteY196" fmla="*/ 1038956 h 6853150"/>
              <a:gd name="connsiteX197" fmla="*/ 81776 w 324091"/>
              <a:gd name="connsiteY197" fmla="*/ 1038956 h 6853150"/>
              <a:gd name="connsiteX198" fmla="*/ 104636 w 324091"/>
              <a:gd name="connsiteY198" fmla="*/ 1061817 h 6853150"/>
              <a:gd name="connsiteX199" fmla="*/ 104635 w 324091"/>
              <a:gd name="connsiteY199" fmla="*/ 1061817 h 6853150"/>
              <a:gd name="connsiteX200" fmla="*/ 81775 w 324091"/>
              <a:gd name="connsiteY200" fmla="*/ 1084677 h 6853150"/>
              <a:gd name="connsiteX201" fmla="*/ 0 w 324091"/>
              <a:gd name="connsiteY201" fmla="*/ 1084677 h 6853150"/>
              <a:gd name="connsiteX202" fmla="*/ 0 w 324091"/>
              <a:gd name="connsiteY202" fmla="*/ 841173 h 6853150"/>
              <a:gd name="connsiteX203" fmla="*/ 279104 w 324091"/>
              <a:gd name="connsiteY203" fmla="*/ 841173 h 6853150"/>
              <a:gd name="connsiteX204" fmla="*/ 324091 w 324091"/>
              <a:gd name="connsiteY204" fmla="*/ 886160 h 6853150"/>
              <a:gd name="connsiteX205" fmla="*/ 279104 w 324091"/>
              <a:gd name="connsiteY205" fmla="*/ 931147 h 6853150"/>
              <a:gd name="connsiteX206" fmla="*/ 0 w 324091"/>
              <a:gd name="connsiteY206" fmla="*/ 931147 h 6853150"/>
              <a:gd name="connsiteX207" fmla="*/ 0 w 324091"/>
              <a:gd name="connsiteY207" fmla="*/ 663334 h 6853150"/>
              <a:gd name="connsiteX208" fmla="*/ 81776 w 324091"/>
              <a:gd name="connsiteY208" fmla="*/ 663334 h 6853150"/>
              <a:gd name="connsiteX209" fmla="*/ 104636 w 324091"/>
              <a:gd name="connsiteY209" fmla="*/ 686194 h 6853150"/>
              <a:gd name="connsiteX210" fmla="*/ 104635 w 324091"/>
              <a:gd name="connsiteY210" fmla="*/ 686194 h 6853150"/>
              <a:gd name="connsiteX211" fmla="*/ 81775 w 324091"/>
              <a:gd name="connsiteY211" fmla="*/ 709054 h 6853150"/>
              <a:gd name="connsiteX212" fmla="*/ 0 w 324091"/>
              <a:gd name="connsiteY212" fmla="*/ 709054 h 6853150"/>
              <a:gd name="connsiteX213" fmla="*/ 0 w 324091"/>
              <a:gd name="connsiteY213" fmla="*/ 509806 h 6853150"/>
              <a:gd name="connsiteX214" fmla="*/ 173216 w 324091"/>
              <a:gd name="connsiteY214" fmla="*/ 509806 h 6853150"/>
              <a:gd name="connsiteX215" fmla="*/ 196076 w 324091"/>
              <a:gd name="connsiteY215" fmla="*/ 532666 h 6853150"/>
              <a:gd name="connsiteX216" fmla="*/ 196075 w 324091"/>
              <a:gd name="connsiteY216" fmla="*/ 532666 h 6853150"/>
              <a:gd name="connsiteX217" fmla="*/ 173215 w 324091"/>
              <a:gd name="connsiteY217" fmla="*/ 555526 h 6853150"/>
              <a:gd name="connsiteX218" fmla="*/ 0 w 324091"/>
              <a:gd name="connsiteY218" fmla="*/ 555526 h 6853150"/>
              <a:gd name="connsiteX219" fmla="*/ 0 w 324091"/>
              <a:gd name="connsiteY219" fmla="*/ 356279 h 6853150"/>
              <a:gd name="connsiteX220" fmla="*/ 81776 w 324091"/>
              <a:gd name="connsiteY220" fmla="*/ 356279 h 6853150"/>
              <a:gd name="connsiteX221" fmla="*/ 104636 w 324091"/>
              <a:gd name="connsiteY221" fmla="*/ 379139 h 6853150"/>
              <a:gd name="connsiteX222" fmla="*/ 104635 w 324091"/>
              <a:gd name="connsiteY222" fmla="*/ 379139 h 6853150"/>
              <a:gd name="connsiteX223" fmla="*/ 81775 w 324091"/>
              <a:gd name="connsiteY223" fmla="*/ 401999 h 6853150"/>
              <a:gd name="connsiteX224" fmla="*/ 0 w 324091"/>
              <a:gd name="connsiteY224" fmla="*/ 401999 h 6853150"/>
              <a:gd name="connsiteX225" fmla="*/ 0 w 324091"/>
              <a:gd name="connsiteY225" fmla="*/ 158496 h 6853150"/>
              <a:gd name="connsiteX226" fmla="*/ 279104 w 324091"/>
              <a:gd name="connsiteY226" fmla="*/ 158496 h 6853150"/>
              <a:gd name="connsiteX227" fmla="*/ 324091 w 324091"/>
              <a:gd name="connsiteY227" fmla="*/ 203483 h 6853150"/>
              <a:gd name="connsiteX228" fmla="*/ 279104 w 324091"/>
              <a:gd name="connsiteY228" fmla="*/ 248470 h 6853150"/>
              <a:gd name="connsiteX229" fmla="*/ 0 w 324091"/>
              <a:gd name="connsiteY229" fmla="*/ 248470 h 6853150"/>
              <a:gd name="connsiteX230" fmla="*/ 0 w 324091"/>
              <a:gd name="connsiteY230" fmla="*/ 0 h 6853150"/>
              <a:gd name="connsiteX231" fmla="*/ 81776 w 324091"/>
              <a:gd name="connsiteY231" fmla="*/ 0 h 6853150"/>
              <a:gd name="connsiteX232" fmla="*/ 104636 w 324091"/>
              <a:gd name="connsiteY232" fmla="*/ 22860 h 6853150"/>
              <a:gd name="connsiteX233" fmla="*/ 104635 w 324091"/>
              <a:gd name="connsiteY233" fmla="*/ 22860 h 6853150"/>
              <a:gd name="connsiteX234" fmla="*/ 81775 w 324091"/>
              <a:gd name="connsiteY234" fmla="*/ 45720 h 6853150"/>
              <a:gd name="connsiteX235" fmla="*/ 0 w 324091"/>
              <a:gd name="connsiteY235" fmla="*/ 45720 h 6853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</a:cxnLst>
            <a:rect l="l" t="t" r="r" b="b"/>
            <a:pathLst>
              <a:path w="324091" h="6853150">
                <a:moveTo>
                  <a:pt x="0" y="6807430"/>
                </a:moveTo>
                <a:lnTo>
                  <a:pt x="81776" y="6807430"/>
                </a:lnTo>
                <a:cubicBezTo>
                  <a:pt x="94401" y="6807430"/>
                  <a:pt x="104636" y="6817665"/>
                  <a:pt x="104636" y="6830290"/>
                </a:cubicBezTo>
                <a:lnTo>
                  <a:pt x="104635" y="6830290"/>
                </a:lnTo>
                <a:cubicBezTo>
                  <a:pt x="104635" y="6842915"/>
                  <a:pt x="94400" y="6853150"/>
                  <a:pt x="81775" y="6853150"/>
                </a:cubicBezTo>
                <a:lnTo>
                  <a:pt x="0" y="6853150"/>
                </a:lnTo>
                <a:close/>
                <a:moveTo>
                  <a:pt x="0" y="6653902"/>
                </a:moveTo>
                <a:lnTo>
                  <a:pt x="173216" y="6653902"/>
                </a:lnTo>
                <a:cubicBezTo>
                  <a:pt x="185841" y="6653902"/>
                  <a:pt x="196076" y="6664137"/>
                  <a:pt x="196076" y="6676762"/>
                </a:cubicBezTo>
                <a:lnTo>
                  <a:pt x="196075" y="6676762"/>
                </a:lnTo>
                <a:cubicBezTo>
                  <a:pt x="196075" y="6689387"/>
                  <a:pt x="185840" y="6699622"/>
                  <a:pt x="173215" y="6699622"/>
                </a:cubicBezTo>
                <a:lnTo>
                  <a:pt x="0" y="6699622"/>
                </a:lnTo>
                <a:close/>
                <a:moveTo>
                  <a:pt x="0" y="6500374"/>
                </a:moveTo>
                <a:lnTo>
                  <a:pt x="81776" y="6500374"/>
                </a:lnTo>
                <a:cubicBezTo>
                  <a:pt x="94401" y="6500374"/>
                  <a:pt x="104636" y="6510609"/>
                  <a:pt x="104636" y="6523234"/>
                </a:cubicBezTo>
                <a:lnTo>
                  <a:pt x="104635" y="6523234"/>
                </a:lnTo>
                <a:cubicBezTo>
                  <a:pt x="104635" y="6535859"/>
                  <a:pt x="94400" y="6546094"/>
                  <a:pt x="81775" y="6546094"/>
                </a:cubicBezTo>
                <a:lnTo>
                  <a:pt x="0" y="6546094"/>
                </a:lnTo>
                <a:close/>
                <a:moveTo>
                  <a:pt x="0" y="6302591"/>
                </a:moveTo>
                <a:lnTo>
                  <a:pt x="279104" y="6302591"/>
                </a:lnTo>
                <a:cubicBezTo>
                  <a:pt x="303950" y="6302591"/>
                  <a:pt x="324091" y="6322732"/>
                  <a:pt x="324091" y="6347578"/>
                </a:cubicBezTo>
                <a:cubicBezTo>
                  <a:pt x="324091" y="6372424"/>
                  <a:pt x="303950" y="6392565"/>
                  <a:pt x="279104" y="6392565"/>
                </a:cubicBezTo>
                <a:lnTo>
                  <a:pt x="0" y="6392565"/>
                </a:lnTo>
                <a:close/>
                <a:moveTo>
                  <a:pt x="0" y="6124755"/>
                </a:moveTo>
                <a:lnTo>
                  <a:pt x="81776" y="6124755"/>
                </a:lnTo>
                <a:cubicBezTo>
                  <a:pt x="94401" y="6124755"/>
                  <a:pt x="104636" y="6134990"/>
                  <a:pt x="104636" y="6147615"/>
                </a:cubicBezTo>
                <a:lnTo>
                  <a:pt x="104635" y="6147615"/>
                </a:lnTo>
                <a:cubicBezTo>
                  <a:pt x="104635" y="6160240"/>
                  <a:pt x="94400" y="6170475"/>
                  <a:pt x="81775" y="6170475"/>
                </a:cubicBezTo>
                <a:lnTo>
                  <a:pt x="0" y="6170475"/>
                </a:lnTo>
                <a:close/>
                <a:moveTo>
                  <a:pt x="0" y="5971227"/>
                </a:moveTo>
                <a:lnTo>
                  <a:pt x="173216" y="5971227"/>
                </a:lnTo>
                <a:cubicBezTo>
                  <a:pt x="185841" y="5971227"/>
                  <a:pt x="196076" y="5981462"/>
                  <a:pt x="196076" y="5994087"/>
                </a:cubicBezTo>
                <a:lnTo>
                  <a:pt x="196075" y="5994087"/>
                </a:lnTo>
                <a:cubicBezTo>
                  <a:pt x="196075" y="6006712"/>
                  <a:pt x="185840" y="6016947"/>
                  <a:pt x="173215" y="6016947"/>
                </a:cubicBezTo>
                <a:lnTo>
                  <a:pt x="0" y="6016947"/>
                </a:lnTo>
                <a:close/>
                <a:moveTo>
                  <a:pt x="0" y="5817699"/>
                </a:moveTo>
                <a:lnTo>
                  <a:pt x="81776" y="5817699"/>
                </a:lnTo>
                <a:cubicBezTo>
                  <a:pt x="94401" y="5817699"/>
                  <a:pt x="104636" y="5827934"/>
                  <a:pt x="104636" y="5840559"/>
                </a:cubicBezTo>
                <a:lnTo>
                  <a:pt x="104635" y="5840559"/>
                </a:lnTo>
                <a:cubicBezTo>
                  <a:pt x="104635" y="5853184"/>
                  <a:pt x="94400" y="5863419"/>
                  <a:pt x="81775" y="5863419"/>
                </a:cubicBezTo>
                <a:lnTo>
                  <a:pt x="0" y="5863419"/>
                </a:lnTo>
                <a:close/>
                <a:moveTo>
                  <a:pt x="0" y="5619916"/>
                </a:moveTo>
                <a:lnTo>
                  <a:pt x="279104" y="5619916"/>
                </a:lnTo>
                <a:cubicBezTo>
                  <a:pt x="303950" y="5619916"/>
                  <a:pt x="324091" y="5640057"/>
                  <a:pt x="324091" y="5664903"/>
                </a:cubicBezTo>
                <a:cubicBezTo>
                  <a:pt x="324091" y="5689749"/>
                  <a:pt x="303950" y="5709890"/>
                  <a:pt x="279104" y="5709890"/>
                </a:cubicBezTo>
                <a:lnTo>
                  <a:pt x="0" y="5709890"/>
                </a:lnTo>
                <a:close/>
                <a:moveTo>
                  <a:pt x="0" y="5442077"/>
                </a:moveTo>
                <a:lnTo>
                  <a:pt x="81776" y="5442077"/>
                </a:lnTo>
                <a:cubicBezTo>
                  <a:pt x="94401" y="5442077"/>
                  <a:pt x="104636" y="5452312"/>
                  <a:pt x="104636" y="5464937"/>
                </a:cubicBezTo>
                <a:lnTo>
                  <a:pt x="104635" y="5464937"/>
                </a:lnTo>
                <a:cubicBezTo>
                  <a:pt x="104635" y="5477562"/>
                  <a:pt x="94400" y="5487797"/>
                  <a:pt x="81775" y="5487797"/>
                </a:cubicBezTo>
                <a:lnTo>
                  <a:pt x="0" y="5487797"/>
                </a:lnTo>
                <a:close/>
                <a:moveTo>
                  <a:pt x="0" y="5288549"/>
                </a:moveTo>
                <a:lnTo>
                  <a:pt x="173216" y="5288549"/>
                </a:lnTo>
                <a:cubicBezTo>
                  <a:pt x="185841" y="5288549"/>
                  <a:pt x="196076" y="5298784"/>
                  <a:pt x="196076" y="5311409"/>
                </a:cubicBezTo>
                <a:lnTo>
                  <a:pt x="196075" y="5311409"/>
                </a:lnTo>
                <a:cubicBezTo>
                  <a:pt x="196075" y="5324034"/>
                  <a:pt x="185840" y="5334269"/>
                  <a:pt x="173215" y="5334269"/>
                </a:cubicBezTo>
                <a:lnTo>
                  <a:pt x="0" y="5334269"/>
                </a:lnTo>
                <a:close/>
                <a:moveTo>
                  <a:pt x="0" y="5135021"/>
                </a:moveTo>
                <a:lnTo>
                  <a:pt x="81776" y="5135021"/>
                </a:lnTo>
                <a:cubicBezTo>
                  <a:pt x="94401" y="5135021"/>
                  <a:pt x="104636" y="5145256"/>
                  <a:pt x="104636" y="5157881"/>
                </a:cubicBezTo>
                <a:lnTo>
                  <a:pt x="104635" y="5157881"/>
                </a:lnTo>
                <a:cubicBezTo>
                  <a:pt x="104635" y="5170506"/>
                  <a:pt x="94400" y="5180741"/>
                  <a:pt x="81775" y="5180741"/>
                </a:cubicBezTo>
                <a:lnTo>
                  <a:pt x="0" y="5180741"/>
                </a:lnTo>
                <a:close/>
                <a:moveTo>
                  <a:pt x="0" y="4937238"/>
                </a:moveTo>
                <a:lnTo>
                  <a:pt x="279104" y="4937238"/>
                </a:lnTo>
                <a:cubicBezTo>
                  <a:pt x="303950" y="4937238"/>
                  <a:pt x="324091" y="4957379"/>
                  <a:pt x="324091" y="4982225"/>
                </a:cubicBezTo>
                <a:cubicBezTo>
                  <a:pt x="324091" y="5007071"/>
                  <a:pt x="303950" y="5027212"/>
                  <a:pt x="279104" y="5027212"/>
                </a:cubicBezTo>
                <a:lnTo>
                  <a:pt x="0" y="5027212"/>
                </a:lnTo>
                <a:close/>
                <a:moveTo>
                  <a:pt x="0" y="4759399"/>
                </a:moveTo>
                <a:lnTo>
                  <a:pt x="81776" y="4759399"/>
                </a:lnTo>
                <a:cubicBezTo>
                  <a:pt x="94401" y="4759399"/>
                  <a:pt x="104636" y="4769634"/>
                  <a:pt x="104636" y="4782259"/>
                </a:cubicBezTo>
                <a:lnTo>
                  <a:pt x="104635" y="4782259"/>
                </a:lnTo>
                <a:cubicBezTo>
                  <a:pt x="104635" y="4794884"/>
                  <a:pt x="94400" y="4805119"/>
                  <a:pt x="81775" y="4805119"/>
                </a:cubicBezTo>
                <a:lnTo>
                  <a:pt x="0" y="4805119"/>
                </a:lnTo>
                <a:close/>
                <a:moveTo>
                  <a:pt x="0" y="4605871"/>
                </a:moveTo>
                <a:lnTo>
                  <a:pt x="173216" y="4605871"/>
                </a:lnTo>
                <a:cubicBezTo>
                  <a:pt x="185841" y="4605871"/>
                  <a:pt x="196076" y="4616106"/>
                  <a:pt x="196076" y="4628731"/>
                </a:cubicBezTo>
                <a:lnTo>
                  <a:pt x="196075" y="4628731"/>
                </a:lnTo>
                <a:cubicBezTo>
                  <a:pt x="196075" y="4641356"/>
                  <a:pt x="185840" y="4651591"/>
                  <a:pt x="173215" y="4651591"/>
                </a:cubicBezTo>
                <a:lnTo>
                  <a:pt x="0" y="4651591"/>
                </a:lnTo>
                <a:close/>
                <a:moveTo>
                  <a:pt x="0" y="4452343"/>
                </a:moveTo>
                <a:lnTo>
                  <a:pt x="81776" y="4452343"/>
                </a:lnTo>
                <a:cubicBezTo>
                  <a:pt x="94401" y="4452343"/>
                  <a:pt x="104636" y="4462578"/>
                  <a:pt x="104636" y="4475203"/>
                </a:cubicBezTo>
                <a:lnTo>
                  <a:pt x="104635" y="4475203"/>
                </a:lnTo>
                <a:cubicBezTo>
                  <a:pt x="104635" y="4487828"/>
                  <a:pt x="94400" y="4498063"/>
                  <a:pt x="81775" y="4498063"/>
                </a:cubicBezTo>
                <a:lnTo>
                  <a:pt x="0" y="4498063"/>
                </a:lnTo>
                <a:close/>
                <a:moveTo>
                  <a:pt x="0" y="4254560"/>
                </a:moveTo>
                <a:lnTo>
                  <a:pt x="279104" y="4254560"/>
                </a:lnTo>
                <a:cubicBezTo>
                  <a:pt x="303950" y="4254560"/>
                  <a:pt x="324091" y="4274701"/>
                  <a:pt x="324091" y="4299547"/>
                </a:cubicBezTo>
                <a:cubicBezTo>
                  <a:pt x="324091" y="4324393"/>
                  <a:pt x="303950" y="4344534"/>
                  <a:pt x="279104" y="4344534"/>
                </a:cubicBezTo>
                <a:lnTo>
                  <a:pt x="0" y="4344534"/>
                </a:lnTo>
                <a:close/>
                <a:moveTo>
                  <a:pt x="0" y="4076721"/>
                </a:moveTo>
                <a:lnTo>
                  <a:pt x="81776" y="4076721"/>
                </a:lnTo>
                <a:cubicBezTo>
                  <a:pt x="94401" y="4076721"/>
                  <a:pt x="104636" y="4086956"/>
                  <a:pt x="104636" y="4099581"/>
                </a:cubicBezTo>
                <a:lnTo>
                  <a:pt x="104635" y="4099581"/>
                </a:lnTo>
                <a:cubicBezTo>
                  <a:pt x="104635" y="4112206"/>
                  <a:pt x="94400" y="4122441"/>
                  <a:pt x="81775" y="4122441"/>
                </a:cubicBezTo>
                <a:lnTo>
                  <a:pt x="0" y="4122441"/>
                </a:lnTo>
                <a:close/>
                <a:moveTo>
                  <a:pt x="0" y="3923193"/>
                </a:moveTo>
                <a:lnTo>
                  <a:pt x="173216" y="3923193"/>
                </a:lnTo>
                <a:cubicBezTo>
                  <a:pt x="185841" y="3923193"/>
                  <a:pt x="196076" y="3933428"/>
                  <a:pt x="196076" y="3946053"/>
                </a:cubicBezTo>
                <a:lnTo>
                  <a:pt x="196075" y="3946053"/>
                </a:lnTo>
                <a:cubicBezTo>
                  <a:pt x="196075" y="3958678"/>
                  <a:pt x="185840" y="3968913"/>
                  <a:pt x="173215" y="3968913"/>
                </a:cubicBezTo>
                <a:lnTo>
                  <a:pt x="0" y="3968913"/>
                </a:lnTo>
                <a:close/>
                <a:moveTo>
                  <a:pt x="0" y="3769665"/>
                </a:moveTo>
                <a:lnTo>
                  <a:pt x="81776" y="3769665"/>
                </a:lnTo>
                <a:cubicBezTo>
                  <a:pt x="94401" y="3769665"/>
                  <a:pt x="104636" y="3779900"/>
                  <a:pt x="104636" y="3792525"/>
                </a:cubicBezTo>
                <a:lnTo>
                  <a:pt x="104635" y="3792525"/>
                </a:lnTo>
                <a:cubicBezTo>
                  <a:pt x="104635" y="3805150"/>
                  <a:pt x="94400" y="3815385"/>
                  <a:pt x="81775" y="3815385"/>
                </a:cubicBezTo>
                <a:lnTo>
                  <a:pt x="0" y="3815385"/>
                </a:lnTo>
                <a:close/>
                <a:moveTo>
                  <a:pt x="0" y="3571882"/>
                </a:moveTo>
                <a:lnTo>
                  <a:pt x="279104" y="3571882"/>
                </a:lnTo>
                <a:cubicBezTo>
                  <a:pt x="303950" y="3571882"/>
                  <a:pt x="324091" y="3592023"/>
                  <a:pt x="324091" y="3616869"/>
                </a:cubicBezTo>
                <a:cubicBezTo>
                  <a:pt x="324091" y="3641715"/>
                  <a:pt x="303950" y="3661856"/>
                  <a:pt x="279104" y="3661856"/>
                </a:cubicBezTo>
                <a:lnTo>
                  <a:pt x="0" y="3661856"/>
                </a:lnTo>
                <a:close/>
                <a:moveTo>
                  <a:pt x="0" y="3394043"/>
                </a:moveTo>
                <a:lnTo>
                  <a:pt x="81776" y="3394043"/>
                </a:lnTo>
                <a:cubicBezTo>
                  <a:pt x="94401" y="3394043"/>
                  <a:pt x="104636" y="3404279"/>
                  <a:pt x="104636" y="3416905"/>
                </a:cubicBezTo>
                <a:lnTo>
                  <a:pt x="104635" y="3416905"/>
                </a:lnTo>
                <a:cubicBezTo>
                  <a:pt x="104635" y="3429528"/>
                  <a:pt x="94400" y="3439763"/>
                  <a:pt x="81775" y="3439763"/>
                </a:cubicBezTo>
                <a:lnTo>
                  <a:pt x="0" y="3439763"/>
                </a:lnTo>
                <a:close/>
                <a:moveTo>
                  <a:pt x="0" y="3240516"/>
                </a:moveTo>
                <a:lnTo>
                  <a:pt x="173216" y="3240516"/>
                </a:lnTo>
                <a:cubicBezTo>
                  <a:pt x="185841" y="3240516"/>
                  <a:pt x="196076" y="3250752"/>
                  <a:pt x="196076" y="3263376"/>
                </a:cubicBezTo>
                <a:lnTo>
                  <a:pt x="196075" y="3263376"/>
                </a:lnTo>
                <a:cubicBezTo>
                  <a:pt x="196075" y="3276001"/>
                  <a:pt x="185840" y="3286236"/>
                  <a:pt x="173215" y="3286236"/>
                </a:cubicBezTo>
                <a:lnTo>
                  <a:pt x="0" y="3286236"/>
                </a:lnTo>
                <a:close/>
                <a:moveTo>
                  <a:pt x="0" y="3086989"/>
                </a:moveTo>
                <a:lnTo>
                  <a:pt x="81776" y="3086989"/>
                </a:lnTo>
                <a:cubicBezTo>
                  <a:pt x="94401" y="3086989"/>
                  <a:pt x="104636" y="3097224"/>
                  <a:pt x="104636" y="3109849"/>
                </a:cubicBezTo>
                <a:lnTo>
                  <a:pt x="104635" y="3109849"/>
                </a:lnTo>
                <a:cubicBezTo>
                  <a:pt x="104635" y="3122474"/>
                  <a:pt x="94400" y="3132709"/>
                  <a:pt x="81775" y="3132709"/>
                </a:cubicBezTo>
                <a:lnTo>
                  <a:pt x="0" y="3132709"/>
                </a:lnTo>
                <a:close/>
                <a:moveTo>
                  <a:pt x="0" y="2889206"/>
                </a:moveTo>
                <a:lnTo>
                  <a:pt x="279104" y="2889206"/>
                </a:lnTo>
                <a:cubicBezTo>
                  <a:pt x="303950" y="2889206"/>
                  <a:pt x="324091" y="2909347"/>
                  <a:pt x="324091" y="2934194"/>
                </a:cubicBezTo>
                <a:cubicBezTo>
                  <a:pt x="324091" y="2959039"/>
                  <a:pt x="303950" y="2979180"/>
                  <a:pt x="279104" y="2979180"/>
                </a:cubicBezTo>
                <a:lnTo>
                  <a:pt x="0" y="2979180"/>
                </a:lnTo>
                <a:close/>
                <a:moveTo>
                  <a:pt x="0" y="2711367"/>
                </a:moveTo>
                <a:lnTo>
                  <a:pt x="81776" y="2711367"/>
                </a:lnTo>
                <a:cubicBezTo>
                  <a:pt x="94401" y="2711367"/>
                  <a:pt x="104636" y="2721602"/>
                  <a:pt x="104636" y="2734227"/>
                </a:cubicBezTo>
                <a:lnTo>
                  <a:pt x="104635" y="2734227"/>
                </a:lnTo>
                <a:cubicBezTo>
                  <a:pt x="104635" y="2746852"/>
                  <a:pt x="94400" y="2757087"/>
                  <a:pt x="81775" y="2757087"/>
                </a:cubicBezTo>
                <a:lnTo>
                  <a:pt x="0" y="2757087"/>
                </a:lnTo>
                <a:close/>
                <a:moveTo>
                  <a:pt x="0" y="2557839"/>
                </a:moveTo>
                <a:lnTo>
                  <a:pt x="173216" y="2557839"/>
                </a:lnTo>
                <a:cubicBezTo>
                  <a:pt x="185841" y="2557839"/>
                  <a:pt x="196076" y="2568074"/>
                  <a:pt x="196076" y="2580699"/>
                </a:cubicBezTo>
                <a:lnTo>
                  <a:pt x="196075" y="2580699"/>
                </a:lnTo>
                <a:cubicBezTo>
                  <a:pt x="196075" y="2593324"/>
                  <a:pt x="185840" y="2603559"/>
                  <a:pt x="173215" y="2603559"/>
                </a:cubicBezTo>
                <a:lnTo>
                  <a:pt x="0" y="2603559"/>
                </a:lnTo>
                <a:close/>
                <a:moveTo>
                  <a:pt x="0" y="2404312"/>
                </a:moveTo>
                <a:lnTo>
                  <a:pt x="81776" y="2404312"/>
                </a:lnTo>
                <a:cubicBezTo>
                  <a:pt x="94401" y="2404312"/>
                  <a:pt x="104636" y="2414546"/>
                  <a:pt x="104636" y="2427171"/>
                </a:cubicBezTo>
                <a:lnTo>
                  <a:pt x="104635" y="2427171"/>
                </a:lnTo>
                <a:cubicBezTo>
                  <a:pt x="104635" y="2439796"/>
                  <a:pt x="94400" y="2450032"/>
                  <a:pt x="81775" y="2450032"/>
                </a:cubicBezTo>
                <a:lnTo>
                  <a:pt x="0" y="2450032"/>
                </a:lnTo>
                <a:close/>
                <a:moveTo>
                  <a:pt x="0" y="2206528"/>
                </a:moveTo>
                <a:lnTo>
                  <a:pt x="279104" y="2206528"/>
                </a:lnTo>
                <a:cubicBezTo>
                  <a:pt x="303950" y="2206528"/>
                  <a:pt x="324091" y="2226669"/>
                  <a:pt x="324091" y="2251515"/>
                </a:cubicBezTo>
                <a:cubicBezTo>
                  <a:pt x="324091" y="2276362"/>
                  <a:pt x="303950" y="2296503"/>
                  <a:pt x="279104" y="2296503"/>
                </a:cubicBezTo>
                <a:lnTo>
                  <a:pt x="0" y="2296503"/>
                </a:lnTo>
                <a:close/>
                <a:moveTo>
                  <a:pt x="0" y="2028689"/>
                </a:moveTo>
                <a:lnTo>
                  <a:pt x="81776" y="2028689"/>
                </a:lnTo>
                <a:cubicBezTo>
                  <a:pt x="94401" y="2028689"/>
                  <a:pt x="104636" y="2038925"/>
                  <a:pt x="104636" y="2051550"/>
                </a:cubicBezTo>
                <a:lnTo>
                  <a:pt x="104635" y="2051550"/>
                </a:lnTo>
                <a:cubicBezTo>
                  <a:pt x="104635" y="2064175"/>
                  <a:pt x="94400" y="2074409"/>
                  <a:pt x="81775" y="2074409"/>
                </a:cubicBezTo>
                <a:lnTo>
                  <a:pt x="0" y="2074409"/>
                </a:lnTo>
                <a:close/>
                <a:moveTo>
                  <a:pt x="0" y="1875162"/>
                </a:moveTo>
                <a:lnTo>
                  <a:pt x="173216" y="1875162"/>
                </a:lnTo>
                <a:cubicBezTo>
                  <a:pt x="185841" y="1875162"/>
                  <a:pt x="196076" y="1885397"/>
                  <a:pt x="196076" y="1898022"/>
                </a:cubicBezTo>
                <a:lnTo>
                  <a:pt x="196075" y="1898022"/>
                </a:lnTo>
                <a:cubicBezTo>
                  <a:pt x="196075" y="1910647"/>
                  <a:pt x="185840" y="1920882"/>
                  <a:pt x="173215" y="1920882"/>
                </a:cubicBezTo>
                <a:lnTo>
                  <a:pt x="0" y="1920882"/>
                </a:lnTo>
                <a:close/>
                <a:moveTo>
                  <a:pt x="0" y="1721635"/>
                </a:moveTo>
                <a:lnTo>
                  <a:pt x="81776" y="1721635"/>
                </a:lnTo>
                <a:cubicBezTo>
                  <a:pt x="94401" y="1721635"/>
                  <a:pt x="104636" y="1731870"/>
                  <a:pt x="104636" y="1744495"/>
                </a:cubicBezTo>
                <a:lnTo>
                  <a:pt x="104635" y="1744495"/>
                </a:lnTo>
                <a:cubicBezTo>
                  <a:pt x="104635" y="1757120"/>
                  <a:pt x="94400" y="1767355"/>
                  <a:pt x="81775" y="1767355"/>
                </a:cubicBezTo>
                <a:lnTo>
                  <a:pt x="0" y="1767355"/>
                </a:lnTo>
                <a:close/>
                <a:moveTo>
                  <a:pt x="0" y="1523851"/>
                </a:moveTo>
                <a:lnTo>
                  <a:pt x="279104" y="1523851"/>
                </a:lnTo>
                <a:cubicBezTo>
                  <a:pt x="303950" y="1523851"/>
                  <a:pt x="324091" y="1543992"/>
                  <a:pt x="324091" y="1568838"/>
                </a:cubicBezTo>
                <a:cubicBezTo>
                  <a:pt x="324091" y="1593684"/>
                  <a:pt x="303950" y="1613826"/>
                  <a:pt x="279104" y="1613826"/>
                </a:cubicBezTo>
                <a:lnTo>
                  <a:pt x="0" y="1613826"/>
                </a:lnTo>
                <a:close/>
                <a:moveTo>
                  <a:pt x="0" y="1346012"/>
                </a:moveTo>
                <a:lnTo>
                  <a:pt x="81776" y="1346012"/>
                </a:lnTo>
                <a:cubicBezTo>
                  <a:pt x="94401" y="1346012"/>
                  <a:pt x="104636" y="1356247"/>
                  <a:pt x="104636" y="1368872"/>
                </a:cubicBezTo>
                <a:lnTo>
                  <a:pt x="104635" y="1368872"/>
                </a:lnTo>
                <a:cubicBezTo>
                  <a:pt x="104635" y="1381497"/>
                  <a:pt x="94400" y="1391732"/>
                  <a:pt x="81775" y="1391732"/>
                </a:cubicBezTo>
                <a:lnTo>
                  <a:pt x="0" y="1391732"/>
                </a:lnTo>
                <a:close/>
                <a:moveTo>
                  <a:pt x="0" y="1192484"/>
                </a:moveTo>
                <a:lnTo>
                  <a:pt x="173216" y="1192484"/>
                </a:lnTo>
                <a:cubicBezTo>
                  <a:pt x="185841" y="1192484"/>
                  <a:pt x="196076" y="1202719"/>
                  <a:pt x="196076" y="1215344"/>
                </a:cubicBezTo>
                <a:lnTo>
                  <a:pt x="196075" y="1215344"/>
                </a:lnTo>
                <a:cubicBezTo>
                  <a:pt x="196075" y="1227969"/>
                  <a:pt x="185840" y="1238205"/>
                  <a:pt x="173215" y="1238205"/>
                </a:cubicBezTo>
                <a:lnTo>
                  <a:pt x="0" y="1238205"/>
                </a:lnTo>
                <a:close/>
                <a:moveTo>
                  <a:pt x="0" y="1038956"/>
                </a:moveTo>
                <a:lnTo>
                  <a:pt x="81776" y="1038956"/>
                </a:lnTo>
                <a:cubicBezTo>
                  <a:pt x="94401" y="1038956"/>
                  <a:pt x="104636" y="1049192"/>
                  <a:pt x="104636" y="1061817"/>
                </a:cubicBezTo>
                <a:lnTo>
                  <a:pt x="104635" y="1061817"/>
                </a:lnTo>
                <a:cubicBezTo>
                  <a:pt x="104635" y="1074442"/>
                  <a:pt x="94400" y="1084677"/>
                  <a:pt x="81775" y="1084677"/>
                </a:cubicBezTo>
                <a:lnTo>
                  <a:pt x="0" y="1084677"/>
                </a:lnTo>
                <a:close/>
                <a:moveTo>
                  <a:pt x="0" y="841173"/>
                </a:moveTo>
                <a:lnTo>
                  <a:pt x="279104" y="841173"/>
                </a:lnTo>
                <a:cubicBezTo>
                  <a:pt x="303950" y="841173"/>
                  <a:pt x="324091" y="861314"/>
                  <a:pt x="324091" y="886160"/>
                </a:cubicBezTo>
                <a:cubicBezTo>
                  <a:pt x="324091" y="911007"/>
                  <a:pt x="303950" y="931147"/>
                  <a:pt x="279104" y="931147"/>
                </a:cubicBezTo>
                <a:lnTo>
                  <a:pt x="0" y="931147"/>
                </a:lnTo>
                <a:close/>
                <a:moveTo>
                  <a:pt x="0" y="663334"/>
                </a:moveTo>
                <a:lnTo>
                  <a:pt x="81776" y="663334"/>
                </a:lnTo>
                <a:cubicBezTo>
                  <a:pt x="94401" y="663334"/>
                  <a:pt x="104636" y="673569"/>
                  <a:pt x="104636" y="686194"/>
                </a:cubicBezTo>
                <a:lnTo>
                  <a:pt x="104635" y="686194"/>
                </a:lnTo>
                <a:cubicBezTo>
                  <a:pt x="104635" y="698819"/>
                  <a:pt x="94400" y="709054"/>
                  <a:pt x="81775" y="709054"/>
                </a:cubicBezTo>
                <a:lnTo>
                  <a:pt x="0" y="709054"/>
                </a:lnTo>
                <a:close/>
                <a:moveTo>
                  <a:pt x="0" y="509806"/>
                </a:moveTo>
                <a:lnTo>
                  <a:pt x="173216" y="509806"/>
                </a:lnTo>
                <a:cubicBezTo>
                  <a:pt x="185841" y="509806"/>
                  <a:pt x="196076" y="520041"/>
                  <a:pt x="196076" y="532666"/>
                </a:cubicBezTo>
                <a:lnTo>
                  <a:pt x="196075" y="532666"/>
                </a:lnTo>
                <a:cubicBezTo>
                  <a:pt x="196075" y="545291"/>
                  <a:pt x="185840" y="555526"/>
                  <a:pt x="173215" y="555526"/>
                </a:cubicBezTo>
                <a:lnTo>
                  <a:pt x="0" y="555526"/>
                </a:lnTo>
                <a:close/>
                <a:moveTo>
                  <a:pt x="0" y="356279"/>
                </a:moveTo>
                <a:lnTo>
                  <a:pt x="81776" y="356279"/>
                </a:lnTo>
                <a:cubicBezTo>
                  <a:pt x="94401" y="356279"/>
                  <a:pt x="104636" y="366514"/>
                  <a:pt x="104636" y="379139"/>
                </a:cubicBezTo>
                <a:lnTo>
                  <a:pt x="104635" y="379139"/>
                </a:lnTo>
                <a:cubicBezTo>
                  <a:pt x="104635" y="391764"/>
                  <a:pt x="94400" y="401999"/>
                  <a:pt x="81775" y="401999"/>
                </a:cubicBezTo>
                <a:lnTo>
                  <a:pt x="0" y="401999"/>
                </a:lnTo>
                <a:close/>
                <a:moveTo>
                  <a:pt x="0" y="158496"/>
                </a:moveTo>
                <a:lnTo>
                  <a:pt x="279104" y="158496"/>
                </a:lnTo>
                <a:cubicBezTo>
                  <a:pt x="303950" y="158496"/>
                  <a:pt x="324091" y="178637"/>
                  <a:pt x="324091" y="203483"/>
                </a:cubicBezTo>
                <a:cubicBezTo>
                  <a:pt x="324091" y="228329"/>
                  <a:pt x="303950" y="248470"/>
                  <a:pt x="279104" y="248470"/>
                </a:cubicBezTo>
                <a:lnTo>
                  <a:pt x="0" y="248470"/>
                </a:lnTo>
                <a:close/>
                <a:moveTo>
                  <a:pt x="0" y="0"/>
                </a:moveTo>
                <a:lnTo>
                  <a:pt x="81776" y="0"/>
                </a:lnTo>
                <a:cubicBezTo>
                  <a:pt x="94401" y="0"/>
                  <a:pt x="104636" y="10235"/>
                  <a:pt x="104636" y="22860"/>
                </a:cubicBezTo>
                <a:lnTo>
                  <a:pt x="104635" y="22860"/>
                </a:lnTo>
                <a:cubicBezTo>
                  <a:pt x="104635" y="35485"/>
                  <a:pt x="94400" y="45720"/>
                  <a:pt x="81775" y="45720"/>
                </a:cubicBezTo>
                <a:lnTo>
                  <a:pt x="0" y="45720"/>
                </a:lnTo>
                <a:close/>
              </a:path>
            </a:pathLst>
          </a:custGeom>
          <a:solidFill>
            <a:schemeClr val="bg1">
              <a:alpha val="3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331113" y="2211598"/>
            <a:ext cx="9108607" cy="165576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3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FA32C96-369F-4C04-8D2B-8ED8BF5D7833}"/>
              </a:ext>
            </a:extLst>
          </p:cNvPr>
          <p:cNvGrpSpPr/>
          <p:nvPr userDrawn="1"/>
        </p:nvGrpSpPr>
        <p:grpSpPr>
          <a:xfrm>
            <a:off x="11803080" y="979776"/>
            <a:ext cx="221196" cy="228600"/>
            <a:chOff x="11806154" y="979776"/>
            <a:chExt cx="221254" cy="228600"/>
          </a:xfrm>
        </p:grpSpPr>
        <p:sp>
          <p:nvSpPr>
            <p:cNvPr id="13" name="Round Same-side Corner of Rectangle 79">
              <a:extLst>
                <a:ext uri="{FF2B5EF4-FFF2-40B4-BE49-F238E27FC236}">
                  <a16:creationId xmlns:a16="http://schemas.microsoft.com/office/drawing/2014/main" id="{17DCFF76-7DF9-4CCE-B3C6-050B6BEDCFAD}"/>
                </a:ext>
              </a:extLst>
            </p:cNvPr>
            <p:cNvSpPr/>
            <p:nvPr/>
          </p:nvSpPr>
          <p:spPr>
            <a:xfrm rot="5400000">
              <a:off x="11802481" y="983449"/>
              <a:ext cx="228600" cy="221254"/>
            </a:xfrm>
            <a:prstGeom prst="round2SameRect">
              <a:avLst>
                <a:gd name="adj1" fmla="val 0"/>
                <a:gd name="adj2" fmla="val 50000"/>
              </a:avLst>
            </a:prstGeom>
            <a:solidFill>
              <a:schemeClr val="tx2"/>
            </a:solidFill>
            <a:ln w="9525">
              <a:noFill/>
            </a:ln>
            <a:effectLst>
              <a:innerShdw blurRad="63500" dist="25400" dir="5400000">
                <a:prstClr val="black">
                  <a:alpha val="32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497CD566-0489-4EC7-89A7-73E2A3E1227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843840" y="1010005"/>
              <a:ext cx="155448" cy="155448"/>
            </a:xfrm>
            <a:prstGeom prst="rect">
              <a:avLst/>
            </a:prstGeom>
          </p:spPr>
        </p:pic>
      </p:grp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6751ACED-9F9E-4A11-983F-1DD16E70A4CA}"/>
              </a:ext>
            </a:extLst>
          </p:cNvPr>
          <p:cNvSpPr/>
          <p:nvPr userDrawn="1"/>
        </p:nvSpPr>
        <p:spPr>
          <a:xfrm>
            <a:off x="558654" y="706397"/>
            <a:ext cx="4012155" cy="977900"/>
          </a:xfrm>
          <a:prstGeom prst="roundRect">
            <a:avLst>
              <a:gd name="adj" fmla="val 50000"/>
            </a:avLst>
          </a:prstGeom>
          <a:solidFill>
            <a:schemeClr val="bg1">
              <a:alpha val="39000"/>
            </a:schemeClr>
          </a:solidFill>
          <a:ln w="190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293027" y="552617"/>
            <a:ext cx="9385073" cy="1304513"/>
          </a:xfrm>
        </p:spPr>
        <p:txBody>
          <a:bodyPr anchor="ctr">
            <a:noAutofit/>
          </a:bodyPr>
          <a:lstStyle>
            <a:lvl1pPr algn="l">
              <a:defRPr sz="3999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89931A2-7723-4641-BC7C-EB6CDEC8F58D}"/>
              </a:ext>
            </a:extLst>
          </p:cNvPr>
          <p:cNvGrpSpPr/>
          <p:nvPr userDrawn="1"/>
        </p:nvGrpSpPr>
        <p:grpSpPr>
          <a:xfrm>
            <a:off x="904729" y="845789"/>
            <a:ext cx="696874" cy="651644"/>
            <a:chOff x="2634853" y="3844528"/>
            <a:chExt cx="261938" cy="268319"/>
          </a:xfrm>
          <a:solidFill>
            <a:schemeClr val="bg1">
              <a:alpha val="80000"/>
            </a:schemeClr>
          </a:soli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53E68B9-BD0D-4D6F-8BF5-1F9108225B19}"/>
                </a:ext>
              </a:extLst>
            </p:cNvPr>
            <p:cNvSpPr/>
            <p:nvPr/>
          </p:nvSpPr>
          <p:spPr>
            <a:xfrm>
              <a:off x="2634853" y="3965972"/>
              <a:ext cx="34366" cy="108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5C3F16E-CC6F-44D7-A18C-E509D791F900}"/>
                </a:ext>
              </a:extLst>
            </p:cNvPr>
            <p:cNvSpPr/>
            <p:nvPr/>
          </p:nvSpPr>
          <p:spPr>
            <a:xfrm>
              <a:off x="2691746" y="3894534"/>
              <a:ext cx="34366" cy="18024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5D46BA99-DDD2-4574-9804-830F0408DAFD}"/>
                </a:ext>
              </a:extLst>
            </p:cNvPr>
            <p:cNvSpPr/>
            <p:nvPr/>
          </p:nvSpPr>
          <p:spPr>
            <a:xfrm>
              <a:off x="2748639" y="3992166"/>
              <a:ext cx="34366" cy="826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17D5B636-0A96-46C0-B84A-EF4C55285969}"/>
                </a:ext>
              </a:extLst>
            </p:cNvPr>
            <p:cNvSpPr/>
            <p:nvPr/>
          </p:nvSpPr>
          <p:spPr>
            <a:xfrm>
              <a:off x="2805532" y="3942160"/>
              <a:ext cx="34366" cy="13261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16E369CE-614C-4095-AF2F-18B8E3FB7A44}"/>
                </a:ext>
              </a:extLst>
            </p:cNvPr>
            <p:cNvSpPr/>
            <p:nvPr/>
          </p:nvSpPr>
          <p:spPr>
            <a:xfrm>
              <a:off x="2862425" y="3844528"/>
              <a:ext cx="34366" cy="2302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D44FD065-BE81-43DF-9411-567EDEF13433}"/>
                </a:ext>
              </a:extLst>
            </p:cNvPr>
            <p:cNvSpPr/>
            <p:nvPr/>
          </p:nvSpPr>
          <p:spPr>
            <a:xfrm>
              <a:off x="2634853" y="4094559"/>
              <a:ext cx="261938" cy="1828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</p:grpSp>
      <p:pic>
        <p:nvPicPr>
          <p:cNvPr id="24" name="Picture 23" descr="Logo&#10;&#10;Description automatically generated">
            <a:extLst>
              <a:ext uri="{FF2B5EF4-FFF2-40B4-BE49-F238E27FC236}">
                <a16:creationId xmlns:a16="http://schemas.microsoft.com/office/drawing/2014/main" id="{1C36271D-9026-4499-AB04-1ED81376D28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32883" y="6120714"/>
            <a:ext cx="1017656" cy="420241"/>
          </a:xfrm>
          <a:prstGeom prst="rect">
            <a:avLst/>
          </a:prstGeom>
        </p:spPr>
      </p:pic>
      <p:sp>
        <p:nvSpPr>
          <p:cNvPr id="2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EC41CA30-6E1C-4D19-A3D2-6503189666EF}"/>
              </a:ext>
            </a:extLst>
          </p:cNvPr>
          <p:cNvSpPr/>
          <p:nvPr userDrawn="1"/>
        </p:nvSpPr>
        <p:spPr>
          <a:xfrm rot="5400000">
            <a:off x="11809682" y="871594"/>
            <a:ext cx="320468" cy="437817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0320478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llar 5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4" name="Round Same-side Corner of Rectangle 79">
            <a:extLst>
              <a:ext uri="{FF2B5EF4-FFF2-40B4-BE49-F238E27FC236}">
                <a16:creationId xmlns:a16="http://schemas.microsoft.com/office/drawing/2014/main" id="{429E155D-7E57-4822-8852-F94F1A49D6FC}"/>
              </a:ext>
            </a:extLst>
          </p:cNvPr>
          <p:cNvSpPr/>
          <p:nvPr userDrawn="1"/>
        </p:nvSpPr>
        <p:spPr>
          <a:xfrm rot="16200000">
            <a:off x="11384856" y="4661233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8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0" name="Round Same-side Corner of Rectangle 79">
            <a:extLst>
              <a:ext uri="{FF2B5EF4-FFF2-40B4-BE49-F238E27FC236}">
                <a16:creationId xmlns:a16="http://schemas.microsoft.com/office/drawing/2014/main" id="{DA632258-7E89-4C63-86BD-EA679E94BCAB}"/>
              </a:ext>
            </a:extLst>
          </p:cNvPr>
          <p:cNvSpPr/>
          <p:nvPr userDrawn="1"/>
        </p:nvSpPr>
        <p:spPr>
          <a:xfrm rot="16200000">
            <a:off x="11384854" y="4208631"/>
            <a:ext cx="388777" cy="104122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7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1" name="Round Same-side Corner of Rectangle 79">
            <a:extLst>
              <a:ext uri="{FF2B5EF4-FFF2-40B4-BE49-F238E27FC236}">
                <a16:creationId xmlns:a16="http://schemas.microsoft.com/office/drawing/2014/main" id="{D4B93879-3513-4875-A1C4-5980915623CE}"/>
              </a:ext>
            </a:extLst>
          </p:cNvPr>
          <p:cNvSpPr/>
          <p:nvPr userDrawn="1"/>
        </p:nvSpPr>
        <p:spPr>
          <a:xfrm rot="16200000">
            <a:off x="11384854" y="3756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6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8" name="Round Same-side Corner of Rectangle 79">
            <a:extLst>
              <a:ext uri="{FF2B5EF4-FFF2-40B4-BE49-F238E27FC236}">
                <a16:creationId xmlns:a16="http://schemas.microsoft.com/office/drawing/2014/main" id="{312255C5-65A9-47AB-B67B-8924547FF7C2}"/>
              </a:ext>
            </a:extLst>
          </p:cNvPr>
          <p:cNvSpPr/>
          <p:nvPr userDrawn="1"/>
        </p:nvSpPr>
        <p:spPr>
          <a:xfrm rot="16200000">
            <a:off x="11219846" y="3138423"/>
            <a:ext cx="388777" cy="137124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2102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600" b="1"/>
              <a:t>Pillar  </a:t>
            </a:r>
            <a:r>
              <a:rPr lang="en-US" sz="1600" b="1"/>
              <a:t>5</a:t>
            </a:r>
          </a:p>
        </p:txBody>
      </p:sp>
      <p:sp>
        <p:nvSpPr>
          <p:cNvPr id="79" name="Round Same-side Corner of Rectangle 79">
            <a:extLst>
              <a:ext uri="{FF2B5EF4-FFF2-40B4-BE49-F238E27FC236}">
                <a16:creationId xmlns:a16="http://schemas.microsoft.com/office/drawing/2014/main" id="{F23596D5-FD36-49E3-B746-F3D7A290DF3D}"/>
              </a:ext>
            </a:extLst>
          </p:cNvPr>
          <p:cNvSpPr/>
          <p:nvPr userDrawn="1"/>
        </p:nvSpPr>
        <p:spPr>
          <a:xfrm rot="16200000">
            <a:off x="11384853" y="28508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4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7" name="Round Same-side Corner of Rectangle 79">
            <a:extLst>
              <a:ext uri="{FF2B5EF4-FFF2-40B4-BE49-F238E27FC236}">
                <a16:creationId xmlns:a16="http://schemas.microsoft.com/office/drawing/2014/main" id="{059574F1-9FE9-480C-B4ED-14EFB4169B0E}"/>
              </a:ext>
            </a:extLst>
          </p:cNvPr>
          <p:cNvSpPr/>
          <p:nvPr userDrawn="1"/>
        </p:nvSpPr>
        <p:spPr>
          <a:xfrm rot="16200000">
            <a:off x="11384854" y="23982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3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8" name="Round Same-side Corner of Rectangle 79">
            <a:extLst>
              <a:ext uri="{FF2B5EF4-FFF2-40B4-BE49-F238E27FC236}">
                <a16:creationId xmlns:a16="http://schemas.microsoft.com/office/drawing/2014/main" id="{82236BCB-3538-4E87-B0C9-CACC40793A57}"/>
              </a:ext>
            </a:extLst>
          </p:cNvPr>
          <p:cNvSpPr/>
          <p:nvPr userDrawn="1"/>
        </p:nvSpPr>
        <p:spPr>
          <a:xfrm rot="16200000">
            <a:off x="11384854" y="19456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2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9" name="Round Same-side Corner of Rectangle 79">
            <a:extLst>
              <a:ext uri="{FF2B5EF4-FFF2-40B4-BE49-F238E27FC236}">
                <a16:creationId xmlns:a16="http://schemas.microsoft.com/office/drawing/2014/main" id="{61090AD0-0469-4342-901A-FC4BE401662F}"/>
              </a:ext>
            </a:extLst>
          </p:cNvPr>
          <p:cNvSpPr/>
          <p:nvPr userDrawn="1"/>
        </p:nvSpPr>
        <p:spPr>
          <a:xfrm rot="16200000">
            <a:off x="11384854" y="1493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1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96" name="Round Same-side Corner of Rectangle 79">
            <a:extLst>
              <a:ext uri="{FF2B5EF4-FFF2-40B4-BE49-F238E27FC236}">
                <a16:creationId xmlns:a16="http://schemas.microsoft.com/office/drawing/2014/main" id="{75C801CE-9FCA-486D-96A7-6973FA449CCA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8" name="Round Same-side Corner of Rectangle 79">
            <a:extLst>
              <a:ext uri="{FF2B5EF4-FFF2-40B4-BE49-F238E27FC236}">
                <a16:creationId xmlns:a16="http://schemas.microsoft.com/office/drawing/2014/main" id="{B358AAFE-318C-4629-9F49-D9DBA46F85EC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1421BD9-15AA-4E46-A09A-6D8231B28463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BB1449B-5566-46D4-AA07-1970E49A3898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4" name="Round Same-side Corner of Rectangle 79">
            <a:extLst>
              <a:ext uri="{FF2B5EF4-FFF2-40B4-BE49-F238E27FC236}">
                <a16:creationId xmlns:a16="http://schemas.microsoft.com/office/drawing/2014/main" id="{479416EC-B0EA-486C-ACDC-AFA6962F7D55}"/>
              </a:ext>
            </a:extLst>
          </p:cNvPr>
          <p:cNvSpPr/>
          <p:nvPr userDrawn="1"/>
        </p:nvSpPr>
        <p:spPr>
          <a:xfrm rot="16200000">
            <a:off x="11900597" y="3730205"/>
            <a:ext cx="388777" cy="18768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>
              <a:lumMod val="75000"/>
              <a:alpha val="59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17" name="TextBox 16">
            <a:hlinkClick r:id="" action="ppaction://noaction"/>
            <a:extLst>
              <a:ext uri="{FF2B5EF4-FFF2-40B4-BE49-F238E27FC236}">
                <a16:creationId xmlns:a16="http://schemas.microsoft.com/office/drawing/2014/main" id="{7564FD85-E8F7-40CC-865B-2B7F23ED7553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18" name="TextBox 17">
            <a:hlinkClick r:id="" action="ppaction://noaction"/>
            <a:extLst>
              <a:ext uri="{FF2B5EF4-FFF2-40B4-BE49-F238E27FC236}">
                <a16:creationId xmlns:a16="http://schemas.microsoft.com/office/drawing/2014/main" id="{AB532DE3-09E3-4977-B2BA-B154047EF486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2C02CB5D-4F9B-4643-BEEA-FC8FEFBD06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15BC9745-69D5-4B02-88A0-4AF73742F2C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14E48C90-5A79-45F2-8DB1-D9BD44CF16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45" name="Freeform 9">
            <a:extLst>
              <a:ext uri="{FF2B5EF4-FFF2-40B4-BE49-F238E27FC236}">
                <a16:creationId xmlns:a16="http://schemas.microsoft.com/office/drawing/2014/main" id="{116039CD-907B-4766-A7DA-4530E1BB6091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95767" y="4176118"/>
            <a:ext cx="181694" cy="212254"/>
          </a:xfrm>
          <a:custGeom>
            <a:avLst/>
            <a:gdLst>
              <a:gd name="T0" fmla="*/ 708 w 809"/>
              <a:gd name="T1" fmla="*/ 509 h 945"/>
              <a:gd name="T2" fmla="*/ 405 w 809"/>
              <a:gd name="T3" fmla="*/ 838 h 945"/>
              <a:gd name="T4" fmla="*/ 404 w 809"/>
              <a:gd name="T5" fmla="*/ 838 h 945"/>
              <a:gd name="T6" fmla="*/ 404 w 809"/>
              <a:gd name="T7" fmla="*/ 473 h 945"/>
              <a:gd name="T8" fmla="*/ 101 w 809"/>
              <a:gd name="T9" fmla="*/ 473 h 945"/>
              <a:gd name="T10" fmla="*/ 101 w 809"/>
              <a:gd name="T11" fmla="*/ 245 h 945"/>
              <a:gd name="T12" fmla="*/ 404 w 809"/>
              <a:gd name="T13" fmla="*/ 123 h 945"/>
              <a:gd name="T14" fmla="*/ 404 w 809"/>
              <a:gd name="T15" fmla="*/ 473 h 945"/>
              <a:gd name="T16" fmla="*/ 708 w 809"/>
              <a:gd name="T17" fmla="*/ 473 h 945"/>
              <a:gd name="T18" fmla="*/ 708 w 809"/>
              <a:gd name="T19" fmla="*/ 509 h 945"/>
              <a:gd name="T20" fmla="*/ 792 w 809"/>
              <a:gd name="T21" fmla="*/ 150 h 945"/>
              <a:gd name="T22" fmla="*/ 415 w 809"/>
              <a:gd name="T23" fmla="*/ 4 h 945"/>
              <a:gd name="T24" fmla="*/ 394 w 809"/>
              <a:gd name="T25" fmla="*/ 4 h 945"/>
              <a:gd name="T26" fmla="*/ 17 w 809"/>
              <a:gd name="T27" fmla="*/ 150 h 945"/>
              <a:gd name="T28" fmla="*/ 0 w 809"/>
              <a:gd name="T29" fmla="*/ 168 h 945"/>
              <a:gd name="T30" fmla="*/ 0 w 809"/>
              <a:gd name="T31" fmla="*/ 508 h 945"/>
              <a:gd name="T32" fmla="*/ 398 w 809"/>
              <a:gd name="T33" fmla="*/ 944 h 945"/>
              <a:gd name="T34" fmla="*/ 410 w 809"/>
              <a:gd name="T35" fmla="*/ 944 h 945"/>
              <a:gd name="T36" fmla="*/ 809 w 809"/>
              <a:gd name="T37" fmla="*/ 508 h 945"/>
              <a:gd name="T38" fmla="*/ 809 w 809"/>
              <a:gd name="T39" fmla="*/ 168 h 945"/>
              <a:gd name="T40" fmla="*/ 792 w 809"/>
              <a:gd name="T41" fmla="*/ 150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9" h="945">
                <a:moveTo>
                  <a:pt x="708" y="509"/>
                </a:moveTo>
                <a:cubicBezTo>
                  <a:pt x="708" y="713"/>
                  <a:pt x="483" y="811"/>
                  <a:pt x="405" y="838"/>
                </a:cubicBezTo>
                <a:cubicBezTo>
                  <a:pt x="405" y="838"/>
                  <a:pt x="404" y="838"/>
                  <a:pt x="404" y="838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101" y="473"/>
                  <a:pt x="101" y="473"/>
                  <a:pt x="101" y="473"/>
                </a:cubicBezTo>
                <a:cubicBezTo>
                  <a:pt x="101" y="245"/>
                  <a:pt x="101" y="245"/>
                  <a:pt x="101" y="245"/>
                </a:cubicBezTo>
                <a:cubicBezTo>
                  <a:pt x="185" y="231"/>
                  <a:pt x="288" y="197"/>
                  <a:pt x="404" y="123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708" y="473"/>
                  <a:pt x="708" y="473"/>
                  <a:pt x="708" y="473"/>
                </a:cubicBezTo>
                <a:lnTo>
                  <a:pt x="708" y="509"/>
                </a:lnTo>
                <a:close/>
                <a:moveTo>
                  <a:pt x="792" y="150"/>
                </a:moveTo>
                <a:cubicBezTo>
                  <a:pt x="691" y="146"/>
                  <a:pt x="562" y="109"/>
                  <a:pt x="415" y="4"/>
                </a:cubicBezTo>
                <a:cubicBezTo>
                  <a:pt x="409" y="0"/>
                  <a:pt x="400" y="0"/>
                  <a:pt x="394" y="4"/>
                </a:cubicBezTo>
                <a:cubicBezTo>
                  <a:pt x="247" y="109"/>
                  <a:pt x="118" y="146"/>
                  <a:pt x="17" y="150"/>
                </a:cubicBezTo>
                <a:cubicBezTo>
                  <a:pt x="7" y="150"/>
                  <a:pt x="0" y="158"/>
                  <a:pt x="0" y="168"/>
                </a:cubicBezTo>
                <a:cubicBezTo>
                  <a:pt x="0" y="209"/>
                  <a:pt x="0" y="325"/>
                  <a:pt x="0" y="508"/>
                </a:cubicBezTo>
                <a:cubicBezTo>
                  <a:pt x="0" y="792"/>
                  <a:pt x="348" y="926"/>
                  <a:pt x="398" y="944"/>
                </a:cubicBezTo>
                <a:cubicBezTo>
                  <a:pt x="402" y="945"/>
                  <a:pt x="406" y="945"/>
                  <a:pt x="410" y="944"/>
                </a:cubicBezTo>
                <a:cubicBezTo>
                  <a:pt x="460" y="926"/>
                  <a:pt x="809" y="792"/>
                  <a:pt x="809" y="508"/>
                </a:cubicBezTo>
                <a:cubicBezTo>
                  <a:pt x="809" y="325"/>
                  <a:pt x="809" y="209"/>
                  <a:pt x="809" y="168"/>
                </a:cubicBezTo>
                <a:cubicBezTo>
                  <a:pt x="809" y="158"/>
                  <a:pt x="801" y="150"/>
                  <a:pt x="792" y="15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46" name="Freeform 13">
            <a:extLst>
              <a:ext uri="{FF2B5EF4-FFF2-40B4-BE49-F238E27FC236}">
                <a16:creationId xmlns:a16="http://schemas.microsoft.com/office/drawing/2014/main" id="{3BEAF0CF-888B-4A1C-B5E3-87994D9F099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87920" y="5097137"/>
            <a:ext cx="218911" cy="197141"/>
          </a:xfrm>
          <a:custGeom>
            <a:avLst/>
            <a:gdLst>
              <a:gd name="T0" fmla="*/ 757 w 1043"/>
              <a:gd name="T1" fmla="*/ 313 h 939"/>
              <a:gd name="T2" fmla="*/ 313 w 1043"/>
              <a:gd name="T3" fmla="*/ 321 h 939"/>
              <a:gd name="T4" fmla="*/ 321 w 1043"/>
              <a:gd name="T5" fmla="*/ 348 h 939"/>
              <a:gd name="T6" fmla="*/ 765 w 1043"/>
              <a:gd name="T7" fmla="*/ 340 h 939"/>
              <a:gd name="T8" fmla="*/ 765 w 1043"/>
              <a:gd name="T9" fmla="*/ 251 h 939"/>
              <a:gd name="T10" fmla="*/ 321 w 1043"/>
              <a:gd name="T11" fmla="*/ 243 h 939"/>
              <a:gd name="T12" fmla="*/ 313 w 1043"/>
              <a:gd name="T13" fmla="*/ 270 h 939"/>
              <a:gd name="T14" fmla="*/ 757 w 1043"/>
              <a:gd name="T15" fmla="*/ 278 h 939"/>
              <a:gd name="T16" fmla="*/ 765 w 1043"/>
              <a:gd name="T17" fmla="*/ 251 h 939"/>
              <a:gd name="T18" fmla="*/ 757 w 1043"/>
              <a:gd name="T19" fmla="*/ 382 h 939"/>
              <a:gd name="T20" fmla="*/ 313 w 1043"/>
              <a:gd name="T21" fmla="*/ 390 h 939"/>
              <a:gd name="T22" fmla="*/ 321 w 1043"/>
              <a:gd name="T23" fmla="*/ 417 h 939"/>
              <a:gd name="T24" fmla="*/ 765 w 1043"/>
              <a:gd name="T25" fmla="*/ 409 h 939"/>
              <a:gd name="T26" fmla="*/ 765 w 1043"/>
              <a:gd name="T27" fmla="*/ 182 h 939"/>
              <a:gd name="T28" fmla="*/ 321 w 1043"/>
              <a:gd name="T29" fmla="*/ 174 h 939"/>
              <a:gd name="T30" fmla="*/ 313 w 1043"/>
              <a:gd name="T31" fmla="*/ 201 h 939"/>
              <a:gd name="T32" fmla="*/ 757 w 1043"/>
              <a:gd name="T33" fmla="*/ 209 h 939"/>
              <a:gd name="T34" fmla="*/ 765 w 1043"/>
              <a:gd name="T35" fmla="*/ 182 h 939"/>
              <a:gd name="T36" fmla="*/ 1027 w 1043"/>
              <a:gd name="T37" fmla="*/ 730 h 939"/>
              <a:gd name="T38" fmla="*/ 491 w 1043"/>
              <a:gd name="T39" fmla="*/ 735 h 939"/>
              <a:gd name="T40" fmla="*/ 487 w 1043"/>
              <a:gd name="T41" fmla="*/ 747 h 939"/>
              <a:gd name="T42" fmla="*/ 358 w 1043"/>
              <a:gd name="T43" fmla="*/ 869 h 939"/>
              <a:gd name="T44" fmla="*/ 243 w 1043"/>
              <a:gd name="T45" fmla="*/ 757 h 939"/>
              <a:gd name="T46" fmla="*/ 243 w 1043"/>
              <a:gd name="T47" fmla="*/ 139 h 939"/>
              <a:gd name="T48" fmla="*/ 742 w 1043"/>
              <a:gd name="T49" fmla="*/ 69 h 939"/>
              <a:gd name="T50" fmla="*/ 834 w 1043"/>
              <a:gd name="T51" fmla="*/ 695 h 939"/>
              <a:gd name="T52" fmla="*/ 904 w 1043"/>
              <a:gd name="T53" fmla="*/ 161 h 939"/>
              <a:gd name="T54" fmla="*/ 685 w 1043"/>
              <a:gd name="T55" fmla="*/ 0 h 939"/>
              <a:gd name="T56" fmla="*/ 0 w 1043"/>
              <a:gd name="T57" fmla="*/ 174 h 939"/>
              <a:gd name="T58" fmla="*/ 16 w 1043"/>
              <a:gd name="T59" fmla="*/ 209 h 939"/>
              <a:gd name="T60" fmla="*/ 174 w 1043"/>
              <a:gd name="T61" fmla="*/ 757 h 939"/>
              <a:gd name="T62" fmla="*/ 820 w 1043"/>
              <a:gd name="T63" fmla="*/ 939 h 939"/>
              <a:gd name="T64" fmla="*/ 1043 w 1043"/>
              <a:gd name="T65" fmla="*/ 765 h 939"/>
              <a:gd name="T66" fmla="*/ 765 w 1043"/>
              <a:gd name="T67" fmla="*/ 529 h 939"/>
              <a:gd name="T68" fmla="*/ 321 w 1043"/>
              <a:gd name="T69" fmla="*/ 522 h 939"/>
              <a:gd name="T70" fmla="*/ 313 w 1043"/>
              <a:gd name="T71" fmla="*/ 548 h 939"/>
              <a:gd name="T72" fmla="*/ 757 w 1043"/>
              <a:gd name="T73" fmla="*/ 556 h 939"/>
              <a:gd name="T74" fmla="*/ 765 w 1043"/>
              <a:gd name="T75" fmla="*/ 529 h 939"/>
              <a:gd name="T76" fmla="*/ 757 w 1043"/>
              <a:gd name="T77" fmla="*/ 452 h 939"/>
              <a:gd name="T78" fmla="*/ 313 w 1043"/>
              <a:gd name="T79" fmla="*/ 460 h 939"/>
              <a:gd name="T80" fmla="*/ 321 w 1043"/>
              <a:gd name="T81" fmla="*/ 487 h 939"/>
              <a:gd name="T82" fmla="*/ 765 w 1043"/>
              <a:gd name="T83" fmla="*/ 479 h 939"/>
              <a:gd name="T84" fmla="*/ 765 w 1043"/>
              <a:gd name="T85" fmla="*/ 599 h 939"/>
              <a:gd name="T86" fmla="*/ 757 w 1043"/>
              <a:gd name="T87" fmla="*/ 626 h 939"/>
              <a:gd name="T88" fmla="*/ 313 w 1043"/>
              <a:gd name="T89" fmla="*/ 618 h 939"/>
              <a:gd name="T90" fmla="*/ 321 w 1043"/>
              <a:gd name="T91" fmla="*/ 591 h 939"/>
              <a:gd name="T92" fmla="*/ 765 w 1043"/>
              <a:gd name="T93" fmla="*/ 59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43" h="939">
                <a:moveTo>
                  <a:pt x="765" y="321"/>
                </a:moveTo>
                <a:cubicBezTo>
                  <a:pt x="765" y="316"/>
                  <a:pt x="761" y="313"/>
                  <a:pt x="757" y="313"/>
                </a:cubicBezTo>
                <a:cubicBezTo>
                  <a:pt x="321" y="313"/>
                  <a:pt x="321" y="313"/>
                  <a:pt x="321" y="313"/>
                </a:cubicBezTo>
                <a:cubicBezTo>
                  <a:pt x="316" y="313"/>
                  <a:pt x="313" y="316"/>
                  <a:pt x="313" y="321"/>
                </a:cubicBezTo>
                <a:cubicBezTo>
                  <a:pt x="313" y="340"/>
                  <a:pt x="313" y="340"/>
                  <a:pt x="313" y="340"/>
                </a:cubicBezTo>
                <a:cubicBezTo>
                  <a:pt x="313" y="344"/>
                  <a:pt x="316" y="348"/>
                  <a:pt x="321" y="348"/>
                </a:cubicBezTo>
                <a:cubicBezTo>
                  <a:pt x="757" y="348"/>
                  <a:pt x="757" y="348"/>
                  <a:pt x="757" y="348"/>
                </a:cubicBezTo>
                <a:cubicBezTo>
                  <a:pt x="761" y="348"/>
                  <a:pt x="765" y="344"/>
                  <a:pt x="765" y="340"/>
                </a:cubicBezTo>
                <a:lnTo>
                  <a:pt x="765" y="321"/>
                </a:lnTo>
                <a:close/>
                <a:moveTo>
                  <a:pt x="765" y="251"/>
                </a:moveTo>
                <a:cubicBezTo>
                  <a:pt x="765" y="247"/>
                  <a:pt x="761" y="243"/>
                  <a:pt x="757" y="243"/>
                </a:cubicBezTo>
                <a:cubicBezTo>
                  <a:pt x="321" y="243"/>
                  <a:pt x="321" y="243"/>
                  <a:pt x="321" y="243"/>
                </a:cubicBezTo>
                <a:cubicBezTo>
                  <a:pt x="316" y="243"/>
                  <a:pt x="313" y="247"/>
                  <a:pt x="313" y="251"/>
                </a:cubicBezTo>
                <a:cubicBezTo>
                  <a:pt x="313" y="270"/>
                  <a:pt x="313" y="270"/>
                  <a:pt x="313" y="270"/>
                </a:cubicBezTo>
                <a:cubicBezTo>
                  <a:pt x="313" y="275"/>
                  <a:pt x="316" y="278"/>
                  <a:pt x="321" y="278"/>
                </a:cubicBezTo>
                <a:cubicBezTo>
                  <a:pt x="757" y="278"/>
                  <a:pt x="757" y="278"/>
                  <a:pt x="757" y="278"/>
                </a:cubicBezTo>
                <a:cubicBezTo>
                  <a:pt x="761" y="278"/>
                  <a:pt x="765" y="275"/>
                  <a:pt x="765" y="270"/>
                </a:cubicBezTo>
                <a:lnTo>
                  <a:pt x="765" y="251"/>
                </a:lnTo>
                <a:close/>
                <a:moveTo>
                  <a:pt x="765" y="390"/>
                </a:moveTo>
                <a:cubicBezTo>
                  <a:pt x="765" y="386"/>
                  <a:pt x="761" y="382"/>
                  <a:pt x="757" y="382"/>
                </a:cubicBezTo>
                <a:cubicBezTo>
                  <a:pt x="321" y="382"/>
                  <a:pt x="321" y="382"/>
                  <a:pt x="321" y="382"/>
                </a:cubicBezTo>
                <a:cubicBezTo>
                  <a:pt x="316" y="382"/>
                  <a:pt x="313" y="386"/>
                  <a:pt x="313" y="390"/>
                </a:cubicBezTo>
                <a:cubicBezTo>
                  <a:pt x="313" y="409"/>
                  <a:pt x="313" y="409"/>
                  <a:pt x="313" y="409"/>
                </a:cubicBezTo>
                <a:cubicBezTo>
                  <a:pt x="313" y="414"/>
                  <a:pt x="316" y="417"/>
                  <a:pt x="321" y="417"/>
                </a:cubicBezTo>
                <a:cubicBezTo>
                  <a:pt x="757" y="417"/>
                  <a:pt x="757" y="417"/>
                  <a:pt x="757" y="417"/>
                </a:cubicBezTo>
                <a:cubicBezTo>
                  <a:pt x="761" y="417"/>
                  <a:pt x="765" y="414"/>
                  <a:pt x="765" y="409"/>
                </a:cubicBezTo>
                <a:lnTo>
                  <a:pt x="765" y="390"/>
                </a:lnTo>
                <a:close/>
                <a:moveTo>
                  <a:pt x="765" y="182"/>
                </a:moveTo>
                <a:cubicBezTo>
                  <a:pt x="765" y="177"/>
                  <a:pt x="761" y="174"/>
                  <a:pt x="757" y="174"/>
                </a:cubicBezTo>
                <a:cubicBezTo>
                  <a:pt x="321" y="174"/>
                  <a:pt x="321" y="174"/>
                  <a:pt x="321" y="174"/>
                </a:cubicBezTo>
                <a:cubicBezTo>
                  <a:pt x="316" y="174"/>
                  <a:pt x="313" y="177"/>
                  <a:pt x="313" y="182"/>
                </a:cubicBezTo>
                <a:cubicBezTo>
                  <a:pt x="313" y="201"/>
                  <a:pt x="313" y="201"/>
                  <a:pt x="313" y="201"/>
                </a:cubicBezTo>
                <a:cubicBezTo>
                  <a:pt x="313" y="205"/>
                  <a:pt x="316" y="209"/>
                  <a:pt x="321" y="209"/>
                </a:cubicBezTo>
                <a:cubicBezTo>
                  <a:pt x="757" y="209"/>
                  <a:pt x="757" y="209"/>
                  <a:pt x="757" y="209"/>
                </a:cubicBezTo>
                <a:cubicBezTo>
                  <a:pt x="761" y="209"/>
                  <a:pt x="765" y="205"/>
                  <a:pt x="765" y="201"/>
                </a:cubicBezTo>
                <a:lnTo>
                  <a:pt x="765" y="182"/>
                </a:lnTo>
                <a:close/>
                <a:moveTo>
                  <a:pt x="1041" y="743"/>
                </a:moveTo>
                <a:cubicBezTo>
                  <a:pt x="1041" y="736"/>
                  <a:pt x="1034" y="730"/>
                  <a:pt x="1027" y="730"/>
                </a:cubicBezTo>
                <a:cubicBezTo>
                  <a:pt x="501" y="730"/>
                  <a:pt x="501" y="730"/>
                  <a:pt x="501" y="730"/>
                </a:cubicBezTo>
                <a:cubicBezTo>
                  <a:pt x="497" y="730"/>
                  <a:pt x="494" y="732"/>
                  <a:pt x="491" y="735"/>
                </a:cubicBezTo>
                <a:cubicBezTo>
                  <a:pt x="488" y="737"/>
                  <a:pt x="486" y="741"/>
                  <a:pt x="487" y="745"/>
                </a:cubicBezTo>
                <a:cubicBezTo>
                  <a:pt x="487" y="746"/>
                  <a:pt x="487" y="747"/>
                  <a:pt x="487" y="747"/>
                </a:cubicBezTo>
                <a:cubicBezTo>
                  <a:pt x="487" y="815"/>
                  <a:pt x="432" y="869"/>
                  <a:pt x="365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295" y="869"/>
                  <a:pt x="243" y="819"/>
                  <a:pt x="243" y="757"/>
                </a:cubicBezTo>
                <a:cubicBezTo>
                  <a:pt x="243" y="757"/>
                  <a:pt x="243" y="243"/>
                  <a:pt x="243" y="174"/>
                </a:cubicBezTo>
                <a:cubicBezTo>
                  <a:pt x="243" y="139"/>
                  <a:pt x="243" y="139"/>
                  <a:pt x="243" y="139"/>
                </a:cubicBezTo>
                <a:cubicBezTo>
                  <a:pt x="243" y="100"/>
                  <a:pt x="212" y="69"/>
                  <a:pt x="174" y="69"/>
                </a:cubicBezTo>
                <a:cubicBezTo>
                  <a:pt x="742" y="69"/>
                  <a:pt x="742" y="69"/>
                  <a:pt x="742" y="69"/>
                </a:cubicBezTo>
                <a:cubicBezTo>
                  <a:pt x="793" y="69"/>
                  <a:pt x="834" y="111"/>
                  <a:pt x="834" y="161"/>
                </a:cubicBezTo>
                <a:cubicBezTo>
                  <a:pt x="834" y="695"/>
                  <a:pt x="834" y="695"/>
                  <a:pt x="834" y="695"/>
                </a:cubicBezTo>
                <a:cubicBezTo>
                  <a:pt x="904" y="695"/>
                  <a:pt x="904" y="695"/>
                  <a:pt x="904" y="695"/>
                </a:cubicBezTo>
                <a:cubicBezTo>
                  <a:pt x="904" y="573"/>
                  <a:pt x="904" y="326"/>
                  <a:pt x="904" y="161"/>
                </a:cubicBezTo>
                <a:cubicBezTo>
                  <a:pt x="904" y="72"/>
                  <a:pt x="832" y="0"/>
                  <a:pt x="742" y="0"/>
                </a:cubicBezTo>
                <a:cubicBezTo>
                  <a:pt x="685" y="0"/>
                  <a:pt x="685" y="0"/>
                  <a:pt x="685" y="0"/>
                </a:cubicBezTo>
                <a:cubicBezTo>
                  <a:pt x="174" y="0"/>
                  <a:pt x="174" y="0"/>
                  <a:pt x="174" y="0"/>
                </a:cubicBezTo>
                <a:cubicBezTo>
                  <a:pt x="78" y="0"/>
                  <a:pt x="0" y="78"/>
                  <a:pt x="0" y="174"/>
                </a:cubicBezTo>
                <a:cubicBezTo>
                  <a:pt x="0" y="181"/>
                  <a:pt x="0" y="188"/>
                  <a:pt x="1" y="196"/>
                </a:cubicBezTo>
                <a:cubicBezTo>
                  <a:pt x="2" y="203"/>
                  <a:pt x="8" y="209"/>
                  <a:pt x="16" y="209"/>
                </a:cubicBezTo>
                <a:cubicBezTo>
                  <a:pt x="174" y="209"/>
                  <a:pt x="174" y="209"/>
                  <a:pt x="174" y="209"/>
                </a:cubicBezTo>
                <a:cubicBezTo>
                  <a:pt x="174" y="410"/>
                  <a:pt x="174" y="694"/>
                  <a:pt x="174" y="757"/>
                </a:cubicBezTo>
                <a:cubicBezTo>
                  <a:pt x="174" y="857"/>
                  <a:pt x="256" y="939"/>
                  <a:pt x="358" y="939"/>
                </a:cubicBezTo>
                <a:cubicBezTo>
                  <a:pt x="820" y="939"/>
                  <a:pt x="820" y="939"/>
                  <a:pt x="820" y="939"/>
                </a:cubicBezTo>
                <a:cubicBezTo>
                  <a:pt x="869" y="939"/>
                  <a:pt x="869" y="939"/>
                  <a:pt x="869" y="939"/>
                </a:cubicBezTo>
                <a:cubicBezTo>
                  <a:pt x="965" y="939"/>
                  <a:pt x="1043" y="861"/>
                  <a:pt x="1043" y="765"/>
                </a:cubicBezTo>
                <a:cubicBezTo>
                  <a:pt x="1043" y="757"/>
                  <a:pt x="1042" y="750"/>
                  <a:pt x="1041" y="743"/>
                </a:cubicBezTo>
                <a:close/>
                <a:moveTo>
                  <a:pt x="765" y="529"/>
                </a:moveTo>
                <a:cubicBezTo>
                  <a:pt x="765" y="525"/>
                  <a:pt x="761" y="522"/>
                  <a:pt x="757" y="522"/>
                </a:cubicBezTo>
                <a:cubicBezTo>
                  <a:pt x="321" y="522"/>
                  <a:pt x="321" y="522"/>
                  <a:pt x="321" y="522"/>
                </a:cubicBezTo>
                <a:cubicBezTo>
                  <a:pt x="316" y="522"/>
                  <a:pt x="313" y="525"/>
                  <a:pt x="313" y="529"/>
                </a:cubicBezTo>
                <a:cubicBezTo>
                  <a:pt x="313" y="548"/>
                  <a:pt x="313" y="548"/>
                  <a:pt x="313" y="548"/>
                </a:cubicBezTo>
                <a:cubicBezTo>
                  <a:pt x="313" y="553"/>
                  <a:pt x="316" y="556"/>
                  <a:pt x="321" y="556"/>
                </a:cubicBezTo>
                <a:cubicBezTo>
                  <a:pt x="757" y="556"/>
                  <a:pt x="757" y="556"/>
                  <a:pt x="757" y="556"/>
                </a:cubicBezTo>
                <a:cubicBezTo>
                  <a:pt x="761" y="556"/>
                  <a:pt x="765" y="553"/>
                  <a:pt x="765" y="548"/>
                </a:cubicBezTo>
                <a:lnTo>
                  <a:pt x="765" y="529"/>
                </a:lnTo>
                <a:close/>
                <a:moveTo>
                  <a:pt x="765" y="460"/>
                </a:moveTo>
                <a:cubicBezTo>
                  <a:pt x="765" y="456"/>
                  <a:pt x="761" y="452"/>
                  <a:pt x="757" y="452"/>
                </a:cubicBezTo>
                <a:cubicBezTo>
                  <a:pt x="321" y="452"/>
                  <a:pt x="321" y="452"/>
                  <a:pt x="321" y="452"/>
                </a:cubicBezTo>
                <a:cubicBezTo>
                  <a:pt x="316" y="452"/>
                  <a:pt x="313" y="456"/>
                  <a:pt x="313" y="460"/>
                </a:cubicBezTo>
                <a:cubicBezTo>
                  <a:pt x="313" y="479"/>
                  <a:pt x="313" y="479"/>
                  <a:pt x="313" y="479"/>
                </a:cubicBezTo>
                <a:cubicBezTo>
                  <a:pt x="313" y="483"/>
                  <a:pt x="316" y="487"/>
                  <a:pt x="321" y="487"/>
                </a:cubicBezTo>
                <a:cubicBezTo>
                  <a:pt x="757" y="487"/>
                  <a:pt x="757" y="487"/>
                  <a:pt x="757" y="487"/>
                </a:cubicBezTo>
                <a:cubicBezTo>
                  <a:pt x="761" y="487"/>
                  <a:pt x="765" y="483"/>
                  <a:pt x="765" y="479"/>
                </a:cubicBezTo>
                <a:lnTo>
                  <a:pt x="765" y="460"/>
                </a:lnTo>
                <a:close/>
                <a:moveTo>
                  <a:pt x="765" y="599"/>
                </a:moveTo>
                <a:cubicBezTo>
                  <a:pt x="765" y="618"/>
                  <a:pt x="765" y="618"/>
                  <a:pt x="765" y="618"/>
                </a:cubicBezTo>
                <a:cubicBezTo>
                  <a:pt x="765" y="622"/>
                  <a:pt x="761" y="626"/>
                  <a:pt x="757" y="626"/>
                </a:cubicBezTo>
                <a:cubicBezTo>
                  <a:pt x="321" y="626"/>
                  <a:pt x="321" y="626"/>
                  <a:pt x="321" y="626"/>
                </a:cubicBezTo>
                <a:cubicBezTo>
                  <a:pt x="316" y="626"/>
                  <a:pt x="313" y="622"/>
                  <a:pt x="313" y="618"/>
                </a:cubicBezTo>
                <a:cubicBezTo>
                  <a:pt x="313" y="599"/>
                  <a:pt x="313" y="599"/>
                  <a:pt x="313" y="599"/>
                </a:cubicBezTo>
                <a:cubicBezTo>
                  <a:pt x="313" y="595"/>
                  <a:pt x="316" y="591"/>
                  <a:pt x="321" y="591"/>
                </a:cubicBezTo>
                <a:cubicBezTo>
                  <a:pt x="757" y="591"/>
                  <a:pt x="757" y="591"/>
                  <a:pt x="757" y="591"/>
                </a:cubicBezTo>
                <a:cubicBezTo>
                  <a:pt x="761" y="591"/>
                  <a:pt x="765" y="595"/>
                  <a:pt x="765" y="5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5AFCD516-351A-4097-B1BA-A172B5E93E3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200260" y="2340801"/>
            <a:ext cx="182832" cy="231961"/>
            <a:chOff x="849313" y="-539751"/>
            <a:chExt cx="8375650" cy="10623551"/>
          </a:xfrm>
          <a:solidFill>
            <a:schemeClr val="bg1">
              <a:alpha val="70000"/>
            </a:schemeClr>
          </a:solidFill>
        </p:grpSpPr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C8878A49-A261-454F-AFDB-B76D39AA6D6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3" y="2670175"/>
              <a:ext cx="8375650" cy="7413625"/>
            </a:xfrm>
            <a:custGeom>
              <a:avLst/>
              <a:gdLst>
                <a:gd name="T0" fmla="*/ 116 w 741"/>
                <a:gd name="T1" fmla="*/ 656 h 656"/>
                <a:gd name="T2" fmla="*/ 165 w 741"/>
                <a:gd name="T3" fmla="*/ 561 h 656"/>
                <a:gd name="T4" fmla="*/ 92 w 741"/>
                <a:gd name="T5" fmla="*/ 506 h 656"/>
                <a:gd name="T6" fmla="*/ 0 w 741"/>
                <a:gd name="T7" fmla="*/ 284 h 656"/>
                <a:gd name="T8" fmla="*/ 181 w 741"/>
                <a:gd name="T9" fmla="*/ 0 h 656"/>
                <a:gd name="T10" fmla="*/ 210 w 741"/>
                <a:gd name="T11" fmla="*/ 118 h 656"/>
                <a:gd name="T12" fmla="*/ 118 w 741"/>
                <a:gd name="T13" fmla="*/ 275 h 656"/>
                <a:gd name="T14" fmla="*/ 347 w 741"/>
                <a:gd name="T15" fmla="*/ 437 h 656"/>
                <a:gd name="T16" fmla="*/ 663 w 741"/>
                <a:gd name="T17" fmla="*/ 353 h 656"/>
                <a:gd name="T18" fmla="*/ 699 w 741"/>
                <a:gd name="T19" fmla="*/ 374 h 656"/>
                <a:gd name="T20" fmla="*/ 678 w 741"/>
                <a:gd name="T21" fmla="*/ 410 h 656"/>
                <a:gd name="T22" fmla="*/ 373 w 741"/>
                <a:gd name="T23" fmla="*/ 491 h 656"/>
                <a:gd name="T24" fmla="*/ 386 w 741"/>
                <a:gd name="T25" fmla="*/ 539 h 656"/>
                <a:gd name="T26" fmla="*/ 623 w 741"/>
                <a:gd name="T27" fmla="*/ 539 h 656"/>
                <a:gd name="T28" fmla="*/ 741 w 741"/>
                <a:gd name="T29" fmla="*/ 656 h 656"/>
                <a:gd name="T30" fmla="*/ 116 w 741"/>
                <a:gd name="T31" fmla="*/ 656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1" h="656">
                  <a:moveTo>
                    <a:pt x="116" y="656"/>
                  </a:moveTo>
                  <a:cubicBezTo>
                    <a:pt x="116" y="617"/>
                    <a:pt x="136" y="582"/>
                    <a:pt x="165" y="561"/>
                  </a:cubicBezTo>
                  <a:cubicBezTo>
                    <a:pt x="138" y="546"/>
                    <a:pt x="113" y="528"/>
                    <a:pt x="92" y="506"/>
                  </a:cubicBezTo>
                  <a:cubicBezTo>
                    <a:pt x="35" y="449"/>
                    <a:pt x="0" y="371"/>
                    <a:pt x="0" y="284"/>
                  </a:cubicBezTo>
                  <a:cubicBezTo>
                    <a:pt x="0" y="162"/>
                    <a:pt x="71" y="52"/>
                    <a:pt x="181" y="0"/>
                  </a:cubicBezTo>
                  <a:cubicBezTo>
                    <a:pt x="171" y="41"/>
                    <a:pt x="182" y="86"/>
                    <a:pt x="210" y="118"/>
                  </a:cubicBezTo>
                  <a:cubicBezTo>
                    <a:pt x="156" y="151"/>
                    <a:pt x="120" y="210"/>
                    <a:pt x="118" y="275"/>
                  </a:cubicBezTo>
                  <a:cubicBezTo>
                    <a:pt x="114" y="385"/>
                    <a:pt x="226" y="466"/>
                    <a:pt x="347" y="437"/>
                  </a:cubicBezTo>
                  <a:cubicBezTo>
                    <a:pt x="663" y="353"/>
                    <a:pt x="663" y="353"/>
                    <a:pt x="663" y="353"/>
                  </a:cubicBezTo>
                  <a:cubicBezTo>
                    <a:pt x="678" y="349"/>
                    <a:pt x="694" y="358"/>
                    <a:pt x="699" y="374"/>
                  </a:cubicBezTo>
                  <a:cubicBezTo>
                    <a:pt x="703" y="389"/>
                    <a:pt x="693" y="406"/>
                    <a:pt x="678" y="410"/>
                  </a:cubicBezTo>
                  <a:cubicBezTo>
                    <a:pt x="373" y="491"/>
                    <a:pt x="373" y="491"/>
                    <a:pt x="373" y="491"/>
                  </a:cubicBezTo>
                  <a:cubicBezTo>
                    <a:pt x="386" y="539"/>
                    <a:pt x="386" y="539"/>
                    <a:pt x="386" y="539"/>
                  </a:cubicBezTo>
                  <a:cubicBezTo>
                    <a:pt x="623" y="539"/>
                    <a:pt x="623" y="539"/>
                    <a:pt x="623" y="539"/>
                  </a:cubicBezTo>
                  <a:cubicBezTo>
                    <a:pt x="688" y="539"/>
                    <a:pt x="741" y="591"/>
                    <a:pt x="741" y="656"/>
                  </a:cubicBezTo>
                  <a:lnTo>
                    <a:pt x="116" y="6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393A0745-5BCB-4755-BD00-F21A2AACDF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1" y="5043487"/>
              <a:ext cx="2587625" cy="1231900"/>
            </a:xfrm>
            <a:custGeom>
              <a:avLst/>
              <a:gdLst>
                <a:gd name="T0" fmla="*/ 40 w 229"/>
                <a:gd name="T1" fmla="*/ 104 h 109"/>
                <a:gd name="T2" fmla="*/ 4 w 229"/>
                <a:gd name="T3" fmla="*/ 84 h 109"/>
                <a:gd name="T4" fmla="*/ 25 w 229"/>
                <a:gd name="T5" fmla="*/ 48 h 109"/>
                <a:gd name="T6" fmla="*/ 188 w 229"/>
                <a:gd name="T7" fmla="*/ 4 h 109"/>
                <a:gd name="T8" fmla="*/ 224 w 229"/>
                <a:gd name="T9" fmla="*/ 25 h 109"/>
                <a:gd name="T10" fmla="*/ 204 w 229"/>
                <a:gd name="T11" fmla="*/ 61 h 109"/>
                <a:gd name="T12" fmla="*/ 40 w 229"/>
                <a:gd name="T13" fmla="*/ 10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109">
                  <a:moveTo>
                    <a:pt x="40" y="104"/>
                  </a:moveTo>
                  <a:cubicBezTo>
                    <a:pt x="25" y="109"/>
                    <a:pt x="9" y="99"/>
                    <a:pt x="4" y="84"/>
                  </a:cubicBezTo>
                  <a:cubicBezTo>
                    <a:pt x="0" y="68"/>
                    <a:pt x="10" y="52"/>
                    <a:pt x="25" y="48"/>
                  </a:cubicBezTo>
                  <a:cubicBezTo>
                    <a:pt x="188" y="4"/>
                    <a:pt x="188" y="4"/>
                    <a:pt x="188" y="4"/>
                  </a:cubicBezTo>
                  <a:cubicBezTo>
                    <a:pt x="204" y="0"/>
                    <a:pt x="220" y="9"/>
                    <a:pt x="224" y="25"/>
                  </a:cubicBezTo>
                  <a:cubicBezTo>
                    <a:pt x="229" y="40"/>
                    <a:pt x="219" y="57"/>
                    <a:pt x="204" y="61"/>
                  </a:cubicBezTo>
                  <a:lnTo>
                    <a:pt x="4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BED7F239-84D8-424D-BA45-AE2EBD350C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4851" y="-539751"/>
              <a:ext cx="4092575" cy="5910263"/>
            </a:xfrm>
            <a:custGeom>
              <a:avLst/>
              <a:gdLst>
                <a:gd name="T0" fmla="*/ 105 w 362"/>
                <a:gd name="T1" fmla="*/ 348 h 523"/>
                <a:gd name="T2" fmla="*/ 69 w 362"/>
                <a:gd name="T3" fmla="*/ 327 h 523"/>
                <a:gd name="T4" fmla="*/ 90 w 362"/>
                <a:gd name="T5" fmla="*/ 291 h 523"/>
                <a:gd name="T6" fmla="*/ 126 w 362"/>
                <a:gd name="T7" fmla="*/ 312 h 523"/>
                <a:gd name="T8" fmla="*/ 105 w 362"/>
                <a:gd name="T9" fmla="*/ 348 h 523"/>
                <a:gd name="T10" fmla="*/ 358 w 362"/>
                <a:gd name="T11" fmla="*/ 441 h 523"/>
                <a:gd name="T12" fmla="*/ 271 w 362"/>
                <a:gd name="T13" fmla="*/ 115 h 523"/>
                <a:gd name="T14" fmla="*/ 233 w 362"/>
                <a:gd name="T15" fmla="*/ 93 h 523"/>
                <a:gd name="T16" fmla="*/ 206 w 362"/>
                <a:gd name="T17" fmla="*/ 101 h 523"/>
                <a:gd name="T18" fmla="*/ 182 w 362"/>
                <a:gd name="T19" fmla="*/ 12 h 523"/>
                <a:gd name="T20" fmla="*/ 164 w 362"/>
                <a:gd name="T21" fmla="*/ 2 h 523"/>
                <a:gd name="T22" fmla="*/ 93 w 362"/>
                <a:gd name="T23" fmla="*/ 21 h 523"/>
                <a:gd name="T24" fmla="*/ 83 w 362"/>
                <a:gd name="T25" fmla="*/ 39 h 523"/>
                <a:gd name="T26" fmla="*/ 107 w 362"/>
                <a:gd name="T27" fmla="*/ 127 h 523"/>
                <a:gd name="T28" fmla="*/ 80 w 362"/>
                <a:gd name="T29" fmla="*/ 135 h 523"/>
                <a:gd name="T30" fmla="*/ 58 w 362"/>
                <a:gd name="T31" fmla="*/ 172 h 523"/>
                <a:gd name="T32" fmla="*/ 75 w 362"/>
                <a:gd name="T33" fmla="*/ 235 h 523"/>
                <a:gd name="T34" fmla="*/ 12 w 362"/>
                <a:gd name="T35" fmla="*/ 342 h 523"/>
                <a:gd name="T36" fmla="*/ 120 w 362"/>
                <a:gd name="T37" fmla="*/ 405 h 523"/>
                <a:gd name="T38" fmla="*/ 120 w 362"/>
                <a:gd name="T39" fmla="*/ 405 h 523"/>
                <a:gd name="T40" fmla="*/ 145 w 362"/>
                <a:gd name="T41" fmla="*/ 498 h 523"/>
                <a:gd name="T42" fmla="*/ 181 w 362"/>
                <a:gd name="T43" fmla="*/ 518 h 523"/>
                <a:gd name="T44" fmla="*/ 337 w 362"/>
                <a:gd name="T45" fmla="*/ 477 h 523"/>
                <a:gd name="T46" fmla="*/ 358 w 362"/>
                <a:gd name="T47" fmla="*/ 441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2" h="523">
                  <a:moveTo>
                    <a:pt x="105" y="348"/>
                  </a:moveTo>
                  <a:cubicBezTo>
                    <a:pt x="89" y="352"/>
                    <a:pt x="73" y="343"/>
                    <a:pt x="69" y="327"/>
                  </a:cubicBezTo>
                  <a:cubicBezTo>
                    <a:pt x="65" y="311"/>
                    <a:pt x="74" y="295"/>
                    <a:pt x="90" y="291"/>
                  </a:cubicBezTo>
                  <a:cubicBezTo>
                    <a:pt x="106" y="287"/>
                    <a:pt x="122" y="296"/>
                    <a:pt x="126" y="312"/>
                  </a:cubicBezTo>
                  <a:cubicBezTo>
                    <a:pt x="130" y="328"/>
                    <a:pt x="121" y="344"/>
                    <a:pt x="105" y="348"/>
                  </a:cubicBezTo>
                  <a:close/>
                  <a:moveTo>
                    <a:pt x="358" y="441"/>
                  </a:moveTo>
                  <a:cubicBezTo>
                    <a:pt x="271" y="115"/>
                    <a:pt x="271" y="115"/>
                    <a:pt x="271" y="115"/>
                  </a:cubicBezTo>
                  <a:cubicBezTo>
                    <a:pt x="266" y="99"/>
                    <a:pt x="250" y="89"/>
                    <a:pt x="233" y="93"/>
                  </a:cubicBezTo>
                  <a:cubicBezTo>
                    <a:pt x="206" y="101"/>
                    <a:pt x="206" y="101"/>
                    <a:pt x="206" y="101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0" y="4"/>
                    <a:pt x="172" y="0"/>
                    <a:pt x="164" y="2"/>
                  </a:cubicBezTo>
                  <a:cubicBezTo>
                    <a:pt x="93" y="21"/>
                    <a:pt x="93" y="21"/>
                    <a:pt x="93" y="21"/>
                  </a:cubicBezTo>
                  <a:cubicBezTo>
                    <a:pt x="86" y="23"/>
                    <a:pt x="81" y="31"/>
                    <a:pt x="83" y="39"/>
                  </a:cubicBezTo>
                  <a:cubicBezTo>
                    <a:pt x="107" y="127"/>
                    <a:pt x="107" y="127"/>
                    <a:pt x="107" y="127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63" y="139"/>
                    <a:pt x="54" y="156"/>
                    <a:pt x="58" y="172"/>
                  </a:cubicBezTo>
                  <a:cubicBezTo>
                    <a:pt x="75" y="235"/>
                    <a:pt x="75" y="235"/>
                    <a:pt x="75" y="235"/>
                  </a:cubicBezTo>
                  <a:cubicBezTo>
                    <a:pt x="28" y="247"/>
                    <a:pt x="0" y="295"/>
                    <a:pt x="12" y="342"/>
                  </a:cubicBezTo>
                  <a:cubicBezTo>
                    <a:pt x="25" y="389"/>
                    <a:pt x="73" y="417"/>
                    <a:pt x="120" y="405"/>
                  </a:cubicBezTo>
                  <a:cubicBezTo>
                    <a:pt x="120" y="405"/>
                    <a:pt x="120" y="405"/>
                    <a:pt x="120" y="405"/>
                  </a:cubicBezTo>
                  <a:cubicBezTo>
                    <a:pt x="145" y="498"/>
                    <a:pt x="145" y="498"/>
                    <a:pt x="145" y="498"/>
                  </a:cubicBezTo>
                  <a:cubicBezTo>
                    <a:pt x="150" y="513"/>
                    <a:pt x="166" y="523"/>
                    <a:pt x="181" y="518"/>
                  </a:cubicBezTo>
                  <a:cubicBezTo>
                    <a:pt x="337" y="477"/>
                    <a:pt x="337" y="477"/>
                    <a:pt x="337" y="477"/>
                  </a:cubicBezTo>
                  <a:cubicBezTo>
                    <a:pt x="353" y="472"/>
                    <a:pt x="362" y="456"/>
                    <a:pt x="358" y="4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51" name="Freeform 47">
            <a:extLst>
              <a:ext uri="{FF2B5EF4-FFF2-40B4-BE49-F238E27FC236}">
                <a16:creationId xmlns:a16="http://schemas.microsoft.com/office/drawing/2014/main" id="{D823260E-0E3A-4261-A46D-E2190AEDC93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74781" y="3268800"/>
            <a:ext cx="201116" cy="201139"/>
          </a:xfrm>
          <a:custGeom>
            <a:avLst/>
            <a:gdLst>
              <a:gd name="T0" fmla="*/ 951 w 981"/>
              <a:gd name="T1" fmla="*/ 842 h 981"/>
              <a:gd name="T2" fmla="*/ 711 w 981"/>
              <a:gd name="T3" fmla="*/ 603 h 981"/>
              <a:gd name="T4" fmla="*/ 603 w 981"/>
              <a:gd name="T5" fmla="*/ 107 h 981"/>
              <a:gd name="T6" fmla="*/ 107 w 981"/>
              <a:gd name="T7" fmla="*/ 216 h 981"/>
              <a:gd name="T8" fmla="*/ 216 w 981"/>
              <a:gd name="T9" fmla="*/ 712 h 981"/>
              <a:gd name="T10" fmla="*/ 603 w 981"/>
              <a:gd name="T11" fmla="*/ 712 h 981"/>
              <a:gd name="T12" fmla="*/ 842 w 981"/>
              <a:gd name="T13" fmla="*/ 951 h 981"/>
              <a:gd name="T14" fmla="*/ 951 w 981"/>
              <a:gd name="T15" fmla="*/ 951 h 981"/>
              <a:gd name="T16" fmla="*/ 951 w 981"/>
              <a:gd name="T17" fmla="*/ 843 h 981"/>
              <a:gd name="T18" fmla="*/ 951 w 981"/>
              <a:gd name="T19" fmla="*/ 842 h 981"/>
              <a:gd name="T20" fmla="*/ 153 w 981"/>
              <a:gd name="T21" fmla="*/ 410 h 981"/>
              <a:gd name="T22" fmla="*/ 410 w 981"/>
              <a:gd name="T23" fmla="*/ 153 h 981"/>
              <a:gd name="T24" fmla="*/ 666 w 981"/>
              <a:gd name="T25" fmla="*/ 410 h 981"/>
              <a:gd name="T26" fmla="*/ 410 w 981"/>
              <a:gd name="T27" fmla="*/ 666 h 981"/>
              <a:gd name="T28" fmla="*/ 153 w 981"/>
              <a:gd name="T29" fmla="*/ 410 h 9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81" h="981">
                <a:moveTo>
                  <a:pt x="951" y="842"/>
                </a:moveTo>
                <a:cubicBezTo>
                  <a:pt x="711" y="603"/>
                  <a:pt x="711" y="603"/>
                  <a:pt x="711" y="603"/>
                </a:cubicBezTo>
                <a:cubicBezTo>
                  <a:pt x="818" y="436"/>
                  <a:pt x="770" y="214"/>
                  <a:pt x="603" y="107"/>
                </a:cubicBezTo>
                <a:cubicBezTo>
                  <a:pt x="436" y="0"/>
                  <a:pt x="214" y="49"/>
                  <a:pt x="107" y="216"/>
                </a:cubicBezTo>
                <a:cubicBezTo>
                  <a:pt x="0" y="383"/>
                  <a:pt x="49" y="605"/>
                  <a:pt x="216" y="712"/>
                </a:cubicBezTo>
                <a:cubicBezTo>
                  <a:pt x="334" y="787"/>
                  <a:pt x="485" y="787"/>
                  <a:pt x="603" y="712"/>
                </a:cubicBezTo>
                <a:cubicBezTo>
                  <a:pt x="842" y="951"/>
                  <a:pt x="842" y="951"/>
                  <a:pt x="842" y="951"/>
                </a:cubicBezTo>
                <a:cubicBezTo>
                  <a:pt x="872" y="981"/>
                  <a:pt x="921" y="981"/>
                  <a:pt x="951" y="951"/>
                </a:cubicBezTo>
                <a:cubicBezTo>
                  <a:pt x="981" y="921"/>
                  <a:pt x="981" y="873"/>
                  <a:pt x="951" y="843"/>
                </a:cubicBezTo>
                <a:cubicBezTo>
                  <a:pt x="951" y="843"/>
                  <a:pt x="951" y="842"/>
                  <a:pt x="951" y="842"/>
                </a:cubicBezTo>
                <a:close/>
                <a:moveTo>
                  <a:pt x="153" y="410"/>
                </a:moveTo>
                <a:cubicBezTo>
                  <a:pt x="153" y="268"/>
                  <a:pt x="268" y="153"/>
                  <a:pt x="410" y="153"/>
                </a:cubicBezTo>
                <a:cubicBezTo>
                  <a:pt x="551" y="153"/>
                  <a:pt x="666" y="268"/>
                  <a:pt x="666" y="410"/>
                </a:cubicBezTo>
                <a:cubicBezTo>
                  <a:pt x="666" y="551"/>
                  <a:pt x="551" y="666"/>
                  <a:pt x="410" y="666"/>
                </a:cubicBezTo>
                <a:cubicBezTo>
                  <a:pt x="268" y="666"/>
                  <a:pt x="153" y="551"/>
                  <a:pt x="153" y="41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53FE790D-DA37-4012-B5C0-40A06D02AC5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6706" y="918349"/>
            <a:ext cx="9963591" cy="5673283"/>
          </a:xfrm>
        </p:spPr>
        <p:txBody>
          <a:bodyPr/>
          <a:lstStyle>
            <a:lvl1pPr marL="0" indent="0">
              <a:spcBef>
                <a:spcPts val="1200"/>
              </a:spcBef>
              <a:buFontTx/>
              <a:buNone/>
              <a:defRPr sz="1799" b="1">
                <a:solidFill>
                  <a:schemeClr val="accent1">
                    <a:lumMod val="75000"/>
                  </a:schemeClr>
                </a:solidFill>
              </a:defRPr>
            </a:lvl1pPr>
            <a:lvl2pPr marL="168225" indent="-168225">
              <a:spcBef>
                <a:spcPts val="1200"/>
              </a:spcBef>
              <a:buFont typeface="Arial" panose="020B0604020202020204" pitchFamily="34" charset="0"/>
              <a:buChar char="•"/>
              <a:defRPr/>
            </a:lvl2pPr>
            <a:lvl3pPr marL="512609" indent="-171399">
              <a:spcBef>
                <a:spcPts val="600"/>
              </a:spcBef>
              <a:buFont typeface="Arial" panose="020B0604020202020204" pitchFamily="34" charset="0"/>
              <a:buChar char="‒"/>
              <a:defRPr sz="1300"/>
            </a:lvl3pPr>
            <a:lvl4pPr marL="798273" indent="-169812">
              <a:spcBef>
                <a:spcPts val="400"/>
              </a:spcBef>
              <a:buFont typeface="Arial" panose="020B0604020202020204" pitchFamily="34" charset="0"/>
              <a:buChar char="-"/>
              <a:defRPr sz="1300"/>
            </a:lvl4pPr>
            <a:lvl5pPr marL="1144245" indent="-115853">
              <a:spcBef>
                <a:spcPts val="200"/>
              </a:spcBef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EFDE1F4F-5619-4FCF-B766-08B11159813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84359" y="2786642"/>
            <a:ext cx="219317" cy="283896"/>
            <a:chOff x="10758416" y="1419641"/>
            <a:chExt cx="3297184" cy="4266944"/>
          </a:xfrm>
          <a:solidFill>
            <a:schemeClr val="bg1">
              <a:alpha val="80000"/>
            </a:schemeClr>
          </a:solidFill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1FA215D6-E455-4877-AFAD-5A05889B191D}"/>
                </a:ext>
              </a:extLst>
            </p:cNvPr>
            <p:cNvSpPr/>
            <p:nvPr/>
          </p:nvSpPr>
          <p:spPr>
            <a:xfrm>
              <a:off x="10758416" y="1419641"/>
              <a:ext cx="3297184" cy="4266944"/>
            </a:xfrm>
            <a:custGeom>
              <a:avLst/>
              <a:gdLst>
                <a:gd name="connsiteX0" fmla="*/ 2763817 w 3297184"/>
                <a:gd name="connsiteY0" fmla="*/ 1939520 h 4266944"/>
                <a:gd name="connsiteX1" fmla="*/ 2424401 w 3297184"/>
                <a:gd name="connsiteY1" fmla="*/ 1600104 h 4266944"/>
                <a:gd name="connsiteX2" fmla="*/ 2763817 w 3297184"/>
                <a:gd name="connsiteY2" fmla="*/ 1260688 h 4266944"/>
                <a:gd name="connsiteX3" fmla="*/ 3103233 w 3297184"/>
                <a:gd name="connsiteY3" fmla="*/ 1600104 h 4266944"/>
                <a:gd name="connsiteX4" fmla="*/ 2763817 w 3297184"/>
                <a:gd name="connsiteY4" fmla="*/ 1939520 h 4266944"/>
                <a:gd name="connsiteX5" fmla="*/ 3297185 w 3297184"/>
                <a:gd name="connsiteY5" fmla="*/ 1600104 h 4266944"/>
                <a:gd name="connsiteX6" fmla="*/ 2763817 w 3297184"/>
                <a:gd name="connsiteY6" fmla="*/ 1066736 h 4266944"/>
                <a:gd name="connsiteX7" fmla="*/ 2230449 w 3297184"/>
                <a:gd name="connsiteY7" fmla="*/ 1600104 h 4266944"/>
                <a:gd name="connsiteX8" fmla="*/ 2618353 w 3297184"/>
                <a:gd name="connsiteY8" fmla="*/ 2114077 h 4266944"/>
                <a:gd name="connsiteX9" fmla="*/ 2618353 w 3297184"/>
                <a:gd name="connsiteY9" fmla="*/ 3248697 h 4266944"/>
                <a:gd name="connsiteX10" fmla="*/ 1891032 w 3297184"/>
                <a:gd name="connsiteY10" fmla="*/ 3976017 h 4266944"/>
                <a:gd name="connsiteX11" fmla="*/ 1163712 w 3297184"/>
                <a:gd name="connsiteY11" fmla="*/ 3248697 h 4266944"/>
                <a:gd name="connsiteX12" fmla="*/ 1163712 w 3297184"/>
                <a:gd name="connsiteY12" fmla="*/ 2754119 h 4266944"/>
                <a:gd name="connsiteX13" fmla="*/ 2036496 w 3297184"/>
                <a:gd name="connsiteY13" fmla="*/ 1745568 h 4266944"/>
                <a:gd name="connsiteX14" fmla="*/ 1939520 w 3297184"/>
                <a:gd name="connsiteY14" fmla="*/ 1580709 h 4266944"/>
                <a:gd name="connsiteX15" fmla="*/ 1939520 w 3297184"/>
                <a:gd name="connsiteY15" fmla="*/ 387904 h 4266944"/>
                <a:gd name="connsiteX16" fmla="*/ 1687383 w 3297184"/>
                <a:gd name="connsiteY16" fmla="*/ 101825 h 4266944"/>
                <a:gd name="connsiteX17" fmla="*/ 1551616 w 3297184"/>
                <a:gd name="connsiteY17" fmla="*/ 0 h 4266944"/>
                <a:gd name="connsiteX18" fmla="*/ 1503128 w 3297184"/>
                <a:gd name="connsiteY18" fmla="*/ 0 h 4266944"/>
                <a:gd name="connsiteX19" fmla="*/ 1309176 w 3297184"/>
                <a:gd name="connsiteY19" fmla="*/ 193952 h 4266944"/>
                <a:gd name="connsiteX20" fmla="*/ 1503128 w 3297184"/>
                <a:gd name="connsiteY20" fmla="*/ 387904 h 4266944"/>
                <a:gd name="connsiteX21" fmla="*/ 1551616 w 3297184"/>
                <a:gd name="connsiteY21" fmla="*/ 387904 h 4266944"/>
                <a:gd name="connsiteX22" fmla="*/ 1687383 w 3297184"/>
                <a:gd name="connsiteY22" fmla="*/ 300626 h 4266944"/>
                <a:gd name="connsiteX23" fmla="*/ 1745568 w 3297184"/>
                <a:gd name="connsiteY23" fmla="*/ 387904 h 4266944"/>
                <a:gd name="connsiteX24" fmla="*/ 1745568 w 3297184"/>
                <a:gd name="connsiteY24" fmla="*/ 1580709 h 4266944"/>
                <a:gd name="connsiteX25" fmla="*/ 1648592 w 3297184"/>
                <a:gd name="connsiteY25" fmla="*/ 1745568 h 4266944"/>
                <a:gd name="connsiteX26" fmla="*/ 1018248 w 3297184"/>
                <a:gd name="connsiteY26" fmla="*/ 2375913 h 4266944"/>
                <a:gd name="connsiteX27" fmla="*/ 387904 w 3297184"/>
                <a:gd name="connsiteY27" fmla="*/ 1745568 h 4266944"/>
                <a:gd name="connsiteX28" fmla="*/ 290928 w 3297184"/>
                <a:gd name="connsiteY28" fmla="*/ 1580709 h 4266944"/>
                <a:gd name="connsiteX29" fmla="*/ 290928 w 3297184"/>
                <a:gd name="connsiteY29" fmla="*/ 387904 h 4266944"/>
                <a:gd name="connsiteX30" fmla="*/ 349114 w 3297184"/>
                <a:gd name="connsiteY30" fmla="*/ 300626 h 4266944"/>
                <a:gd name="connsiteX31" fmla="*/ 484880 w 3297184"/>
                <a:gd name="connsiteY31" fmla="*/ 387904 h 4266944"/>
                <a:gd name="connsiteX32" fmla="*/ 533368 w 3297184"/>
                <a:gd name="connsiteY32" fmla="*/ 387904 h 4266944"/>
                <a:gd name="connsiteX33" fmla="*/ 727320 w 3297184"/>
                <a:gd name="connsiteY33" fmla="*/ 193952 h 4266944"/>
                <a:gd name="connsiteX34" fmla="*/ 533368 w 3297184"/>
                <a:gd name="connsiteY34" fmla="*/ 0 h 4266944"/>
                <a:gd name="connsiteX35" fmla="*/ 484880 w 3297184"/>
                <a:gd name="connsiteY35" fmla="*/ 0 h 4266944"/>
                <a:gd name="connsiteX36" fmla="*/ 349114 w 3297184"/>
                <a:gd name="connsiteY36" fmla="*/ 101825 h 4266944"/>
                <a:gd name="connsiteX37" fmla="*/ 96976 w 3297184"/>
                <a:gd name="connsiteY37" fmla="*/ 387904 h 4266944"/>
                <a:gd name="connsiteX38" fmla="*/ 96976 w 3297184"/>
                <a:gd name="connsiteY38" fmla="*/ 1580709 h 4266944"/>
                <a:gd name="connsiteX39" fmla="*/ 0 w 3297184"/>
                <a:gd name="connsiteY39" fmla="*/ 1745568 h 4266944"/>
                <a:gd name="connsiteX40" fmla="*/ 872784 w 3297184"/>
                <a:gd name="connsiteY40" fmla="*/ 2754119 h 4266944"/>
                <a:gd name="connsiteX41" fmla="*/ 872784 w 3297184"/>
                <a:gd name="connsiteY41" fmla="*/ 3248697 h 4266944"/>
                <a:gd name="connsiteX42" fmla="*/ 1891032 w 3297184"/>
                <a:gd name="connsiteY42" fmla="*/ 4266945 h 4266944"/>
                <a:gd name="connsiteX43" fmla="*/ 2909281 w 3297184"/>
                <a:gd name="connsiteY43" fmla="*/ 3248697 h 4266944"/>
                <a:gd name="connsiteX44" fmla="*/ 2909281 w 3297184"/>
                <a:gd name="connsiteY44" fmla="*/ 2114077 h 4266944"/>
                <a:gd name="connsiteX45" fmla="*/ 3297185 w 3297184"/>
                <a:gd name="connsiteY45" fmla="*/ 1600104 h 4266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3297184" h="4266944">
                  <a:moveTo>
                    <a:pt x="2763817" y="1939520"/>
                  </a:moveTo>
                  <a:cubicBezTo>
                    <a:pt x="2574713" y="1939520"/>
                    <a:pt x="2424401" y="1789208"/>
                    <a:pt x="2424401" y="1600104"/>
                  </a:cubicBezTo>
                  <a:cubicBezTo>
                    <a:pt x="2424401" y="1411001"/>
                    <a:pt x="2574713" y="1260688"/>
                    <a:pt x="2763817" y="1260688"/>
                  </a:cubicBezTo>
                  <a:cubicBezTo>
                    <a:pt x="2952920" y="1260688"/>
                    <a:pt x="3103233" y="1411001"/>
                    <a:pt x="3103233" y="1600104"/>
                  </a:cubicBezTo>
                  <a:cubicBezTo>
                    <a:pt x="3103233" y="1789208"/>
                    <a:pt x="2952920" y="1939520"/>
                    <a:pt x="2763817" y="1939520"/>
                  </a:cubicBezTo>
                  <a:close/>
                  <a:moveTo>
                    <a:pt x="3297185" y="1600104"/>
                  </a:moveTo>
                  <a:cubicBezTo>
                    <a:pt x="3297185" y="1304328"/>
                    <a:pt x="3059594" y="1066736"/>
                    <a:pt x="2763817" y="1066736"/>
                  </a:cubicBezTo>
                  <a:cubicBezTo>
                    <a:pt x="2468040" y="1066736"/>
                    <a:pt x="2230449" y="1304328"/>
                    <a:pt x="2230449" y="1600104"/>
                  </a:cubicBezTo>
                  <a:cubicBezTo>
                    <a:pt x="2230449" y="1842544"/>
                    <a:pt x="2395308" y="2051043"/>
                    <a:pt x="2618353" y="2114077"/>
                  </a:cubicBezTo>
                  <a:lnTo>
                    <a:pt x="2618353" y="3248697"/>
                  </a:lnTo>
                  <a:cubicBezTo>
                    <a:pt x="2618353" y="3651147"/>
                    <a:pt x="2293483" y="3976017"/>
                    <a:pt x="1891032" y="3976017"/>
                  </a:cubicBezTo>
                  <a:cubicBezTo>
                    <a:pt x="1488582" y="3976017"/>
                    <a:pt x="1163712" y="3651147"/>
                    <a:pt x="1163712" y="3248697"/>
                  </a:cubicBezTo>
                  <a:lnTo>
                    <a:pt x="1163712" y="2754119"/>
                  </a:lnTo>
                  <a:cubicBezTo>
                    <a:pt x="1658290" y="2681387"/>
                    <a:pt x="2036496" y="2259541"/>
                    <a:pt x="2036496" y="1745568"/>
                  </a:cubicBezTo>
                  <a:cubicBezTo>
                    <a:pt x="2036496" y="1672836"/>
                    <a:pt x="1997706" y="1609802"/>
                    <a:pt x="1939520" y="1580709"/>
                  </a:cubicBezTo>
                  <a:lnTo>
                    <a:pt x="1939520" y="387904"/>
                  </a:lnTo>
                  <a:cubicBezTo>
                    <a:pt x="1939520" y="242440"/>
                    <a:pt x="1827998" y="121220"/>
                    <a:pt x="1687383" y="101825"/>
                  </a:cubicBezTo>
                  <a:cubicBezTo>
                    <a:pt x="1667988" y="43639"/>
                    <a:pt x="1614651" y="0"/>
                    <a:pt x="1551616" y="0"/>
                  </a:cubicBezTo>
                  <a:lnTo>
                    <a:pt x="1503128" y="0"/>
                  </a:lnTo>
                  <a:cubicBezTo>
                    <a:pt x="1396455" y="0"/>
                    <a:pt x="1309176" y="87278"/>
                    <a:pt x="1309176" y="193952"/>
                  </a:cubicBezTo>
                  <a:cubicBezTo>
                    <a:pt x="1309176" y="300626"/>
                    <a:pt x="1396455" y="387904"/>
                    <a:pt x="1503128" y="387904"/>
                  </a:cubicBezTo>
                  <a:lnTo>
                    <a:pt x="1551616" y="387904"/>
                  </a:lnTo>
                  <a:cubicBezTo>
                    <a:pt x="1609802" y="387904"/>
                    <a:pt x="1663139" y="349114"/>
                    <a:pt x="1687383" y="300626"/>
                  </a:cubicBezTo>
                  <a:cubicBezTo>
                    <a:pt x="1721324" y="315172"/>
                    <a:pt x="1745568" y="349114"/>
                    <a:pt x="1745568" y="387904"/>
                  </a:cubicBezTo>
                  <a:lnTo>
                    <a:pt x="1745568" y="1580709"/>
                  </a:lnTo>
                  <a:cubicBezTo>
                    <a:pt x="1687383" y="1614651"/>
                    <a:pt x="1648592" y="1677685"/>
                    <a:pt x="1648592" y="1745568"/>
                  </a:cubicBezTo>
                  <a:cubicBezTo>
                    <a:pt x="1648592" y="2094682"/>
                    <a:pt x="1367362" y="2375913"/>
                    <a:pt x="1018248" y="2375913"/>
                  </a:cubicBezTo>
                  <a:cubicBezTo>
                    <a:pt x="669135" y="2375913"/>
                    <a:pt x="387904" y="2094682"/>
                    <a:pt x="387904" y="1745568"/>
                  </a:cubicBezTo>
                  <a:cubicBezTo>
                    <a:pt x="387904" y="1672836"/>
                    <a:pt x="349114" y="1609802"/>
                    <a:pt x="290928" y="1580709"/>
                  </a:cubicBezTo>
                  <a:lnTo>
                    <a:pt x="290928" y="387904"/>
                  </a:lnTo>
                  <a:cubicBezTo>
                    <a:pt x="290928" y="349114"/>
                    <a:pt x="315172" y="315172"/>
                    <a:pt x="349114" y="300626"/>
                  </a:cubicBezTo>
                  <a:cubicBezTo>
                    <a:pt x="373358" y="353963"/>
                    <a:pt x="421846" y="387904"/>
                    <a:pt x="484880" y="387904"/>
                  </a:cubicBezTo>
                  <a:lnTo>
                    <a:pt x="533368" y="387904"/>
                  </a:lnTo>
                  <a:cubicBezTo>
                    <a:pt x="640042" y="387904"/>
                    <a:pt x="727320" y="300626"/>
                    <a:pt x="727320" y="193952"/>
                  </a:cubicBezTo>
                  <a:cubicBezTo>
                    <a:pt x="727320" y="87278"/>
                    <a:pt x="640042" y="0"/>
                    <a:pt x="533368" y="0"/>
                  </a:cubicBezTo>
                  <a:lnTo>
                    <a:pt x="484880" y="0"/>
                  </a:lnTo>
                  <a:cubicBezTo>
                    <a:pt x="421846" y="0"/>
                    <a:pt x="368509" y="43639"/>
                    <a:pt x="349114" y="101825"/>
                  </a:cubicBezTo>
                  <a:cubicBezTo>
                    <a:pt x="208498" y="121220"/>
                    <a:pt x="96976" y="242440"/>
                    <a:pt x="96976" y="387904"/>
                  </a:cubicBezTo>
                  <a:lnTo>
                    <a:pt x="96976" y="1580709"/>
                  </a:lnTo>
                  <a:cubicBezTo>
                    <a:pt x="38790" y="1614651"/>
                    <a:pt x="0" y="1677685"/>
                    <a:pt x="0" y="1745568"/>
                  </a:cubicBezTo>
                  <a:cubicBezTo>
                    <a:pt x="0" y="2259541"/>
                    <a:pt x="378206" y="2681387"/>
                    <a:pt x="872784" y="2754119"/>
                  </a:cubicBezTo>
                  <a:lnTo>
                    <a:pt x="872784" y="3248697"/>
                  </a:lnTo>
                  <a:cubicBezTo>
                    <a:pt x="872784" y="3811158"/>
                    <a:pt x="1328572" y="4266945"/>
                    <a:pt x="1891032" y="4266945"/>
                  </a:cubicBezTo>
                  <a:cubicBezTo>
                    <a:pt x="2453493" y="4266945"/>
                    <a:pt x="2909281" y="3811158"/>
                    <a:pt x="2909281" y="3248697"/>
                  </a:cubicBezTo>
                  <a:lnTo>
                    <a:pt x="2909281" y="2114077"/>
                  </a:lnTo>
                  <a:cubicBezTo>
                    <a:pt x="3132326" y="2051043"/>
                    <a:pt x="3297185" y="1842544"/>
                    <a:pt x="3297185" y="1600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F9D5F03-D887-437D-926D-AA3E6C29283D}"/>
                </a:ext>
              </a:extLst>
            </p:cNvPr>
            <p:cNvSpPr/>
            <p:nvPr/>
          </p:nvSpPr>
          <p:spPr>
            <a:xfrm>
              <a:off x="13279792" y="2777305"/>
              <a:ext cx="484880" cy="484880"/>
            </a:xfrm>
            <a:custGeom>
              <a:avLst/>
              <a:gdLst>
                <a:gd name="connsiteX0" fmla="*/ 484880 w 484880"/>
                <a:gd name="connsiteY0" fmla="*/ 242440 h 484880"/>
                <a:gd name="connsiteX1" fmla="*/ 242440 w 484880"/>
                <a:gd name="connsiteY1" fmla="*/ 484880 h 484880"/>
                <a:gd name="connsiteX2" fmla="*/ 0 w 484880"/>
                <a:gd name="connsiteY2" fmla="*/ 242440 h 484880"/>
                <a:gd name="connsiteX3" fmla="*/ 242440 w 484880"/>
                <a:gd name="connsiteY3" fmla="*/ 0 h 484880"/>
                <a:gd name="connsiteX4" fmla="*/ 484880 w 484880"/>
                <a:gd name="connsiteY4" fmla="*/ 242440 h 484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880" h="484880">
                  <a:moveTo>
                    <a:pt x="484880" y="242440"/>
                  </a:moveTo>
                  <a:cubicBezTo>
                    <a:pt x="484880" y="376336"/>
                    <a:pt x="376336" y="484880"/>
                    <a:pt x="242440" y="484880"/>
                  </a:cubicBezTo>
                  <a:cubicBezTo>
                    <a:pt x="108544" y="484880"/>
                    <a:pt x="0" y="376336"/>
                    <a:pt x="0" y="242440"/>
                  </a:cubicBezTo>
                  <a:cubicBezTo>
                    <a:pt x="0" y="108544"/>
                    <a:pt x="108544" y="0"/>
                    <a:pt x="242440" y="0"/>
                  </a:cubicBezTo>
                  <a:cubicBezTo>
                    <a:pt x="376336" y="0"/>
                    <a:pt x="484880" y="108544"/>
                    <a:pt x="484880" y="2424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06DB959-B1C6-465F-AF90-6AD0880B62D1}"/>
              </a:ext>
            </a:extLst>
          </p:cNvPr>
          <p:cNvGrpSpPr/>
          <p:nvPr userDrawn="1"/>
        </p:nvGrpSpPr>
        <p:grpSpPr>
          <a:xfrm>
            <a:off x="10851242" y="3702633"/>
            <a:ext cx="229989" cy="225311"/>
            <a:chOff x="2634853" y="3844528"/>
            <a:chExt cx="261938" cy="268319"/>
          </a:xfrm>
          <a:solidFill>
            <a:schemeClr val="bg1">
              <a:alpha val="80000"/>
            </a:schemeClr>
          </a:solidFill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229AF10E-10FF-4A62-826F-EAA210335718}"/>
                </a:ext>
              </a:extLst>
            </p:cNvPr>
            <p:cNvSpPr/>
            <p:nvPr/>
          </p:nvSpPr>
          <p:spPr>
            <a:xfrm>
              <a:off x="2634853" y="3965972"/>
              <a:ext cx="34366" cy="108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970B6C71-9D4D-4D52-9528-FEE4352D5458}"/>
                </a:ext>
              </a:extLst>
            </p:cNvPr>
            <p:cNvSpPr/>
            <p:nvPr/>
          </p:nvSpPr>
          <p:spPr>
            <a:xfrm>
              <a:off x="2691746" y="3894534"/>
              <a:ext cx="34366" cy="18024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57ADB278-CBC3-47FC-85C8-BFBFEEA45175}"/>
                </a:ext>
              </a:extLst>
            </p:cNvPr>
            <p:cNvSpPr/>
            <p:nvPr/>
          </p:nvSpPr>
          <p:spPr>
            <a:xfrm>
              <a:off x="2748639" y="3992166"/>
              <a:ext cx="34366" cy="826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528266BE-0499-4F27-9E93-AE021103D98E}"/>
                </a:ext>
              </a:extLst>
            </p:cNvPr>
            <p:cNvSpPr/>
            <p:nvPr/>
          </p:nvSpPr>
          <p:spPr>
            <a:xfrm>
              <a:off x="2805532" y="3942160"/>
              <a:ext cx="34366" cy="13261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D3FAD65E-D8F9-4B5D-90B1-5931ADFD7155}"/>
                </a:ext>
              </a:extLst>
            </p:cNvPr>
            <p:cNvSpPr/>
            <p:nvPr/>
          </p:nvSpPr>
          <p:spPr>
            <a:xfrm>
              <a:off x="2862425" y="3844528"/>
              <a:ext cx="34366" cy="2302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FBEA5C75-719F-482A-A6ED-CBDE227E374F}"/>
                </a:ext>
              </a:extLst>
            </p:cNvPr>
            <p:cNvSpPr/>
            <p:nvPr/>
          </p:nvSpPr>
          <p:spPr>
            <a:xfrm>
              <a:off x="2634853" y="4094559"/>
              <a:ext cx="261938" cy="1828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4D53CADF-B3B7-4287-9CCB-9F4B558596D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43494" y="4609169"/>
            <a:ext cx="247314" cy="241130"/>
            <a:chOff x="2578100" y="0"/>
            <a:chExt cx="11628438" cy="11334750"/>
          </a:xfrm>
          <a:solidFill>
            <a:schemeClr val="bg1">
              <a:alpha val="80000"/>
            </a:schemeClr>
          </a:solidFill>
        </p:grpSpPr>
        <p:sp>
          <p:nvSpPr>
            <p:cNvPr id="56" name="Freeform 15">
              <a:extLst>
                <a:ext uri="{FF2B5EF4-FFF2-40B4-BE49-F238E27FC236}">
                  <a16:creationId xmlns:a16="http://schemas.microsoft.com/office/drawing/2014/main" id="{FE91C1B7-803C-41EF-8512-8567171515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2263" y="0"/>
              <a:ext cx="4994275" cy="5073650"/>
            </a:xfrm>
            <a:custGeom>
              <a:avLst/>
              <a:gdLst>
                <a:gd name="T0" fmla="*/ 211 w 442"/>
                <a:gd name="T1" fmla="*/ 137 h 449"/>
                <a:gd name="T2" fmla="*/ 308 w 442"/>
                <a:gd name="T3" fmla="*/ 215 h 449"/>
                <a:gd name="T4" fmla="*/ 231 w 442"/>
                <a:gd name="T5" fmla="*/ 312 h 449"/>
                <a:gd name="T6" fmla="*/ 133 w 442"/>
                <a:gd name="T7" fmla="*/ 235 h 449"/>
                <a:gd name="T8" fmla="*/ 211 w 442"/>
                <a:gd name="T9" fmla="*/ 137 h 449"/>
                <a:gd name="T10" fmla="*/ 65 w 442"/>
                <a:gd name="T11" fmla="*/ 283 h 449"/>
                <a:gd name="T12" fmla="*/ 16 w 442"/>
                <a:gd name="T13" fmla="*/ 320 h 449"/>
                <a:gd name="T14" fmla="*/ 71 w 442"/>
                <a:gd name="T15" fmla="*/ 394 h 449"/>
                <a:gd name="T16" fmla="*/ 121 w 442"/>
                <a:gd name="T17" fmla="*/ 357 h 449"/>
                <a:gd name="T18" fmla="*/ 194 w 442"/>
                <a:gd name="T19" fmla="*/ 389 h 449"/>
                <a:gd name="T20" fmla="*/ 201 w 442"/>
                <a:gd name="T21" fmla="*/ 449 h 449"/>
                <a:gd name="T22" fmla="*/ 292 w 442"/>
                <a:gd name="T23" fmla="*/ 439 h 449"/>
                <a:gd name="T24" fmla="*/ 285 w 442"/>
                <a:gd name="T25" fmla="*/ 378 h 449"/>
                <a:gd name="T26" fmla="*/ 349 w 442"/>
                <a:gd name="T27" fmla="*/ 330 h 449"/>
                <a:gd name="T28" fmla="*/ 405 w 442"/>
                <a:gd name="T29" fmla="*/ 354 h 449"/>
                <a:gd name="T30" fmla="*/ 442 w 442"/>
                <a:gd name="T31" fmla="*/ 270 h 449"/>
                <a:gd name="T32" fmla="*/ 385 w 442"/>
                <a:gd name="T33" fmla="*/ 246 h 449"/>
                <a:gd name="T34" fmla="*/ 376 w 442"/>
                <a:gd name="T35" fmla="*/ 166 h 449"/>
                <a:gd name="T36" fmla="*/ 425 w 442"/>
                <a:gd name="T37" fmla="*/ 130 h 449"/>
                <a:gd name="T38" fmla="*/ 370 w 442"/>
                <a:gd name="T39" fmla="*/ 56 h 449"/>
                <a:gd name="T40" fmla="*/ 321 w 442"/>
                <a:gd name="T41" fmla="*/ 93 h 449"/>
                <a:gd name="T42" fmla="*/ 248 w 442"/>
                <a:gd name="T43" fmla="*/ 61 h 449"/>
                <a:gd name="T44" fmla="*/ 241 w 442"/>
                <a:gd name="T45" fmla="*/ 0 h 449"/>
                <a:gd name="T46" fmla="*/ 149 w 442"/>
                <a:gd name="T47" fmla="*/ 11 h 449"/>
                <a:gd name="T48" fmla="*/ 156 w 442"/>
                <a:gd name="T49" fmla="*/ 72 h 449"/>
                <a:gd name="T50" fmla="*/ 93 w 442"/>
                <a:gd name="T51" fmla="*/ 119 h 449"/>
                <a:gd name="T52" fmla="*/ 36 w 442"/>
                <a:gd name="T53" fmla="*/ 95 h 449"/>
                <a:gd name="T54" fmla="*/ 0 w 442"/>
                <a:gd name="T55" fmla="*/ 180 h 449"/>
                <a:gd name="T56" fmla="*/ 56 w 442"/>
                <a:gd name="T57" fmla="*/ 204 h 449"/>
                <a:gd name="T58" fmla="*/ 65 w 442"/>
                <a:gd name="T59" fmla="*/ 283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2" h="449">
                  <a:moveTo>
                    <a:pt x="211" y="137"/>
                  </a:moveTo>
                  <a:cubicBezTo>
                    <a:pt x="259" y="132"/>
                    <a:pt x="303" y="166"/>
                    <a:pt x="308" y="215"/>
                  </a:cubicBezTo>
                  <a:cubicBezTo>
                    <a:pt x="314" y="263"/>
                    <a:pt x="279" y="307"/>
                    <a:pt x="231" y="312"/>
                  </a:cubicBezTo>
                  <a:cubicBezTo>
                    <a:pt x="183" y="318"/>
                    <a:pt x="139" y="283"/>
                    <a:pt x="133" y="235"/>
                  </a:cubicBezTo>
                  <a:cubicBezTo>
                    <a:pt x="128" y="187"/>
                    <a:pt x="162" y="143"/>
                    <a:pt x="211" y="137"/>
                  </a:cubicBezTo>
                  <a:close/>
                  <a:moveTo>
                    <a:pt x="65" y="283"/>
                  </a:moveTo>
                  <a:cubicBezTo>
                    <a:pt x="16" y="320"/>
                    <a:pt x="16" y="320"/>
                    <a:pt x="16" y="320"/>
                  </a:cubicBezTo>
                  <a:cubicBezTo>
                    <a:pt x="71" y="394"/>
                    <a:pt x="71" y="394"/>
                    <a:pt x="71" y="394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94" y="389"/>
                    <a:pt x="194" y="389"/>
                    <a:pt x="194" y="389"/>
                  </a:cubicBezTo>
                  <a:cubicBezTo>
                    <a:pt x="201" y="449"/>
                    <a:pt x="201" y="449"/>
                    <a:pt x="201" y="449"/>
                  </a:cubicBezTo>
                  <a:cubicBezTo>
                    <a:pt x="292" y="439"/>
                    <a:pt x="292" y="439"/>
                    <a:pt x="292" y="439"/>
                  </a:cubicBezTo>
                  <a:cubicBezTo>
                    <a:pt x="285" y="378"/>
                    <a:pt x="285" y="378"/>
                    <a:pt x="285" y="378"/>
                  </a:cubicBezTo>
                  <a:cubicBezTo>
                    <a:pt x="349" y="330"/>
                    <a:pt x="349" y="330"/>
                    <a:pt x="349" y="330"/>
                  </a:cubicBezTo>
                  <a:cubicBezTo>
                    <a:pt x="405" y="354"/>
                    <a:pt x="405" y="354"/>
                    <a:pt x="405" y="354"/>
                  </a:cubicBezTo>
                  <a:cubicBezTo>
                    <a:pt x="442" y="270"/>
                    <a:pt x="442" y="270"/>
                    <a:pt x="442" y="270"/>
                  </a:cubicBezTo>
                  <a:cubicBezTo>
                    <a:pt x="385" y="246"/>
                    <a:pt x="385" y="246"/>
                    <a:pt x="385" y="246"/>
                  </a:cubicBezTo>
                  <a:cubicBezTo>
                    <a:pt x="376" y="166"/>
                    <a:pt x="376" y="166"/>
                    <a:pt x="376" y="166"/>
                  </a:cubicBezTo>
                  <a:cubicBezTo>
                    <a:pt x="425" y="130"/>
                    <a:pt x="425" y="130"/>
                    <a:pt x="425" y="130"/>
                  </a:cubicBezTo>
                  <a:cubicBezTo>
                    <a:pt x="370" y="56"/>
                    <a:pt x="370" y="56"/>
                    <a:pt x="370" y="56"/>
                  </a:cubicBezTo>
                  <a:cubicBezTo>
                    <a:pt x="321" y="93"/>
                    <a:pt x="321" y="93"/>
                    <a:pt x="321" y="93"/>
                  </a:cubicBezTo>
                  <a:cubicBezTo>
                    <a:pt x="248" y="61"/>
                    <a:pt x="248" y="61"/>
                    <a:pt x="248" y="61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56" y="72"/>
                    <a:pt x="156" y="72"/>
                    <a:pt x="156" y="72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36" y="95"/>
                    <a:pt x="36" y="95"/>
                    <a:pt x="36" y="95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56" y="204"/>
                    <a:pt x="56" y="204"/>
                    <a:pt x="56" y="204"/>
                  </a:cubicBezTo>
                  <a:lnTo>
                    <a:pt x="65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72A2974C-4604-4AB8-8040-D9EC2D297B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0313" y="6340475"/>
              <a:ext cx="5073650" cy="4994275"/>
            </a:xfrm>
            <a:custGeom>
              <a:avLst/>
              <a:gdLst>
                <a:gd name="T0" fmla="*/ 306 w 449"/>
                <a:gd name="T1" fmla="*/ 256 h 442"/>
                <a:gd name="T2" fmla="*/ 190 w 449"/>
                <a:gd name="T3" fmla="*/ 302 h 442"/>
                <a:gd name="T4" fmla="*/ 144 w 449"/>
                <a:gd name="T5" fmla="*/ 186 h 442"/>
                <a:gd name="T6" fmla="*/ 259 w 449"/>
                <a:gd name="T7" fmla="*/ 140 h 442"/>
                <a:gd name="T8" fmla="*/ 306 w 449"/>
                <a:gd name="T9" fmla="*/ 256 h 442"/>
                <a:gd name="T10" fmla="*/ 449 w 449"/>
                <a:gd name="T11" fmla="*/ 240 h 442"/>
                <a:gd name="T12" fmla="*/ 438 w 449"/>
                <a:gd name="T13" fmla="*/ 149 h 442"/>
                <a:gd name="T14" fmla="*/ 377 w 449"/>
                <a:gd name="T15" fmla="*/ 156 h 442"/>
                <a:gd name="T16" fmla="*/ 330 w 449"/>
                <a:gd name="T17" fmla="*/ 92 h 442"/>
                <a:gd name="T18" fmla="*/ 354 w 449"/>
                <a:gd name="T19" fmla="*/ 36 h 442"/>
                <a:gd name="T20" fmla="*/ 269 w 449"/>
                <a:gd name="T21" fmla="*/ 0 h 442"/>
                <a:gd name="T22" fmla="*/ 245 w 449"/>
                <a:gd name="T23" fmla="*/ 56 h 442"/>
                <a:gd name="T24" fmla="*/ 166 w 449"/>
                <a:gd name="T25" fmla="*/ 66 h 442"/>
                <a:gd name="T26" fmla="*/ 129 w 449"/>
                <a:gd name="T27" fmla="*/ 17 h 442"/>
                <a:gd name="T28" fmla="*/ 55 w 449"/>
                <a:gd name="T29" fmla="*/ 72 h 442"/>
                <a:gd name="T30" fmla="*/ 92 w 449"/>
                <a:gd name="T31" fmla="*/ 121 h 442"/>
                <a:gd name="T32" fmla="*/ 61 w 449"/>
                <a:gd name="T33" fmla="*/ 194 h 442"/>
                <a:gd name="T34" fmla="*/ 0 w 449"/>
                <a:gd name="T35" fmla="*/ 202 h 442"/>
                <a:gd name="T36" fmla="*/ 11 w 449"/>
                <a:gd name="T37" fmla="*/ 293 h 442"/>
                <a:gd name="T38" fmla="*/ 72 w 449"/>
                <a:gd name="T39" fmla="*/ 286 h 442"/>
                <a:gd name="T40" fmla="*/ 120 w 449"/>
                <a:gd name="T41" fmla="*/ 350 h 442"/>
                <a:gd name="T42" fmla="*/ 96 w 449"/>
                <a:gd name="T43" fmla="*/ 406 h 442"/>
                <a:gd name="T44" fmla="*/ 180 w 449"/>
                <a:gd name="T45" fmla="*/ 442 h 442"/>
                <a:gd name="T46" fmla="*/ 205 w 449"/>
                <a:gd name="T47" fmla="*/ 386 h 442"/>
                <a:gd name="T48" fmla="*/ 284 w 449"/>
                <a:gd name="T49" fmla="*/ 376 h 442"/>
                <a:gd name="T50" fmla="*/ 320 w 449"/>
                <a:gd name="T51" fmla="*/ 425 h 442"/>
                <a:gd name="T52" fmla="*/ 394 w 449"/>
                <a:gd name="T53" fmla="*/ 370 h 442"/>
                <a:gd name="T54" fmla="*/ 357 w 449"/>
                <a:gd name="T55" fmla="*/ 321 h 442"/>
                <a:gd name="T56" fmla="*/ 389 w 449"/>
                <a:gd name="T57" fmla="*/ 248 h 442"/>
                <a:gd name="T58" fmla="*/ 449 w 449"/>
                <a:gd name="T59" fmla="*/ 24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9" h="442">
                  <a:moveTo>
                    <a:pt x="306" y="256"/>
                  </a:moveTo>
                  <a:cubicBezTo>
                    <a:pt x="287" y="300"/>
                    <a:pt x="235" y="321"/>
                    <a:pt x="190" y="302"/>
                  </a:cubicBezTo>
                  <a:cubicBezTo>
                    <a:pt x="145" y="283"/>
                    <a:pt x="125" y="231"/>
                    <a:pt x="144" y="186"/>
                  </a:cubicBezTo>
                  <a:cubicBezTo>
                    <a:pt x="163" y="142"/>
                    <a:pt x="215" y="121"/>
                    <a:pt x="259" y="140"/>
                  </a:cubicBezTo>
                  <a:cubicBezTo>
                    <a:pt x="304" y="159"/>
                    <a:pt x="325" y="211"/>
                    <a:pt x="306" y="256"/>
                  </a:cubicBezTo>
                  <a:close/>
                  <a:moveTo>
                    <a:pt x="449" y="240"/>
                  </a:moveTo>
                  <a:cubicBezTo>
                    <a:pt x="438" y="149"/>
                    <a:pt x="438" y="149"/>
                    <a:pt x="438" y="149"/>
                  </a:cubicBezTo>
                  <a:cubicBezTo>
                    <a:pt x="377" y="156"/>
                    <a:pt x="377" y="156"/>
                    <a:pt x="377" y="156"/>
                  </a:cubicBezTo>
                  <a:cubicBezTo>
                    <a:pt x="330" y="92"/>
                    <a:pt x="330" y="92"/>
                    <a:pt x="330" y="92"/>
                  </a:cubicBezTo>
                  <a:cubicBezTo>
                    <a:pt x="354" y="36"/>
                    <a:pt x="354" y="36"/>
                    <a:pt x="354" y="36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245" y="56"/>
                    <a:pt x="245" y="56"/>
                    <a:pt x="245" y="56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92" y="121"/>
                    <a:pt x="92" y="121"/>
                    <a:pt x="92" y="121"/>
                  </a:cubicBezTo>
                  <a:cubicBezTo>
                    <a:pt x="61" y="194"/>
                    <a:pt x="61" y="194"/>
                    <a:pt x="61" y="194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11" y="293"/>
                    <a:pt x="11" y="293"/>
                    <a:pt x="11" y="293"/>
                  </a:cubicBezTo>
                  <a:cubicBezTo>
                    <a:pt x="72" y="286"/>
                    <a:pt x="72" y="286"/>
                    <a:pt x="72" y="286"/>
                  </a:cubicBezTo>
                  <a:cubicBezTo>
                    <a:pt x="120" y="350"/>
                    <a:pt x="120" y="350"/>
                    <a:pt x="120" y="350"/>
                  </a:cubicBezTo>
                  <a:cubicBezTo>
                    <a:pt x="96" y="406"/>
                    <a:pt x="96" y="406"/>
                    <a:pt x="96" y="406"/>
                  </a:cubicBezTo>
                  <a:cubicBezTo>
                    <a:pt x="180" y="442"/>
                    <a:pt x="180" y="442"/>
                    <a:pt x="180" y="442"/>
                  </a:cubicBezTo>
                  <a:cubicBezTo>
                    <a:pt x="205" y="386"/>
                    <a:pt x="205" y="386"/>
                    <a:pt x="205" y="386"/>
                  </a:cubicBezTo>
                  <a:cubicBezTo>
                    <a:pt x="284" y="376"/>
                    <a:pt x="284" y="376"/>
                    <a:pt x="284" y="376"/>
                  </a:cubicBezTo>
                  <a:cubicBezTo>
                    <a:pt x="320" y="425"/>
                    <a:pt x="320" y="425"/>
                    <a:pt x="320" y="425"/>
                  </a:cubicBezTo>
                  <a:cubicBezTo>
                    <a:pt x="394" y="370"/>
                    <a:pt x="394" y="370"/>
                    <a:pt x="394" y="370"/>
                  </a:cubicBezTo>
                  <a:cubicBezTo>
                    <a:pt x="357" y="321"/>
                    <a:pt x="357" y="321"/>
                    <a:pt x="357" y="321"/>
                  </a:cubicBezTo>
                  <a:cubicBezTo>
                    <a:pt x="389" y="248"/>
                    <a:pt x="389" y="248"/>
                    <a:pt x="389" y="248"/>
                  </a:cubicBezTo>
                  <a:lnTo>
                    <a:pt x="449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F0DBEC00-EF54-4412-885D-682DC32599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8100" y="1638300"/>
              <a:ext cx="7627938" cy="7616825"/>
            </a:xfrm>
            <a:custGeom>
              <a:avLst/>
              <a:gdLst>
                <a:gd name="T0" fmla="*/ 337 w 675"/>
                <a:gd name="T1" fmla="*/ 485 h 674"/>
                <a:gd name="T2" fmla="*/ 189 w 675"/>
                <a:gd name="T3" fmla="*/ 337 h 674"/>
                <a:gd name="T4" fmla="*/ 337 w 675"/>
                <a:gd name="T5" fmla="*/ 189 h 674"/>
                <a:gd name="T6" fmla="*/ 486 w 675"/>
                <a:gd name="T7" fmla="*/ 337 h 674"/>
                <a:gd name="T8" fmla="*/ 337 w 675"/>
                <a:gd name="T9" fmla="*/ 485 h 674"/>
                <a:gd name="T10" fmla="*/ 571 w 675"/>
                <a:gd name="T11" fmla="*/ 479 h 674"/>
                <a:gd name="T12" fmla="*/ 602 w 675"/>
                <a:gd name="T13" fmla="*/ 401 h 674"/>
                <a:gd name="T14" fmla="*/ 675 w 675"/>
                <a:gd name="T15" fmla="*/ 395 h 674"/>
                <a:gd name="T16" fmla="*/ 675 w 675"/>
                <a:gd name="T17" fmla="*/ 279 h 674"/>
                <a:gd name="T18" fmla="*/ 602 w 675"/>
                <a:gd name="T19" fmla="*/ 272 h 674"/>
                <a:gd name="T20" fmla="*/ 571 w 675"/>
                <a:gd name="T21" fmla="*/ 195 h 674"/>
                <a:gd name="T22" fmla="*/ 617 w 675"/>
                <a:gd name="T23" fmla="*/ 139 h 674"/>
                <a:gd name="T24" fmla="*/ 535 w 675"/>
                <a:gd name="T25" fmla="*/ 57 h 674"/>
                <a:gd name="T26" fmla="*/ 479 w 675"/>
                <a:gd name="T27" fmla="*/ 104 h 674"/>
                <a:gd name="T28" fmla="*/ 402 w 675"/>
                <a:gd name="T29" fmla="*/ 72 h 674"/>
                <a:gd name="T30" fmla="*/ 395 w 675"/>
                <a:gd name="T31" fmla="*/ 0 h 674"/>
                <a:gd name="T32" fmla="*/ 279 w 675"/>
                <a:gd name="T33" fmla="*/ 0 h 674"/>
                <a:gd name="T34" fmla="*/ 273 w 675"/>
                <a:gd name="T35" fmla="*/ 72 h 674"/>
                <a:gd name="T36" fmla="*/ 195 w 675"/>
                <a:gd name="T37" fmla="*/ 103 h 674"/>
                <a:gd name="T38" fmla="*/ 140 w 675"/>
                <a:gd name="T39" fmla="*/ 57 h 674"/>
                <a:gd name="T40" fmla="*/ 58 w 675"/>
                <a:gd name="T41" fmla="*/ 139 h 674"/>
                <a:gd name="T42" fmla="*/ 104 w 675"/>
                <a:gd name="T43" fmla="*/ 195 h 674"/>
                <a:gd name="T44" fmla="*/ 72 w 675"/>
                <a:gd name="T45" fmla="*/ 272 h 674"/>
                <a:gd name="T46" fmla="*/ 0 w 675"/>
                <a:gd name="T47" fmla="*/ 279 h 674"/>
                <a:gd name="T48" fmla="*/ 0 w 675"/>
                <a:gd name="T49" fmla="*/ 395 h 674"/>
                <a:gd name="T50" fmla="*/ 72 w 675"/>
                <a:gd name="T51" fmla="*/ 401 h 674"/>
                <a:gd name="T52" fmla="*/ 104 w 675"/>
                <a:gd name="T53" fmla="*/ 479 h 674"/>
                <a:gd name="T54" fmla="*/ 58 w 675"/>
                <a:gd name="T55" fmla="*/ 534 h 674"/>
                <a:gd name="T56" fmla="*/ 140 w 675"/>
                <a:gd name="T57" fmla="*/ 616 h 674"/>
                <a:gd name="T58" fmla="*/ 195 w 675"/>
                <a:gd name="T59" fmla="*/ 570 h 674"/>
                <a:gd name="T60" fmla="*/ 273 w 675"/>
                <a:gd name="T61" fmla="*/ 602 h 674"/>
                <a:gd name="T62" fmla="*/ 279 w 675"/>
                <a:gd name="T63" fmla="*/ 674 h 674"/>
                <a:gd name="T64" fmla="*/ 395 w 675"/>
                <a:gd name="T65" fmla="*/ 674 h 674"/>
                <a:gd name="T66" fmla="*/ 402 w 675"/>
                <a:gd name="T67" fmla="*/ 602 h 674"/>
                <a:gd name="T68" fmla="*/ 479 w 675"/>
                <a:gd name="T69" fmla="*/ 570 h 674"/>
                <a:gd name="T70" fmla="*/ 535 w 675"/>
                <a:gd name="T71" fmla="*/ 616 h 674"/>
                <a:gd name="T72" fmla="*/ 617 w 675"/>
                <a:gd name="T73" fmla="*/ 534 h 674"/>
                <a:gd name="T74" fmla="*/ 571 w 675"/>
                <a:gd name="T75" fmla="*/ 479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5" h="674">
                  <a:moveTo>
                    <a:pt x="337" y="485"/>
                  </a:moveTo>
                  <a:cubicBezTo>
                    <a:pt x="255" y="485"/>
                    <a:pt x="189" y="419"/>
                    <a:pt x="189" y="337"/>
                  </a:cubicBezTo>
                  <a:cubicBezTo>
                    <a:pt x="189" y="255"/>
                    <a:pt x="255" y="189"/>
                    <a:pt x="337" y="189"/>
                  </a:cubicBezTo>
                  <a:cubicBezTo>
                    <a:pt x="419" y="189"/>
                    <a:pt x="486" y="255"/>
                    <a:pt x="486" y="337"/>
                  </a:cubicBezTo>
                  <a:cubicBezTo>
                    <a:pt x="486" y="419"/>
                    <a:pt x="419" y="485"/>
                    <a:pt x="337" y="485"/>
                  </a:cubicBezTo>
                  <a:close/>
                  <a:moveTo>
                    <a:pt x="571" y="479"/>
                  </a:moveTo>
                  <a:cubicBezTo>
                    <a:pt x="602" y="401"/>
                    <a:pt x="602" y="401"/>
                    <a:pt x="602" y="401"/>
                  </a:cubicBezTo>
                  <a:cubicBezTo>
                    <a:pt x="675" y="395"/>
                    <a:pt x="675" y="395"/>
                    <a:pt x="675" y="395"/>
                  </a:cubicBezTo>
                  <a:cubicBezTo>
                    <a:pt x="675" y="279"/>
                    <a:pt x="675" y="279"/>
                    <a:pt x="675" y="279"/>
                  </a:cubicBezTo>
                  <a:cubicBezTo>
                    <a:pt x="602" y="272"/>
                    <a:pt x="602" y="272"/>
                    <a:pt x="602" y="272"/>
                  </a:cubicBezTo>
                  <a:cubicBezTo>
                    <a:pt x="571" y="195"/>
                    <a:pt x="571" y="195"/>
                    <a:pt x="571" y="195"/>
                  </a:cubicBezTo>
                  <a:cubicBezTo>
                    <a:pt x="617" y="139"/>
                    <a:pt x="617" y="139"/>
                    <a:pt x="617" y="139"/>
                  </a:cubicBezTo>
                  <a:cubicBezTo>
                    <a:pt x="535" y="57"/>
                    <a:pt x="535" y="57"/>
                    <a:pt x="535" y="57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02" y="72"/>
                    <a:pt x="402" y="72"/>
                    <a:pt x="402" y="72"/>
                  </a:cubicBezTo>
                  <a:cubicBezTo>
                    <a:pt x="395" y="0"/>
                    <a:pt x="395" y="0"/>
                    <a:pt x="395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3" y="72"/>
                    <a:pt x="273" y="72"/>
                    <a:pt x="273" y="72"/>
                  </a:cubicBezTo>
                  <a:cubicBezTo>
                    <a:pt x="195" y="103"/>
                    <a:pt x="195" y="103"/>
                    <a:pt x="195" y="103"/>
                  </a:cubicBezTo>
                  <a:cubicBezTo>
                    <a:pt x="140" y="57"/>
                    <a:pt x="140" y="57"/>
                    <a:pt x="140" y="57"/>
                  </a:cubicBezTo>
                  <a:cubicBezTo>
                    <a:pt x="58" y="139"/>
                    <a:pt x="58" y="139"/>
                    <a:pt x="58" y="139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72" y="272"/>
                    <a:pt x="72" y="272"/>
                    <a:pt x="72" y="272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0" y="395"/>
                    <a:pt x="0" y="395"/>
                    <a:pt x="0" y="395"/>
                  </a:cubicBezTo>
                  <a:cubicBezTo>
                    <a:pt x="72" y="401"/>
                    <a:pt x="72" y="401"/>
                    <a:pt x="72" y="401"/>
                  </a:cubicBezTo>
                  <a:cubicBezTo>
                    <a:pt x="104" y="479"/>
                    <a:pt x="104" y="479"/>
                    <a:pt x="104" y="479"/>
                  </a:cubicBezTo>
                  <a:cubicBezTo>
                    <a:pt x="58" y="534"/>
                    <a:pt x="58" y="534"/>
                    <a:pt x="58" y="534"/>
                  </a:cubicBezTo>
                  <a:cubicBezTo>
                    <a:pt x="140" y="616"/>
                    <a:pt x="140" y="616"/>
                    <a:pt x="140" y="616"/>
                  </a:cubicBezTo>
                  <a:cubicBezTo>
                    <a:pt x="195" y="570"/>
                    <a:pt x="195" y="570"/>
                    <a:pt x="195" y="570"/>
                  </a:cubicBezTo>
                  <a:cubicBezTo>
                    <a:pt x="273" y="602"/>
                    <a:pt x="273" y="602"/>
                    <a:pt x="273" y="602"/>
                  </a:cubicBezTo>
                  <a:cubicBezTo>
                    <a:pt x="279" y="674"/>
                    <a:pt x="279" y="674"/>
                    <a:pt x="279" y="674"/>
                  </a:cubicBezTo>
                  <a:cubicBezTo>
                    <a:pt x="395" y="674"/>
                    <a:pt x="395" y="674"/>
                    <a:pt x="395" y="674"/>
                  </a:cubicBezTo>
                  <a:cubicBezTo>
                    <a:pt x="402" y="602"/>
                    <a:pt x="402" y="602"/>
                    <a:pt x="402" y="602"/>
                  </a:cubicBezTo>
                  <a:cubicBezTo>
                    <a:pt x="479" y="570"/>
                    <a:pt x="479" y="570"/>
                    <a:pt x="479" y="570"/>
                  </a:cubicBezTo>
                  <a:cubicBezTo>
                    <a:pt x="535" y="616"/>
                    <a:pt x="535" y="616"/>
                    <a:pt x="535" y="616"/>
                  </a:cubicBezTo>
                  <a:cubicBezTo>
                    <a:pt x="617" y="534"/>
                    <a:pt x="617" y="534"/>
                    <a:pt x="617" y="534"/>
                  </a:cubicBezTo>
                  <a:lnTo>
                    <a:pt x="571" y="4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9C5FA7FE-DE70-4382-AB76-7E6818FB8812}"/>
              </a:ext>
            </a:extLst>
          </p:cNvPr>
          <p:cNvGrpSpPr/>
          <p:nvPr userDrawn="1"/>
        </p:nvGrpSpPr>
        <p:grpSpPr>
          <a:xfrm>
            <a:off x="11217797" y="1860685"/>
            <a:ext cx="192111" cy="290045"/>
            <a:chOff x="-3947158" y="1719597"/>
            <a:chExt cx="3385092" cy="5109416"/>
          </a:xfrm>
          <a:solidFill>
            <a:schemeClr val="bg1">
              <a:alpha val="80000"/>
            </a:schemeClr>
          </a:solidFill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6B3EE737-53E0-4DD0-82FC-4E5A2FCE3F05}"/>
                </a:ext>
              </a:extLst>
            </p:cNvPr>
            <p:cNvSpPr/>
            <p:nvPr/>
          </p:nvSpPr>
          <p:spPr>
            <a:xfrm>
              <a:off x="-3624517" y="2322583"/>
              <a:ext cx="3062451" cy="218046"/>
            </a:xfrm>
            <a:prstGeom prst="rect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B7D04D74-FC4C-4567-A9E1-50D01F22885F}"/>
                </a:ext>
              </a:extLst>
            </p:cNvPr>
            <p:cNvSpPr/>
            <p:nvPr/>
          </p:nvSpPr>
          <p:spPr>
            <a:xfrm>
              <a:off x="-3947158" y="3738067"/>
              <a:ext cx="1988090" cy="3089947"/>
            </a:xfrm>
            <a:custGeom>
              <a:avLst/>
              <a:gdLst>
                <a:gd name="connsiteX0" fmla="*/ 1536585 w 1988090"/>
                <a:gd name="connsiteY0" fmla="*/ 279 h 3089947"/>
                <a:gd name="connsiteX1" fmla="*/ 1493799 w 1988090"/>
                <a:gd name="connsiteY1" fmla="*/ 6084 h 3089947"/>
                <a:gd name="connsiteX2" fmla="*/ 994045 w 1988090"/>
                <a:gd name="connsiteY2" fmla="*/ 201257 h 3089947"/>
                <a:gd name="connsiteX3" fmla="*/ 494330 w 1988090"/>
                <a:gd name="connsiteY3" fmla="*/ 6122 h 3089947"/>
                <a:gd name="connsiteX4" fmla="*/ 451390 w 1988090"/>
                <a:gd name="connsiteY4" fmla="*/ 317 h 3089947"/>
                <a:gd name="connsiteX5" fmla="*/ 362549 w 1988090"/>
                <a:gd name="connsiteY5" fmla="*/ 12004 h 3089947"/>
                <a:gd name="connsiteX6" fmla="*/ 126819 w 1988090"/>
                <a:gd name="connsiteY6" fmla="*/ 305590 h 3089947"/>
                <a:gd name="connsiteX7" fmla="*/ 36 w 1988090"/>
                <a:gd name="connsiteY7" fmla="*/ 1551706 h 3089947"/>
                <a:gd name="connsiteX8" fmla="*/ 56470 w 1988090"/>
                <a:gd name="connsiteY8" fmla="*/ 1695481 h 3089947"/>
                <a:gd name="connsiteX9" fmla="*/ 198053 w 1988090"/>
                <a:gd name="connsiteY9" fmla="*/ 1757220 h 3089947"/>
                <a:gd name="connsiteX10" fmla="*/ 199975 w 1988090"/>
                <a:gd name="connsiteY10" fmla="*/ 1757258 h 3089947"/>
                <a:gd name="connsiteX11" fmla="*/ 201898 w 1988090"/>
                <a:gd name="connsiteY11" fmla="*/ 1757258 h 3089947"/>
                <a:gd name="connsiteX12" fmla="*/ 290969 w 1988090"/>
                <a:gd name="connsiteY12" fmla="*/ 1736154 h 3089947"/>
                <a:gd name="connsiteX13" fmla="*/ 359743 w 1988090"/>
                <a:gd name="connsiteY13" fmla="*/ 1679873 h 3089947"/>
                <a:gd name="connsiteX14" fmla="*/ 359743 w 1988090"/>
                <a:gd name="connsiteY14" fmla="*/ 2240751 h 3089947"/>
                <a:gd name="connsiteX15" fmla="*/ 359743 w 1988090"/>
                <a:gd name="connsiteY15" fmla="*/ 2801628 h 3089947"/>
                <a:gd name="connsiteX16" fmla="*/ 444201 w 1988090"/>
                <a:gd name="connsiteY16" fmla="*/ 3005489 h 3089947"/>
                <a:gd name="connsiteX17" fmla="*/ 648062 w 1988090"/>
                <a:gd name="connsiteY17" fmla="*/ 3089947 h 3089947"/>
                <a:gd name="connsiteX18" fmla="*/ 851923 w 1988090"/>
                <a:gd name="connsiteY18" fmla="*/ 3005489 h 3089947"/>
                <a:gd name="connsiteX19" fmla="*/ 936382 w 1988090"/>
                <a:gd name="connsiteY19" fmla="*/ 2801628 h 3089947"/>
                <a:gd name="connsiteX20" fmla="*/ 936382 w 1988090"/>
                <a:gd name="connsiteY20" fmla="*/ 2340317 h 3089947"/>
                <a:gd name="connsiteX21" fmla="*/ 936382 w 1988090"/>
                <a:gd name="connsiteY21" fmla="*/ 1879006 h 3089947"/>
                <a:gd name="connsiteX22" fmla="*/ 994045 w 1988090"/>
                <a:gd name="connsiteY22" fmla="*/ 1879006 h 3089947"/>
                <a:gd name="connsiteX23" fmla="*/ 1051709 w 1988090"/>
                <a:gd name="connsiteY23" fmla="*/ 1879006 h 3089947"/>
                <a:gd name="connsiteX24" fmla="*/ 1051709 w 1988090"/>
                <a:gd name="connsiteY24" fmla="*/ 2340317 h 3089947"/>
                <a:gd name="connsiteX25" fmla="*/ 1051709 w 1988090"/>
                <a:gd name="connsiteY25" fmla="*/ 2801628 h 3089947"/>
                <a:gd name="connsiteX26" fmla="*/ 1136167 w 1988090"/>
                <a:gd name="connsiteY26" fmla="*/ 3005489 h 3089947"/>
                <a:gd name="connsiteX27" fmla="*/ 1340029 w 1988090"/>
                <a:gd name="connsiteY27" fmla="*/ 3089947 h 3089947"/>
                <a:gd name="connsiteX28" fmla="*/ 1543889 w 1988090"/>
                <a:gd name="connsiteY28" fmla="*/ 3005489 h 3089947"/>
                <a:gd name="connsiteX29" fmla="*/ 1628348 w 1988090"/>
                <a:gd name="connsiteY29" fmla="*/ 2801628 h 3089947"/>
                <a:gd name="connsiteX30" fmla="*/ 1628348 w 1988090"/>
                <a:gd name="connsiteY30" fmla="*/ 2263432 h 3089947"/>
                <a:gd name="connsiteX31" fmla="*/ 1628348 w 1988090"/>
                <a:gd name="connsiteY31" fmla="*/ 1725313 h 3089947"/>
                <a:gd name="connsiteX32" fmla="*/ 1628348 w 1988090"/>
                <a:gd name="connsiteY32" fmla="*/ 1725236 h 3089947"/>
                <a:gd name="connsiteX33" fmla="*/ 1628348 w 1988090"/>
                <a:gd name="connsiteY33" fmla="*/ 1725159 h 3089947"/>
                <a:gd name="connsiteX34" fmla="*/ 1628348 w 1988090"/>
                <a:gd name="connsiteY34" fmla="*/ 1702478 h 3089947"/>
                <a:gd name="connsiteX35" fmla="*/ 1628348 w 1988090"/>
                <a:gd name="connsiteY35" fmla="*/ 1679797 h 3089947"/>
                <a:gd name="connsiteX36" fmla="*/ 1697122 w 1988090"/>
                <a:gd name="connsiteY36" fmla="*/ 1736115 h 3089947"/>
                <a:gd name="connsiteX37" fmla="*/ 1786193 w 1988090"/>
                <a:gd name="connsiteY37" fmla="*/ 1757220 h 3089947"/>
                <a:gd name="connsiteX38" fmla="*/ 1788115 w 1988090"/>
                <a:gd name="connsiteY38" fmla="*/ 1757220 h 3089947"/>
                <a:gd name="connsiteX39" fmla="*/ 1790037 w 1988090"/>
                <a:gd name="connsiteY39" fmla="*/ 1757182 h 3089947"/>
                <a:gd name="connsiteX40" fmla="*/ 1931621 w 1988090"/>
                <a:gd name="connsiteY40" fmla="*/ 1695443 h 3089947"/>
                <a:gd name="connsiteX41" fmla="*/ 1988055 w 1988090"/>
                <a:gd name="connsiteY41" fmla="*/ 1551668 h 3089947"/>
                <a:gd name="connsiteX42" fmla="*/ 1861233 w 1988090"/>
                <a:gd name="connsiteY42" fmla="*/ 305552 h 3089947"/>
                <a:gd name="connsiteX43" fmla="*/ 1625465 w 1988090"/>
                <a:gd name="connsiteY43" fmla="*/ 11966 h 3089947"/>
                <a:gd name="connsiteX44" fmla="*/ 1536585 w 1988090"/>
                <a:gd name="connsiteY44" fmla="*/ 279 h 308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988090" h="3089947">
                  <a:moveTo>
                    <a:pt x="1536585" y="279"/>
                  </a:moveTo>
                  <a:cubicBezTo>
                    <a:pt x="1521939" y="971"/>
                    <a:pt x="1507676" y="3008"/>
                    <a:pt x="1493799" y="6084"/>
                  </a:cubicBezTo>
                  <a:cubicBezTo>
                    <a:pt x="1361787" y="126870"/>
                    <a:pt x="1186643" y="201257"/>
                    <a:pt x="994045" y="201257"/>
                  </a:cubicBezTo>
                  <a:cubicBezTo>
                    <a:pt x="801448" y="201257"/>
                    <a:pt x="626342" y="126870"/>
                    <a:pt x="494330" y="6122"/>
                  </a:cubicBezTo>
                  <a:cubicBezTo>
                    <a:pt x="480414" y="3047"/>
                    <a:pt x="466075" y="1009"/>
                    <a:pt x="451390" y="317"/>
                  </a:cubicBezTo>
                  <a:cubicBezTo>
                    <a:pt x="422827" y="-1028"/>
                    <a:pt x="392996" y="2432"/>
                    <a:pt x="362549" y="12004"/>
                  </a:cubicBezTo>
                  <a:cubicBezTo>
                    <a:pt x="277591" y="38683"/>
                    <a:pt x="193133" y="92772"/>
                    <a:pt x="126819" y="305590"/>
                  </a:cubicBezTo>
                  <a:cubicBezTo>
                    <a:pt x="60506" y="518408"/>
                    <a:pt x="12337" y="889994"/>
                    <a:pt x="36" y="1551706"/>
                  </a:cubicBezTo>
                  <a:cubicBezTo>
                    <a:pt x="-1002" y="1607409"/>
                    <a:pt x="20641" y="1658308"/>
                    <a:pt x="56470" y="1695481"/>
                  </a:cubicBezTo>
                  <a:cubicBezTo>
                    <a:pt x="92298" y="1732655"/>
                    <a:pt x="142312" y="1756221"/>
                    <a:pt x="198053" y="1757220"/>
                  </a:cubicBezTo>
                  <a:cubicBezTo>
                    <a:pt x="198707" y="1757220"/>
                    <a:pt x="199322" y="1757220"/>
                    <a:pt x="199975" y="1757258"/>
                  </a:cubicBezTo>
                  <a:cubicBezTo>
                    <a:pt x="200629" y="1757297"/>
                    <a:pt x="201244" y="1757258"/>
                    <a:pt x="201898" y="1757258"/>
                  </a:cubicBezTo>
                  <a:cubicBezTo>
                    <a:pt x="233920" y="1757258"/>
                    <a:pt x="264136" y="1749647"/>
                    <a:pt x="290969" y="1736154"/>
                  </a:cubicBezTo>
                  <a:cubicBezTo>
                    <a:pt x="317802" y="1722660"/>
                    <a:pt x="341214" y="1703323"/>
                    <a:pt x="359743" y="1679873"/>
                  </a:cubicBezTo>
                  <a:lnTo>
                    <a:pt x="359743" y="2240751"/>
                  </a:lnTo>
                  <a:lnTo>
                    <a:pt x="359743" y="2801628"/>
                  </a:lnTo>
                  <a:cubicBezTo>
                    <a:pt x="359743" y="2881243"/>
                    <a:pt x="391996" y="2953323"/>
                    <a:pt x="444201" y="3005489"/>
                  </a:cubicBezTo>
                  <a:cubicBezTo>
                    <a:pt x="496406" y="3057656"/>
                    <a:pt x="568447" y="3089947"/>
                    <a:pt x="648062" y="3089947"/>
                  </a:cubicBezTo>
                  <a:cubicBezTo>
                    <a:pt x="727677" y="3089947"/>
                    <a:pt x="799757" y="3057694"/>
                    <a:pt x="851923" y="3005489"/>
                  </a:cubicBezTo>
                  <a:cubicBezTo>
                    <a:pt x="904090" y="2953284"/>
                    <a:pt x="936382" y="2881243"/>
                    <a:pt x="936382" y="2801628"/>
                  </a:cubicBezTo>
                  <a:lnTo>
                    <a:pt x="936382" y="2340317"/>
                  </a:lnTo>
                  <a:lnTo>
                    <a:pt x="936382" y="1879006"/>
                  </a:lnTo>
                  <a:lnTo>
                    <a:pt x="994045" y="1879006"/>
                  </a:lnTo>
                  <a:lnTo>
                    <a:pt x="1051709" y="1879006"/>
                  </a:lnTo>
                  <a:lnTo>
                    <a:pt x="1051709" y="2340317"/>
                  </a:lnTo>
                  <a:lnTo>
                    <a:pt x="1051709" y="2801628"/>
                  </a:lnTo>
                  <a:cubicBezTo>
                    <a:pt x="1051709" y="2881243"/>
                    <a:pt x="1083962" y="2953323"/>
                    <a:pt x="1136167" y="3005489"/>
                  </a:cubicBezTo>
                  <a:cubicBezTo>
                    <a:pt x="1188372" y="3057656"/>
                    <a:pt x="1260414" y="3089947"/>
                    <a:pt x="1340029" y="3089947"/>
                  </a:cubicBezTo>
                  <a:cubicBezTo>
                    <a:pt x="1419643" y="3089947"/>
                    <a:pt x="1491723" y="3057694"/>
                    <a:pt x="1543889" y="3005489"/>
                  </a:cubicBezTo>
                  <a:cubicBezTo>
                    <a:pt x="1596056" y="2953284"/>
                    <a:pt x="1628348" y="2881243"/>
                    <a:pt x="1628348" y="2801628"/>
                  </a:cubicBezTo>
                  <a:lnTo>
                    <a:pt x="1628348" y="2263432"/>
                  </a:lnTo>
                  <a:lnTo>
                    <a:pt x="1628348" y="1725313"/>
                  </a:lnTo>
                  <a:cubicBezTo>
                    <a:pt x="1628348" y="1725274"/>
                    <a:pt x="1628348" y="1725274"/>
                    <a:pt x="1628348" y="1725236"/>
                  </a:cubicBezTo>
                  <a:cubicBezTo>
                    <a:pt x="1628348" y="1725197"/>
                    <a:pt x="1628348" y="1725197"/>
                    <a:pt x="1628348" y="1725159"/>
                  </a:cubicBezTo>
                  <a:lnTo>
                    <a:pt x="1628348" y="1702478"/>
                  </a:lnTo>
                  <a:lnTo>
                    <a:pt x="1628348" y="1679797"/>
                  </a:lnTo>
                  <a:cubicBezTo>
                    <a:pt x="1646839" y="1703247"/>
                    <a:pt x="1670289" y="1722622"/>
                    <a:pt x="1697122" y="1736115"/>
                  </a:cubicBezTo>
                  <a:cubicBezTo>
                    <a:pt x="1723955" y="1749609"/>
                    <a:pt x="1754170" y="1757220"/>
                    <a:pt x="1786193" y="1757220"/>
                  </a:cubicBezTo>
                  <a:cubicBezTo>
                    <a:pt x="1786847" y="1757220"/>
                    <a:pt x="1787461" y="1757220"/>
                    <a:pt x="1788115" y="1757220"/>
                  </a:cubicBezTo>
                  <a:cubicBezTo>
                    <a:pt x="1788769" y="1757220"/>
                    <a:pt x="1789384" y="1757220"/>
                    <a:pt x="1790037" y="1757182"/>
                  </a:cubicBezTo>
                  <a:cubicBezTo>
                    <a:pt x="1845779" y="1756144"/>
                    <a:pt x="1895793" y="1732617"/>
                    <a:pt x="1931621" y="1695443"/>
                  </a:cubicBezTo>
                  <a:cubicBezTo>
                    <a:pt x="1967450" y="1658269"/>
                    <a:pt x="1989093" y="1607371"/>
                    <a:pt x="1988055" y="1551668"/>
                  </a:cubicBezTo>
                  <a:cubicBezTo>
                    <a:pt x="1975715" y="889955"/>
                    <a:pt x="1927585" y="518370"/>
                    <a:pt x="1861233" y="305552"/>
                  </a:cubicBezTo>
                  <a:cubicBezTo>
                    <a:pt x="1794881" y="92733"/>
                    <a:pt x="1710423" y="38683"/>
                    <a:pt x="1625465" y="11966"/>
                  </a:cubicBezTo>
                  <a:cubicBezTo>
                    <a:pt x="1594980" y="2393"/>
                    <a:pt x="1565148" y="-1066"/>
                    <a:pt x="1536585" y="27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40AAE345-4E03-4134-8B11-CACA17ABEE57}"/>
                </a:ext>
              </a:extLst>
            </p:cNvPr>
            <p:cNvSpPr/>
            <p:nvPr/>
          </p:nvSpPr>
          <p:spPr>
            <a:xfrm>
              <a:off x="-3541246" y="2609288"/>
              <a:ext cx="1176265" cy="1176265"/>
            </a:xfrm>
            <a:custGeom>
              <a:avLst/>
              <a:gdLst>
                <a:gd name="connsiteX0" fmla="*/ 1176266 w 1176265"/>
                <a:gd name="connsiteY0" fmla="*/ 588133 h 1176265"/>
                <a:gd name="connsiteX1" fmla="*/ 588133 w 1176265"/>
                <a:gd name="connsiteY1" fmla="*/ 1176266 h 1176265"/>
                <a:gd name="connsiteX2" fmla="*/ 0 w 1176265"/>
                <a:gd name="connsiteY2" fmla="*/ 588133 h 1176265"/>
                <a:gd name="connsiteX3" fmla="*/ 588133 w 1176265"/>
                <a:gd name="connsiteY3" fmla="*/ 0 h 1176265"/>
                <a:gd name="connsiteX4" fmla="*/ 1176266 w 1176265"/>
                <a:gd name="connsiteY4" fmla="*/ 588133 h 117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6265" h="1176265">
                  <a:moveTo>
                    <a:pt x="1176266" y="588133"/>
                  </a:moveTo>
                  <a:cubicBezTo>
                    <a:pt x="1176266" y="912950"/>
                    <a:pt x="912950" y="1176266"/>
                    <a:pt x="588133" y="1176266"/>
                  </a:cubicBezTo>
                  <a:cubicBezTo>
                    <a:pt x="263316" y="1176266"/>
                    <a:pt x="0" y="912950"/>
                    <a:pt x="0" y="588133"/>
                  </a:cubicBezTo>
                  <a:cubicBezTo>
                    <a:pt x="0" y="263316"/>
                    <a:pt x="263316" y="0"/>
                    <a:pt x="588133" y="0"/>
                  </a:cubicBezTo>
                  <a:cubicBezTo>
                    <a:pt x="912950" y="0"/>
                    <a:pt x="1176266" y="263316"/>
                    <a:pt x="1176266" y="5881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67BF952D-E98B-45B1-862B-DEF06230B851}"/>
                </a:ext>
              </a:extLst>
            </p:cNvPr>
            <p:cNvSpPr/>
            <p:nvPr/>
          </p:nvSpPr>
          <p:spPr>
            <a:xfrm>
              <a:off x="-1697617" y="2605328"/>
              <a:ext cx="956528" cy="4223685"/>
            </a:xfrm>
            <a:custGeom>
              <a:avLst/>
              <a:gdLst>
                <a:gd name="connsiteX0" fmla="*/ 956528 w 956528"/>
                <a:gd name="connsiteY0" fmla="*/ 4223686 h 4223685"/>
                <a:gd name="connsiteX1" fmla="*/ 956528 w 956528"/>
                <a:gd name="connsiteY1" fmla="*/ 0 h 4223685"/>
                <a:gd name="connsiteX2" fmla="*/ 900248 w 956528"/>
                <a:gd name="connsiteY2" fmla="*/ 0 h 4223685"/>
                <a:gd name="connsiteX3" fmla="*/ 900248 w 956528"/>
                <a:gd name="connsiteY3" fmla="*/ 4167445 h 4223685"/>
                <a:gd name="connsiteX4" fmla="*/ 56280 w 956528"/>
                <a:gd name="connsiteY4" fmla="*/ 4167445 h 4223685"/>
                <a:gd name="connsiteX5" fmla="*/ 56280 w 956528"/>
                <a:gd name="connsiteY5" fmla="*/ 3998643 h 4223685"/>
                <a:gd name="connsiteX6" fmla="*/ 337603 w 956528"/>
                <a:gd name="connsiteY6" fmla="*/ 3998643 h 4223685"/>
                <a:gd name="connsiteX7" fmla="*/ 337603 w 956528"/>
                <a:gd name="connsiteY7" fmla="*/ 3942363 h 4223685"/>
                <a:gd name="connsiteX8" fmla="*/ 56280 w 956528"/>
                <a:gd name="connsiteY8" fmla="*/ 3942363 h 4223685"/>
                <a:gd name="connsiteX9" fmla="*/ 56280 w 956528"/>
                <a:gd name="connsiteY9" fmla="*/ 3773562 h 4223685"/>
                <a:gd name="connsiteX10" fmla="*/ 337603 w 956528"/>
                <a:gd name="connsiteY10" fmla="*/ 3773562 h 4223685"/>
                <a:gd name="connsiteX11" fmla="*/ 337603 w 956528"/>
                <a:gd name="connsiteY11" fmla="*/ 3717321 h 4223685"/>
                <a:gd name="connsiteX12" fmla="*/ 56280 w 956528"/>
                <a:gd name="connsiteY12" fmla="*/ 3717321 h 4223685"/>
                <a:gd name="connsiteX13" fmla="*/ 56280 w 956528"/>
                <a:gd name="connsiteY13" fmla="*/ 3548519 h 4223685"/>
                <a:gd name="connsiteX14" fmla="*/ 337603 w 956528"/>
                <a:gd name="connsiteY14" fmla="*/ 3548519 h 4223685"/>
                <a:gd name="connsiteX15" fmla="*/ 337603 w 956528"/>
                <a:gd name="connsiteY15" fmla="*/ 3492239 h 4223685"/>
                <a:gd name="connsiteX16" fmla="*/ 56280 w 956528"/>
                <a:gd name="connsiteY16" fmla="*/ 3492239 h 4223685"/>
                <a:gd name="connsiteX17" fmla="*/ 56280 w 956528"/>
                <a:gd name="connsiteY17" fmla="*/ 3323438 h 4223685"/>
                <a:gd name="connsiteX18" fmla="*/ 675205 w 956528"/>
                <a:gd name="connsiteY18" fmla="*/ 3323438 h 4223685"/>
                <a:gd name="connsiteX19" fmla="*/ 675205 w 956528"/>
                <a:gd name="connsiteY19" fmla="*/ 3267158 h 4223685"/>
                <a:gd name="connsiteX20" fmla="*/ 56280 w 956528"/>
                <a:gd name="connsiteY20" fmla="*/ 3267158 h 4223685"/>
                <a:gd name="connsiteX21" fmla="*/ 56280 w 956528"/>
                <a:gd name="connsiteY21" fmla="*/ 3098395 h 4223685"/>
                <a:gd name="connsiteX22" fmla="*/ 337603 w 956528"/>
                <a:gd name="connsiteY22" fmla="*/ 3098395 h 4223685"/>
                <a:gd name="connsiteX23" fmla="*/ 337603 w 956528"/>
                <a:gd name="connsiteY23" fmla="*/ 3042115 h 4223685"/>
                <a:gd name="connsiteX24" fmla="*/ 56280 w 956528"/>
                <a:gd name="connsiteY24" fmla="*/ 3042115 h 4223685"/>
                <a:gd name="connsiteX25" fmla="*/ 56280 w 956528"/>
                <a:gd name="connsiteY25" fmla="*/ 2873314 h 4223685"/>
                <a:gd name="connsiteX26" fmla="*/ 337603 w 956528"/>
                <a:gd name="connsiteY26" fmla="*/ 2873314 h 4223685"/>
                <a:gd name="connsiteX27" fmla="*/ 337603 w 956528"/>
                <a:gd name="connsiteY27" fmla="*/ 2817034 h 4223685"/>
                <a:gd name="connsiteX28" fmla="*/ 56280 w 956528"/>
                <a:gd name="connsiteY28" fmla="*/ 2817034 h 4223685"/>
                <a:gd name="connsiteX29" fmla="*/ 56280 w 956528"/>
                <a:gd name="connsiteY29" fmla="*/ 2648233 h 4223685"/>
                <a:gd name="connsiteX30" fmla="*/ 337603 w 956528"/>
                <a:gd name="connsiteY30" fmla="*/ 2648233 h 4223685"/>
                <a:gd name="connsiteX31" fmla="*/ 337603 w 956528"/>
                <a:gd name="connsiteY31" fmla="*/ 2591991 h 4223685"/>
                <a:gd name="connsiteX32" fmla="*/ 56280 w 956528"/>
                <a:gd name="connsiteY32" fmla="*/ 2591991 h 4223685"/>
                <a:gd name="connsiteX33" fmla="*/ 56280 w 956528"/>
                <a:gd name="connsiteY33" fmla="*/ 2423190 h 4223685"/>
                <a:gd name="connsiteX34" fmla="*/ 675205 w 956528"/>
                <a:gd name="connsiteY34" fmla="*/ 2423190 h 4223685"/>
                <a:gd name="connsiteX35" fmla="*/ 675205 w 956528"/>
                <a:gd name="connsiteY35" fmla="*/ 2366909 h 4223685"/>
                <a:gd name="connsiteX36" fmla="*/ 56280 w 956528"/>
                <a:gd name="connsiteY36" fmla="*/ 2366909 h 4223685"/>
                <a:gd name="connsiteX37" fmla="*/ 56280 w 956528"/>
                <a:gd name="connsiteY37" fmla="*/ 2198108 h 4223685"/>
                <a:gd name="connsiteX38" fmla="*/ 337603 w 956528"/>
                <a:gd name="connsiteY38" fmla="*/ 2198108 h 4223685"/>
                <a:gd name="connsiteX39" fmla="*/ 337603 w 956528"/>
                <a:gd name="connsiteY39" fmla="*/ 2141867 h 4223685"/>
                <a:gd name="connsiteX40" fmla="*/ 56280 w 956528"/>
                <a:gd name="connsiteY40" fmla="*/ 2141867 h 4223685"/>
                <a:gd name="connsiteX41" fmla="*/ 56280 w 956528"/>
                <a:gd name="connsiteY41" fmla="*/ 1973065 h 4223685"/>
                <a:gd name="connsiteX42" fmla="*/ 337603 w 956528"/>
                <a:gd name="connsiteY42" fmla="*/ 1973065 h 4223685"/>
                <a:gd name="connsiteX43" fmla="*/ 337603 w 956528"/>
                <a:gd name="connsiteY43" fmla="*/ 1916785 h 4223685"/>
                <a:gd name="connsiteX44" fmla="*/ 56280 w 956528"/>
                <a:gd name="connsiteY44" fmla="*/ 1916785 h 4223685"/>
                <a:gd name="connsiteX45" fmla="*/ 56280 w 956528"/>
                <a:gd name="connsiteY45" fmla="*/ 1747984 h 4223685"/>
                <a:gd name="connsiteX46" fmla="*/ 337603 w 956528"/>
                <a:gd name="connsiteY46" fmla="*/ 1747984 h 4223685"/>
                <a:gd name="connsiteX47" fmla="*/ 337603 w 956528"/>
                <a:gd name="connsiteY47" fmla="*/ 1691704 h 4223685"/>
                <a:gd name="connsiteX48" fmla="*/ 56280 w 956528"/>
                <a:gd name="connsiteY48" fmla="*/ 1691704 h 4223685"/>
                <a:gd name="connsiteX49" fmla="*/ 56280 w 956528"/>
                <a:gd name="connsiteY49" fmla="*/ 1522941 h 4223685"/>
                <a:gd name="connsiteX50" fmla="*/ 675205 w 956528"/>
                <a:gd name="connsiteY50" fmla="*/ 1522941 h 4223685"/>
                <a:gd name="connsiteX51" fmla="*/ 675205 w 956528"/>
                <a:gd name="connsiteY51" fmla="*/ 1466661 h 4223685"/>
                <a:gd name="connsiteX52" fmla="*/ 56280 w 956528"/>
                <a:gd name="connsiteY52" fmla="*/ 1466661 h 4223685"/>
                <a:gd name="connsiteX53" fmla="*/ 56280 w 956528"/>
                <a:gd name="connsiteY53" fmla="*/ 1297860 h 4223685"/>
                <a:gd name="connsiteX54" fmla="*/ 337603 w 956528"/>
                <a:gd name="connsiteY54" fmla="*/ 1297860 h 4223685"/>
                <a:gd name="connsiteX55" fmla="*/ 337603 w 956528"/>
                <a:gd name="connsiteY55" fmla="*/ 1241580 h 4223685"/>
                <a:gd name="connsiteX56" fmla="*/ 56280 w 956528"/>
                <a:gd name="connsiteY56" fmla="*/ 1241580 h 4223685"/>
                <a:gd name="connsiteX57" fmla="*/ 56280 w 956528"/>
                <a:gd name="connsiteY57" fmla="*/ 1072779 h 4223685"/>
                <a:gd name="connsiteX58" fmla="*/ 337603 w 956528"/>
                <a:gd name="connsiteY58" fmla="*/ 1072779 h 4223685"/>
                <a:gd name="connsiteX59" fmla="*/ 337603 w 956528"/>
                <a:gd name="connsiteY59" fmla="*/ 1016537 h 4223685"/>
                <a:gd name="connsiteX60" fmla="*/ 56280 w 956528"/>
                <a:gd name="connsiteY60" fmla="*/ 1016537 h 4223685"/>
                <a:gd name="connsiteX61" fmla="*/ 56280 w 956528"/>
                <a:gd name="connsiteY61" fmla="*/ 847736 h 4223685"/>
                <a:gd name="connsiteX62" fmla="*/ 337603 w 956528"/>
                <a:gd name="connsiteY62" fmla="*/ 847736 h 4223685"/>
                <a:gd name="connsiteX63" fmla="*/ 337603 w 956528"/>
                <a:gd name="connsiteY63" fmla="*/ 791456 h 4223685"/>
                <a:gd name="connsiteX64" fmla="*/ 56280 w 956528"/>
                <a:gd name="connsiteY64" fmla="*/ 791456 h 4223685"/>
                <a:gd name="connsiteX65" fmla="*/ 56280 w 956528"/>
                <a:gd name="connsiteY65" fmla="*/ 622654 h 4223685"/>
                <a:gd name="connsiteX66" fmla="*/ 675205 w 956528"/>
                <a:gd name="connsiteY66" fmla="*/ 622654 h 4223685"/>
                <a:gd name="connsiteX67" fmla="*/ 675205 w 956528"/>
                <a:gd name="connsiteY67" fmla="*/ 566413 h 4223685"/>
                <a:gd name="connsiteX68" fmla="*/ 56280 w 956528"/>
                <a:gd name="connsiteY68" fmla="*/ 566413 h 4223685"/>
                <a:gd name="connsiteX69" fmla="*/ 56280 w 956528"/>
                <a:gd name="connsiteY69" fmla="*/ 397612 h 4223685"/>
                <a:gd name="connsiteX70" fmla="*/ 337603 w 956528"/>
                <a:gd name="connsiteY70" fmla="*/ 397612 h 4223685"/>
                <a:gd name="connsiteX71" fmla="*/ 337603 w 956528"/>
                <a:gd name="connsiteY71" fmla="*/ 341332 h 4223685"/>
                <a:gd name="connsiteX72" fmla="*/ 56280 w 956528"/>
                <a:gd name="connsiteY72" fmla="*/ 341332 h 4223685"/>
                <a:gd name="connsiteX73" fmla="*/ 56280 w 956528"/>
                <a:gd name="connsiteY73" fmla="*/ 172530 h 4223685"/>
                <a:gd name="connsiteX74" fmla="*/ 337603 w 956528"/>
                <a:gd name="connsiteY74" fmla="*/ 172530 h 4223685"/>
                <a:gd name="connsiteX75" fmla="*/ 337603 w 956528"/>
                <a:gd name="connsiteY75" fmla="*/ 116250 h 4223685"/>
                <a:gd name="connsiteX76" fmla="*/ 56280 w 956528"/>
                <a:gd name="connsiteY76" fmla="*/ 116250 h 4223685"/>
                <a:gd name="connsiteX77" fmla="*/ 56280 w 956528"/>
                <a:gd name="connsiteY77" fmla="*/ 0 h 4223685"/>
                <a:gd name="connsiteX78" fmla="*/ 0 w 956528"/>
                <a:gd name="connsiteY78" fmla="*/ 0 h 4223685"/>
                <a:gd name="connsiteX79" fmla="*/ 0 w 956528"/>
                <a:gd name="connsiteY79" fmla="*/ 4223686 h 4223685"/>
                <a:gd name="connsiteX80" fmla="*/ 56280 w 956528"/>
                <a:gd name="connsiteY80" fmla="*/ 4223686 h 4223685"/>
                <a:gd name="connsiteX81" fmla="*/ 900248 w 956528"/>
                <a:gd name="connsiteY81" fmla="*/ 4223686 h 422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956528" h="4223685">
                  <a:moveTo>
                    <a:pt x="956528" y="4223686"/>
                  </a:moveTo>
                  <a:lnTo>
                    <a:pt x="956528" y="0"/>
                  </a:lnTo>
                  <a:lnTo>
                    <a:pt x="900248" y="0"/>
                  </a:lnTo>
                  <a:lnTo>
                    <a:pt x="900248" y="4167445"/>
                  </a:lnTo>
                  <a:lnTo>
                    <a:pt x="56280" y="4167445"/>
                  </a:lnTo>
                  <a:lnTo>
                    <a:pt x="56280" y="3998643"/>
                  </a:lnTo>
                  <a:lnTo>
                    <a:pt x="337603" y="3998643"/>
                  </a:lnTo>
                  <a:lnTo>
                    <a:pt x="337603" y="3942363"/>
                  </a:lnTo>
                  <a:lnTo>
                    <a:pt x="56280" y="3942363"/>
                  </a:lnTo>
                  <a:lnTo>
                    <a:pt x="56280" y="3773562"/>
                  </a:lnTo>
                  <a:lnTo>
                    <a:pt x="337603" y="3773562"/>
                  </a:lnTo>
                  <a:lnTo>
                    <a:pt x="337603" y="3717321"/>
                  </a:lnTo>
                  <a:lnTo>
                    <a:pt x="56280" y="3717321"/>
                  </a:lnTo>
                  <a:lnTo>
                    <a:pt x="56280" y="3548519"/>
                  </a:lnTo>
                  <a:lnTo>
                    <a:pt x="337603" y="3548519"/>
                  </a:lnTo>
                  <a:lnTo>
                    <a:pt x="337603" y="3492239"/>
                  </a:lnTo>
                  <a:lnTo>
                    <a:pt x="56280" y="3492239"/>
                  </a:lnTo>
                  <a:lnTo>
                    <a:pt x="56280" y="3323438"/>
                  </a:lnTo>
                  <a:lnTo>
                    <a:pt x="675205" y="3323438"/>
                  </a:lnTo>
                  <a:lnTo>
                    <a:pt x="675205" y="3267158"/>
                  </a:lnTo>
                  <a:lnTo>
                    <a:pt x="56280" y="3267158"/>
                  </a:lnTo>
                  <a:lnTo>
                    <a:pt x="56280" y="3098395"/>
                  </a:lnTo>
                  <a:lnTo>
                    <a:pt x="337603" y="3098395"/>
                  </a:lnTo>
                  <a:lnTo>
                    <a:pt x="337603" y="3042115"/>
                  </a:lnTo>
                  <a:lnTo>
                    <a:pt x="56280" y="3042115"/>
                  </a:lnTo>
                  <a:lnTo>
                    <a:pt x="56280" y="2873314"/>
                  </a:lnTo>
                  <a:lnTo>
                    <a:pt x="337603" y="2873314"/>
                  </a:lnTo>
                  <a:lnTo>
                    <a:pt x="337603" y="2817034"/>
                  </a:lnTo>
                  <a:lnTo>
                    <a:pt x="56280" y="2817034"/>
                  </a:lnTo>
                  <a:lnTo>
                    <a:pt x="56280" y="2648233"/>
                  </a:lnTo>
                  <a:lnTo>
                    <a:pt x="337603" y="2648233"/>
                  </a:lnTo>
                  <a:lnTo>
                    <a:pt x="337603" y="2591991"/>
                  </a:lnTo>
                  <a:lnTo>
                    <a:pt x="56280" y="2591991"/>
                  </a:lnTo>
                  <a:lnTo>
                    <a:pt x="56280" y="2423190"/>
                  </a:lnTo>
                  <a:lnTo>
                    <a:pt x="675205" y="2423190"/>
                  </a:lnTo>
                  <a:lnTo>
                    <a:pt x="675205" y="2366909"/>
                  </a:lnTo>
                  <a:lnTo>
                    <a:pt x="56280" y="2366909"/>
                  </a:lnTo>
                  <a:lnTo>
                    <a:pt x="56280" y="2198108"/>
                  </a:lnTo>
                  <a:lnTo>
                    <a:pt x="337603" y="2198108"/>
                  </a:lnTo>
                  <a:lnTo>
                    <a:pt x="337603" y="2141867"/>
                  </a:lnTo>
                  <a:lnTo>
                    <a:pt x="56280" y="2141867"/>
                  </a:lnTo>
                  <a:lnTo>
                    <a:pt x="56280" y="1973065"/>
                  </a:lnTo>
                  <a:lnTo>
                    <a:pt x="337603" y="1973065"/>
                  </a:lnTo>
                  <a:lnTo>
                    <a:pt x="337603" y="1916785"/>
                  </a:lnTo>
                  <a:lnTo>
                    <a:pt x="56280" y="1916785"/>
                  </a:lnTo>
                  <a:lnTo>
                    <a:pt x="56280" y="1747984"/>
                  </a:lnTo>
                  <a:lnTo>
                    <a:pt x="337603" y="1747984"/>
                  </a:lnTo>
                  <a:lnTo>
                    <a:pt x="337603" y="1691704"/>
                  </a:lnTo>
                  <a:lnTo>
                    <a:pt x="56280" y="1691704"/>
                  </a:lnTo>
                  <a:lnTo>
                    <a:pt x="56280" y="1522941"/>
                  </a:lnTo>
                  <a:lnTo>
                    <a:pt x="675205" y="1522941"/>
                  </a:lnTo>
                  <a:lnTo>
                    <a:pt x="675205" y="1466661"/>
                  </a:lnTo>
                  <a:lnTo>
                    <a:pt x="56280" y="1466661"/>
                  </a:lnTo>
                  <a:lnTo>
                    <a:pt x="56280" y="1297860"/>
                  </a:lnTo>
                  <a:lnTo>
                    <a:pt x="337603" y="1297860"/>
                  </a:lnTo>
                  <a:lnTo>
                    <a:pt x="337603" y="1241580"/>
                  </a:lnTo>
                  <a:lnTo>
                    <a:pt x="56280" y="1241580"/>
                  </a:lnTo>
                  <a:lnTo>
                    <a:pt x="56280" y="1072779"/>
                  </a:lnTo>
                  <a:lnTo>
                    <a:pt x="337603" y="1072779"/>
                  </a:lnTo>
                  <a:lnTo>
                    <a:pt x="337603" y="1016537"/>
                  </a:lnTo>
                  <a:lnTo>
                    <a:pt x="56280" y="1016537"/>
                  </a:lnTo>
                  <a:lnTo>
                    <a:pt x="56280" y="847736"/>
                  </a:lnTo>
                  <a:lnTo>
                    <a:pt x="337603" y="847736"/>
                  </a:lnTo>
                  <a:lnTo>
                    <a:pt x="337603" y="791456"/>
                  </a:lnTo>
                  <a:lnTo>
                    <a:pt x="56280" y="791456"/>
                  </a:lnTo>
                  <a:lnTo>
                    <a:pt x="56280" y="622654"/>
                  </a:lnTo>
                  <a:lnTo>
                    <a:pt x="675205" y="622654"/>
                  </a:lnTo>
                  <a:lnTo>
                    <a:pt x="675205" y="566413"/>
                  </a:lnTo>
                  <a:lnTo>
                    <a:pt x="56280" y="566413"/>
                  </a:lnTo>
                  <a:lnTo>
                    <a:pt x="56280" y="397612"/>
                  </a:lnTo>
                  <a:lnTo>
                    <a:pt x="337603" y="397612"/>
                  </a:lnTo>
                  <a:lnTo>
                    <a:pt x="337603" y="341332"/>
                  </a:lnTo>
                  <a:lnTo>
                    <a:pt x="56280" y="341332"/>
                  </a:lnTo>
                  <a:lnTo>
                    <a:pt x="56280" y="172530"/>
                  </a:lnTo>
                  <a:lnTo>
                    <a:pt x="337603" y="172530"/>
                  </a:lnTo>
                  <a:lnTo>
                    <a:pt x="337603" y="116250"/>
                  </a:lnTo>
                  <a:lnTo>
                    <a:pt x="56280" y="116250"/>
                  </a:lnTo>
                  <a:lnTo>
                    <a:pt x="56280" y="0"/>
                  </a:lnTo>
                  <a:lnTo>
                    <a:pt x="0" y="0"/>
                  </a:lnTo>
                  <a:lnTo>
                    <a:pt x="0" y="4223686"/>
                  </a:lnTo>
                  <a:lnTo>
                    <a:pt x="56280" y="4223686"/>
                  </a:lnTo>
                  <a:lnTo>
                    <a:pt x="900248" y="42236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123C5207-5C5A-4D21-9E3B-00E76A674500}"/>
                </a:ext>
              </a:extLst>
            </p:cNvPr>
            <p:cNvSpPr/>
            <p:nvPr/>
          </p:nvSpPr>
          <p:spPr>
            <a:xfrm>
              <a:off x="-1697617" y="1719597"/>
              <a:ext cx="337603" cy="538326"/>
            </a:xfrm>
            <a:custGeom>
              <a:avLst/>
              <a:gdLst>
                <a:gd name="connsiteX0" fmla="*/ 0 w 337603"/>
                <a:gd name="connsiteY0" fmla="*/ 0 h 538326"/>
                <a:gd name="connsiteX1" fmla="*/ 56280 w 337603"/>
                <a:gd name="connsiteY1" fmla="*/ 0 h 538326"/>
                <a:gd name="connsiteX2" fmla="*/ 56280 w 337603"/>
                <a:gd name="connsiteY2" fmla="*/ 101734 h 538326"/>
                <a:gd name="connsiteX3" fmla="*/ 337603 w 337603"/>
                <a:gd name="connsiteY3" fmla="*/ 101734 h 538326"/>
                <a:gd name="connsiteX4" fmla="*/ 337603 w 337603"/>
                <a:gd name="connsiteY4" fmla="*/ 158014 h 538326"/>
                <a:gd name="connsiteX5" fmla="*/ 56280 w 337603"/>
                <a:gd name="connsiteY5" fmla="*/ 158014 h 538326"/>
                <a:gd name="connsiteX6" fmla="*/ 56280 w 337603"/>
                <a:gd name="connsiteY6" fmla="*/ 326815 h 538326"/>
                <a:gd name="connsiteX7" fmla="*/ 337603 w 337603"/>
                <a:gd name="connsiteY7" fmla="*/ 326815 h 538326"/>
                <a:gd name="connsiteX8" fmla="*/ 337603 w 337603"/>
                <a:gd name="connsiteY8" fmla="*/ 383056 h 538326"/>
                <a:gd name="connsiteX9" fmla="*/ 56280 w 337603"/>
                <a:gd name="connsiteY9" fmla="*/ 383056 h 538326"/>
                <a:gd name="connsiteX10" fmla="*/ 56280 w 337603"/>
                <a:gd name="connsiteY10" fmla="*/ 538326 h 538326"/>
                <a:gd name="connsiteX11" fmla="*/ 0 w 337603"/>
                <a:gd name="connsiteY11" fmla="*/ 538326 h 538326"/>
                <a:gd name="connsiteX12" fmla="*/ 0 w 337603"/>
                <a:gd name="connsiteY12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7603" h="538326">
                  <a:moveTo>
                    <a:pt x="0" y="0"/>
                  </a:moveTo>
                  <a:lnTo>
                    <a:pt x="56280" y="0"/>
                  </a:lnTo>
                  <a:lnTo>
                    <a:pt x="56280" y="101734"/>
                  </a:lnTo>
                  <a:lnTo>
                    <a:pt x="337603" y="101734"/>
                  </a:lnTo>
                  <a:lnTo>
                    <a:pt x="337603" y="158014"/>
                  </a:lnTo>
                  <a:lnTo>
                    <a:pt x="56280" y="158014"/>
                  </a:lnTo>
                  <a:lnTo>
                    <a:pt x="56280" y="326815"/>
                  </a:lnTo>
                  <a:lnTo>
                    <a:pt x="337603" y="326815"/>
                  </a:lnTo>
                  <a:lnTo>
                    <a:pt x="337603" y="383056"/>
                  </a:lnTo>
                  <a:lnTo>
                    <a:pt x="56280" y="383056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B4C5732B-5C61-4A21-8929-50DFB951E58C}"/>
                </a:ext>
              </a:extLst>
            </p:cNvPr>
            <p:cNvSpPr/>
            <p:nvPr/>
          </p:nvSpPr>
          <p:spPr>
            <a:xfrm>
              <a:off x="-797368" y="1719597"/>
              <a:ext cx="56280" cy="538326"/>
            </a:xfrm>
            <a:custGeom>
              <a:avLst/>
              <a:gdLst>
                <a:gd name="connsiteX0" fmla="*/ 0 w 56280"/>
                <a:gd name="connsiteY0" fmla="*/ 0 h 538326"/>
                <a:gd name="connsiteX1" fmla="*/ 56280 w 56280"/>
                <a:gd name="connsiteY1" fmla="*/ 0 h 538326"/>
                <a:gd name="connsiteX2" fmla="*/ 56280 w 56280"/>
                <a:gd name="connsiteY2" fmla="*/ 538326 h 538326"/>
                <a:gd name="connsiteX3" fmla="*/ 0 w 56280"/>
                <a:gd name="connsiteY3" fmla="*/ 538326 h 538326"/>
                <a:gd name="connsiteX4" fmla="*/ 0 w 56280"/>
                <a:gd name="connsiteY4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80" h="538326">
                  <a:moveTo>
                    <a:pt x="0" y="0"/>
                  </a:moveTo>
                  <a:lnTo>
                    <a:pt x="56280" y="0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</p:grpSp>
      <p:sp>
        <p:nvSpPr>
          <p:cNvPr id="59" name="Round Same-side Corner of Rectangle 79">
            <a:extLst>
              <a:ext uri="{FF2B5EF4-FFF2-40B4-BE49-F238E27FC236}">
                <a16:creationId xmlns:a16="http://schemas.microsoft.com/office/drawing/2014/main" id="{8F464A2F-ED3D-44D4-866F-B75934E74B2E}"/>
              </a:ext>
            </a:extLst>
          </p:cNvPr>
          <p:cNvSpPr/>
          <p:nvPr userDrawn="1"/>
        </p:nvSpPr>
        <p:spPr>
          <a:xfrm rot="5400000">
            <a:off x="10613117" y="550943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0" name="TextBox 59">
            <a:hlinkClick r:id="" action="ppaction://noaction"/>
            <a:extLst>
              <a:ext uri="{FF2B5EF4-FFF2-40B4-BE49-F238E27FC236}">
                <a16:creationId xmlns:a16="http://schemas.microsoft.com/office/drawing/2014/main" id="{822A34C5-5A93-4503-94F1-DEAAC680CFCF}"/>
              </a:ext>
            </a:extLst>
          </p:cNvPr>
          <p:cNvSpPr txBox="1"/>
          <p:nvPr userDrawn="1"/>
        </p:nvSpPr>
        <p:spPr>
          <a:xfrm>
            <a:off x="10870644" y="555078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61" name="Round Same-side Corner of Rectangle 79">
            <a:extLst>
              <a:ext uri="{FF2B5EF4-FFF2-40B4-BE49-F238E27FC236}">
                <a16:creationId xmlns:a16="http://schemas.microsoft.com/office/drawing/2014/main" id="{ED031273-54FB-446F-9D26-658F510CE410}"/>
              </a:ext>
            </a:extLst>
          </p:cNvPr>
          <p:cNvSpPr/>
          <p:nvPr userDrawn="1"/>
        </p:nvSpPr>
        <p:spPr>
          <a:xfrm rot="5400000">
            <a:off x="10613117" y="5784862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2" name="TextBox 61">
            <a:hlinkClick r:id="" action="ppaction://noaction"/>
            <a:extLst>
              <a:ext uri="{FF2B5EF4-FFF2-40B4-BE49-F238E27FC236}">
                <a16:creationId xmlns:a16="http://schemas.microsoft.com/office/drawing/2014/main" id="{D800C743-E5D6-45E0-AA1C-766AE34B357E}"/>
              </a:ext>
            </a:extLst>
          </p:cNvPr>
          <p:cNvSpPr txBox="1"/>
          <p:nvPr userDrawn="1"/>
        </p:nvSpPr>
        <p:spPr>
          <a:xfrm>
            <a:off x="10870644" y="5826211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73" name="Freeform 25">
            <a:extLst>
              <a:ext uri="{FF2B5EF4-FFF2-40B4-BE49-F238E27FC236}">
                <a16:creationId xmlns:a16="http://schemas.microsoft.com/office/drawing/2014/main" id="{171ACAC1-56D9-440A-9A1A-D8437915ED9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5549100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74" name="Round Same-side Corner of Rectangle 79">
            <a:extLst>
              <a:ext uri="{FF2B5EF4-FFF2-40B4-BE49-F238E27FC236}">
                <a16:creationId xmlns:a16="http://schemas.microsoft.com/office/drawing/2014/main" id="{33AE9ACE-095C-4476-A09B-BD3BBA1093AD}"/>
              </a:ext>
            </a:extLst>
          </p:cNvPr>
          <p:cNvSpPr/>
          <p:nvPr userDrawn="1"/>
        </p:nvSpPr>
        <p:spPr>
          <a:xfrm rot="5400000">
            <a:off x="10615976" y="606635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75" name="TextBox 74">
            <a:hlinkClick r:id="" action="ppaction://noaction"/>
            <a:extLst>
              <a:ext uri="{FF2B5EF4-FFF2-40B4-BE49-F238E27FC236}">
                <a16:creationId xmlns:a16="http://schemas.microsoft.com/office/drawing/2014/main" id="{9563A3A3-C30A-467C-A947-392636CBA0CF}"/>
              </a:ext>
            </a:extLst>
          </p:cNvPr>
          <p:cNvSpPr txBox="1"/>
          <p:nvPr userDrawn="1"/>
        </p:nvSpPr>
        <p:spPr>
          <a:xfrm>
            <a:off x="10873503" y="6107704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76" name="Freeform 21">
            <a:extLst>
              <a:ext uri="{FF2B5EF4-FFF2-40B4-BE49-F238E27FC236}">
                <a16:creationId xmlns:a16="http://schemas.microsoft.com/office/drawing/2014/main" id="{8E92107F-83D4-4344-A1CE-7D761D958B7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6115929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77" name="Graphic 28" descr="List">
            <a:extLst>
              <a:ext uri="{FF2B5EF4-FFF2-40B4-BE49-F238E27FC236}">
                <a16:creationId xmlns:a16="http://schemas.microsoft.com/office/drawing/2014/main" id="{E6FD0B5C-13B1-4AD1-95F0-A2E8F13D619A}"/>
              </a:ext>
            </a:extLst>
          </p:cNvPr>
          <p:cNvGrpSpPr/>
          <p:nvPr userDrawn="1"/>
        </p:nvGrpSpPr>
        <p:grpSpPr>
          <a:xfrm>
            <a:off x="10657446" y="5818069"/>
            <a:ext cx="103548" cy="146640"/>
            <a:chOff x="981871" y="1231905"/>
            <a:chExt cx="246063" cy="317501"/>
          </a:xfrm>
        </p:grpSpPr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325E3F2B-C428-4103-AADB-F73013845B07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64585BA4-C4FD-4327-8B3D-DB703E93AA5F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AC954AD9-D00E-4FFE-BD1C-CA499C064444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9326369F-74E3-43B3-B615-ACCD3AF39798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6287C64D-29E1-4DE0-B00A-5048DC9E411E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7FC61246-C2D4-4371-A00F-263B496BBA8D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AAF19A7F-1C73-48A7-B15A-0EC405AACADC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69F8806D-DB6D-48BE-96E8-B4471D06E5C4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C53B171B-F3B4-4308-B20D-DC6A40B710CD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80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A532BFA6-8388-4C5E-B751-5DE7FEB55634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CEF6D4D2-6A24-4865-B8F6-948762534663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9964BB5D-C791-439D-8AF4-3C22E7DA780A}"/>
              </a:ext>
            </a:extLst>
          </p:cNvPr>
          <p:cNvSpPr/>
          <p:nvPr userDrawn="1"/>
        </p:nvSpPr>
        <p:spPr>
          <a:xfrm rot="5400000">
            <a:off x="11280167" y="4840571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07F2A647-F16A-49FE-BBFA-E24EB92346BD}"/>
              </a:ext>
            </a:extLst>
          </p:cNvPr>
          <p:cNvSpPr/>
          <p:nvPr userDrawn="1"/>
        </p:nvSpPr>
        <p:spPr>
          <a:xfrm rot="5400000">
            <a:off x="11280167" y="5116475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7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C3AFF5B4-30F7-4673-AA46-64A50D328E7E}"/>
              </a:ext>
            </a:extLst>
          </p:cNvPr>
          <p:cNvSpPr/>
          <p:nvPr userDrawn="1"/>
        </p:nvSpPr>
        <p:spPr>
          <a:xfrm rot="5400000">
            <a:off x="11280167" y="5392379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9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AD55107D-9DD9-4FA5-A76A-4779051F6DC5}"/>
              </a:ext>
            </a:extLst>
          </p:cNvPr>
          <p:cNvSpPr/>
          <p:nvPr userDrawn="1"/>
        </p:nvSpPr>
        <p:spPr>
          <a:xfrm rot="5400000">
            <a:off x="11473096" y="1472755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0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43B6AA15-4838-400C-89BC-2E3ED91B90D0}"/>
              </a:ext>
            </a:extLst>
          </p:cNvPr>
          <p:cNvSpPr/>
          <p:nvPr userDrawn="1"/>
        </p:nvSpPr>
        <p:spPr>
          <a:xfrm rot="5400000">
            <a:off x="11473096" y="192820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1" name="Round Same-side Corner of Rectangle 79">
            <a:hlinkClick r:id="rId5" action="ppaction://hlinksldjump"/>
            <a:extLst>
              <a:ext uri="{FF2B5EF4-FFF2-40B4-BE49-F238E27FC236}">
                <a16:creationId xmlns:a16="http://schemas.microsoft.com/office/drawing/2014/main" id="{E5F23EC1-E8F9-46BA-AF3C-1CC5603D170A}"/>
              </a:ext>
            </a:extLst>
          </p:cNvPr>
          <p:cNvSpPr/>
          <p:nvPr userDrawn="1"/>
        </p:nvSpPr>
        <p:spPr>
          <a:xfrm rot="5400000">
            <a:off x="11473096" y="2380734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2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913972FF-62AB-4AE6-8D9A-CE1FF9F7A6A2}"/>
              </a:ext>
            </a:extLst>
          </p:cNvPr>
          <p:cNvSpPr/>
          <p:nvPr userDrawn="1"/>
        </p:nvSpPr>
        <p:spPr>
          <a:xfrm rot="5400000">
            <a:off x="11473096" y="2833262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1F6B5FA4-709A-4164-B682-BBDE85C83730}"/>
              </a:ext>
            </a:extLst>
          </p:cNvPr>
          <p:cNvSpPr/>
          <p:nvPr userDrawn="1"/>
        </p:nvSpPr>
        <p:spPr>
          <a:xfrm rot="5400000">
            <a:off x="11283961" y="3096655"/>
            <a:ext cx="349171" cy="1460557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723A076E-F233-4493-870E-683BC862B199}"/>
              </a:ext>
            </a:extLst>
          </p:cNvPr>
          <p:cNvSpPr/>
          <p:nvPr userDrawn="1"/>
        </p:nvSpPr>
        <p:spPr>
          <a:xfrm rot="5400000">
            <a:off x="11473096" y="3738318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CF2246B2-3D3A-4A64-90E2-77AD20B32251}"/>
              </a:ext>
            </a:extLst>
          </p:cNvPr>
          <p:cNvSpPr/>
          <p:nvPr userDrawn="1"/>
        </p:nvSpPr>
        <p:spPr>
          <a:xfrm rot="5400000">
            <a:off x="11473096" y="419084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6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C9E3391F-65BA-4819-824D-922A619011F8}"/>
              </a:ext>
            </a:extLst>
          </p:cNvPr>
          <p:cNvSpPr/>
          <p:nvPr userDrawn="1"/>
        </p:nvSpPr>
        <p:spPr>
          <a:xfrm rot="5400000">
            <a:off x="11473096" y="464337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4067970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llar 5 - Let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4" name="Round Same-side Corner of Rectangle 79">
            <a:extLst>
              <a:ext uri="{FF2B5EF4-FFF2-40B4-BE49-F238E27FC236}">
                <a16:creationId xmlns:a16="http://schemas.microsoft.com/office/drawing/2014/main" id="{429E155D-7E57-4822-8852-F94F1A49D6FC}"/>
              </a:ext>
            </a:extLst>
          </p:cNvPr>
          <p:cNvSpPr/>
          <p:nvPr userDrawn="1"/>
        </p:nvSpPr>
        <p:spPr>
          <a:xfrm rot="16200000">
            <a:off x="11384856" y="4661233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8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0" name="Round Same-side Corner of Rectangle 79">
            <a:extLst>
              <a:ext uri="{FF2B5EF4-FFF2-40B4-BE49-F238E27FC236}">
                <a16:creationId xmlns:a16="http://schemas.microsoft.com/office/drawing/2014/main" id="{DA632258-7E89-4C63-86BD-EA679E94BCAB}"/>
              </a:ext>
            </a:extLst>
          </p:cNvPr>
          <p:cNvSpPr/>
          <p:nvPr userDrawn="1"/>
        </p:nvSpPr>
        <p:spPr>
          <a:xfrm rot="16200000">
            <a:off x="11384854" y="4208631"/>
            <a:ext cx="388777" cy="104122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7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1" name="Round Same-side Corner of Rectangle 79">
            <a:extLst>
              <a:ext uri="{FF2B5EF4-FFF2-40B4-BE49-F238E27FC236}">
                <a16:creationId xmlns:a16="http://schemas.microsoft.com/office/drawing/2014/main" id="{D4B93879-3513-4875-A1C4-5980915623CE}"/>
              </a:ext>
            </a:extLst>
          </p:cNvPr>
          <p:cNvSpPr/>
          <p:nvPr userDrawn="1"/>
        </p:nvSpPr>
        <p:spPr>
          <a:xfrm rot="16200000">
            <a:off x="11384854" y="3756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6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8" name="Round Same-side Corner of Rectangle 79">
            <a:extLst>
              <a:ext uri="{FF2B5EF4-FFF2-40B4-BE49-F238E27FC236}">
                <a16:creationId xmlns:a16="http://schemas.microsoft.com/office/drawing/2014/main" id="{312255C5-65A9-47AB-B67B-8924547FF7C2}"/>
              </a:ext>
            </a:extLst>
          </p:cNvPr>
          <p:cNvSpPr/>
          <p:nvPr userDrawn="1"/>
        </p:nvSpPr>
        <p:spPr>
          <a:xfrm rot="16200000">
            <a:off x="11219846" y="3138423"/>
            <a:ext cx="388777" cy="137124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2102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600" b="1"/>
              <a:t>Pillar  </a:t>
            </a:r>
            <a:r>
              <a:rPr lang="en-US" sz="1600" b="1"/>
              <a:t>5</a:t>
            </a:r>
          </a:p>
        </p:txBody>
      </p:sp>
      <p:sp>
        <p:nvSpPr>
          <p:cNvPr id="79" name="Round Same-side Corner of Rectangle 79">
            <a:extLst>
              <a:ext uri="{FF2B5EF4-FFF2-40B4-BE49-F238E27FC236}">
                <a16:creationId xmlns:a16="http://schemas.microsoft.com/office/drawing/2014/main" id="{F23596D5-FD36-49E3-B746-F3D7A290DF3D}"/>
              </a:ext>
            </a:extLst>
          </p:cNvPr>
          <p:cNvSpPr/>
          <p:nvPr userDrawn="1"/>
        </p:nvSpPr>
        <p:spPr>
          <a:xfrm rot="16200000">
            <a:off x="11384853" y="28508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4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7" name="Round Same-side Corner of Rectangle 79">
            <a:extLst>
              <a:ext uri="{FF2B5EF4-FFF2-40B4-BE49-F238E27FC236}">
                <a16:creationId xmlns:a16="http://schemas.microsoft.com/office/drawing/2014/main" id="{059574F1-9FE9-480C-B4ED-14EFB4169B0E}"/>
              </a:ext>
            </a:extLst>
          </p:cNvPr>
          <p:cNvSpPr/>
          <p:nvPr userDrawn="1"/>
        </p:nvSpPr>
        <p:spPr>
          <a:xfrm rot="16200000">
            <a:off x="11384854" y="23982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3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8" name="Round Same-side Corner of Rectangle 79">
            <a:extLst>
              <a:ext uri="{FF2B5EF4-FFF2-40B4-BE49-F238E27FC236}">
                <a16:creationId xmlns:a16="http://schemas.microsoft.com/office/drawing/2014/main" id="{82236BCB-3538-4E87-B0C9-CACC40793A57}"/>
              </a:ext>
            </a:extLst>
          </p:cNvPr>
          <p:cNvSpPr/>
          <p:nvPr userDrawn="1"/>
        </p:nvSpPr>
        <p:spPr>
          <a:xfrm rot="16200000">
            <a:off x="11384854" y="19456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2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9" name="Round Same-side Corner of Rectangle 79">
            <a:extLst>
              <a:ext uri="{FF2B5EF4-FFF2-40B4-BE49-F238E27FC236}">
                <a16:creationId xmlns:a16="http://schemas.microsoft.com/office/drawing/2014/main" id="{61090AD0-0469-4342-901A-FC4BE401662F}"/>
              </a:ext>
            </a:extLst>
          </p:cNvPr>
          <p:cNvSpPr/>
          <p:nvPr userDrawn="1"/>
        </p:nvSpPr>
        <p:spPr>
          <a:xfrm rot="16200000">
            <a:off x="11384854" y="1493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1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96" name="Round Same-side Corner of Rectangle 79">
            <a:extLst>
              <a:ext uri="{FF2B5EF4-FFF2-40B4-BE49-F238E27FC236}">
                <a16:creationId xmlns:a16="http://schemas.microsoft.com/office/drawing/2014/main" id="{75C801CE-9FCA-486D-96A7-6973FA449CCA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8" name="Round Same-side Corner of Rectangle 79">
            <a:extLst>
              <a:ext uri="{FF2B5EF4-FFF2-40B4-BE49-F238E27FC236}">
                <a16:creationId xmlns:a16="http://schemas.microsoft.com/office/drawing/2014/main" id="{B358AAFE-318C-4629-9F49-D9DBA46F85EC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030DE6CB-CE56-4C84-BED6-6BE715E7E8C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6706" y="918349"/>
            <a:ext cx="9963591" cy="5673283"/>
          </a:xfrm>
        </p:spPr>
        <p:txBody>
          <a:bodyPr/>
          <a:lstStyle>
            <a:lvl1pPr marL="0" indent="0">
              <a:spcBef>
                <a:spcPts val="1200"/>
              </a:spcBef>
              <a:buFontTx/>
              <a:buNone/>
              <a:defRPr sz="1799" b="1">
                <a:solidFill>
                  <a:schemeClr val="accent1">
                    <a:lumMod val="75000"/>
                  </a:schemeClr>
                </a:solidFill>
              </a:defRPr>
            </a:lvl1pPr>
            <a:lvl2pPr marL="230119" indent="-230119">
              <a:spcBef>
                <a:spcPts val="1200"/>
              </a:spcBef>
              <a:buFont typeface="+mj-lt"/>
              <a:buAutoNum type="alphaUcPeriod"/>
              <a:defRPr/>
            </a:lvl2pPr>
            <a:lvl3pPr marL="512609" indent="-171399">
              <a:spcBef>
                <a:spcPts val="600"/>
              </a:spcBef>
              <a:buFont typeface="+mj-lt"/>
              <a:buAutoNum type="romanLcPeriod"/>
              <a:defRPr sz="1300"/>
            </a:lvl3pPr>
            <a:lvl4pPr marL="798273" indent="-169812">
              <a:spcBef>
                <a:spcPts val="400"/>
              </a:spcBef>
              <a:buFont typeface="+mj-lt"/>
              <a:buAutoNum type="alphaLcPeriod"/>
              <a:defRPr sz="1300"/>
            </a:lvl4pPr>
            <a:lvl5pPr marL="1144245" indent="-115853">
              <a:spcBef>
                <a:spcPts val="2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1421BD9-15AA-4E46-A09A-6D8231B28463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BB1449B-5566-46D4-AA07-1970E49A3898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4" name="Round Same-side Corner of Rectangle 79">
            <a:extLst>
              <a:ext uri="{FF2B5EF4-FFF2-40B4-BE49-F238E27FC236}">
                <a16:creationId xmlns:a16="http://schemas.microsoft.com/office/drawing/2014/main" id="{479416EC-B0EA-486C-ACDC-AFA6962F7D55}"/>
              </a:ext>
            </a:extLst>
          </p:cNvPr>
          <p:cNvSpPr/>
          <p:nvPr userDrawn="1"/>
        </p:nvSpPr>
        <p:spPr>
          <a:xfrm rot="16200000">
            <a:off x="11900597" y="3730205"/>
            <a:ext cx="388777" cy="18768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>
              <a:lumMod val="75000"/>
              <a:alpha val="59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17" name="TextBox 16">
            <a:hlinkClick r:id="" action="ppaction://noaction"/>
            <a:extLst>
              <a:ext uri="{FF2B5EF4-FFF2-40B4-BE49-F238E27FC236}">
                <a16:creationId xmlns:a16="http://schemas.microsoft.com/office/drawing/2014/main" id="{7564FD85-E8F7-40CC-865B-2B7F23ED7553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18" name="TextBox 17">
            <a:hlinkClick r:id="" action="ppaction://noaction"/>
            <a:extLst>
              <a:ext uri="{FF2B5EF4-FFF2-40B4-BE49-F238E27FC236}">
                <a16:creationId xmlns:a16="http://schemas.microsoft.com/office/drawing/2014/main" id="{AB532DE3-09E3-4977-B2BA-B154047EF486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2C02CB5D-4F9B-4643-BEEA-FC8FEFBD06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15BC9745-69D5-4B02-88A0-4AF73742F2C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14E48C90-5A79-45F2-8DB1-D9BD44CF16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45" name="Freeform 9">
            <a:extLst>
              <a:ext uri="{FF2B5EF4-FFF2-40B4-BE49-F238E27FC236}">
                <a16:creationId xmlns:a16="http://schemas.microsoft.com/office/drawing/2014/main" id="{116039CD-907B-4766-A7DA-4530E1BB6091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95767" y="4176118"/>
            <a:ext cx="181694" cy="212254"/>
          </a:xfrm>
          <a:custGeom>
            <a:avLst/>
            <a:gdLst>
              <a:gd name="T0" fmla="*/ 708 w 809"/>
              <a:gd name="T1" fmla="*/ 509 h 945"/>
              <a:gd name="T2" fmla="*/ 405 w 809"/>
              <a:gd name="T3" fmla="*/ 838 h 945"/>
              <a:gd name="T4" fmla="*/ 404 w 809"/>
              <a:gd name="T5" fmla="*/ 838 h 945"/>
              <a:gd name="T6" fmla="*/ 404 w 809"/>
              <a:gd name="T7" fmla="*/ 473 h 945"/>
              <a:gd name="T8" fmla="*/ 101 w 809"/>
              <a:gd name="T9" fmla="*/ 473 h 945"/>
              <a:gd name="T10" fmla="*/ 101 w 809"/>
              <a:gd name="T11" fmla="*/ 245 h 945"/>
              <a:gd name="T12" fmla="*/ 404 w 809"/>
              <a:gd name="T13" fmla="*/ 123 h 945"/>
              <a:gd name="T14" fmla="*/ 404 w 809"/>
              <a:gd name="T15" fmla="*/ 473 h 945"/>
              <a:gd name="T16" fmla="*/ 708 w 809"/>
              <a:gd name="T17" fmla="*/ 473 h 945"/>
              <a:gd name="T18" fmla="*/ 708 w 809"/>
              <a:gd name="T19" fmla="*/ 509 h 945"/>
              <a:gd name="T20" fmla="*/ 792 w 809"/>
              <a:gd name="T21" fmla="*/ 150 h 945"/>
              <a:gd name="T22" fmla="*/ 415 w 809"/>
              <a:gd name="T23" fmla="*/ 4 h 945"/>
              <a:gd name="T24" fmla="*/ 394 w 809"/>
              <a:gd name="T25" fmla="*/ 4 h 945"/>
              <a:gd name="T26" fmla="*/ 17 w 809"/>
              <a:gd name="T27" fmla="*/ 150 h 945"/>
              <a:gd name="T28" fmla="*/ 0 w 809"/>
              <a:gd name="T29" fmla="*/ 168 h 945"/>
              <a:gd name="T30" fmla="*/ 0 w 809"/>
              <a:gd name="T31" fmla="*/ 508 h 945"/>
              <a:gd name="T32" fmla="*/ 398 w 809"/>
              <a:gd name="T33" fmla="*/ 944 h 945"/>
              <a:gd name="T34" fmla="*/ 410 w 809"/>
              <a:gd name="T35" fmla="*/ 944 h 945"/>
              <a:gd name="T36" fmla="*/ 809 w 809"/>
              <a:gd name="T37" fmla="*/ 508 h 945"/>
              <a:gd name="T38" fmla="*/ 809 w 809"/>
              <a:gd name="T39" fmla="*/ 168 h 945"/>
              <a:gd name="T40" fmla="*/ 792 w 809"/>
              <a:gd name="T41" fmla="*/ 150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9" h="945">
                <a:moveTo>
                  <a:pt x="708" y="509"/>
                </a:moveTo>
                <a:cubicBezTo>
                  <a:pt x="708" y="713"/>
                  <a:pt x="483" y="811"/>
                  <a:pt x="405" y="838"/>
                </a:cubicBezTo>
                <a:cubicBezTo>
                  <a:pt x="405" y="838"/>
                  <a:pt x="404" y="838"/>
                  <a:pt x="404" y="838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101" y="473"/>
                  <a:pt x="101" y="473"/>
                  <a:pt x="101" y="473"/>
                </a:cubicBezTo>
                <a:cubicBezTo>
                  <a:pt x="101" y="245"/>
                  <a:pt x="101" y="245"/>
                  <a:pt x="101" y="245"/>
                </a:cubicBezTo>
                <a:cubicBezTo>
                  <a:pt x="185" y="231"/>
                  <a:pt x="288" y="197"/>
                  <a:pt x="404" y="123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708" y="473"/>
                  <a:pt x="708" y="473"/>
                  <a:pt x="708" y="473"/>
                </a:cubicBezTo>
                <a:lnTo>
                  <a:pt x="708" y="509"/>
                </a:lnTo>
                <a:close/>
                <a:moveTo>
                  <a:pt x="792" y="150"/>
                </a:moveTo>
                <a:cubicBezTo>
                  <a:pt x="691" y="146"/>
                  <a:pt x="562" y="109"/>
                  <a:pt x="415" y="4"/>
                </a:cubicBezTo>
                <a:cubicBezTo>
                  <a:pt x="409" y="0"/>
                  <a:pt x="400" y="0"/>
                  <a:pt x="394" y="4"/>
                </a:cubicBezTo>
                <a:cubicBezTo>
                  <a:pt x="247" y="109"/>
                  <a:pt x="118" y="146"/>
                  <a:pt x="17" y="150"/>
                </a:cubicBezTo>
                <a:cubicBezTo>
                  <a:pt x="7" y="150"/>
                  <a:pt x="0" y="158"/>
                  <a:pt x="0" y="168"/>
                </a:cubicBezTo>
                <a:cubicBezTo>
                  <a:pt x="0" y="209"/>
                  <a:pt x="0" y="325"/>
                  <a:pt x="0" y="508"/>
                </a:cubicBezTo>
                <a:cubicBezTo>
                  <a:pt x="0" y="792"/>
                  <a:pt x="348" y="926"/>
                  <a:pt x="398" y="944"/>
                </a:cubicBezTo>
                <a:cubicBezTo>
                  <a:pt x="402" y="945"/>
                  <a:pt x="406" y="945"/>
                  <a:pt x="410" y="944"/>
                </a:cubicBezTo>
                <a:cubicBezTo>
                  <a:pt x="460" y="926"/>
                  <a:pt x="809" y="792"/>
                  <a:pt x="809" y="508"/>
                </a:cubicBezTo>
                <a:cubicBezTo>
                  <a:pt x="809" y="325"/>
                  <a:pt x="809" y="209"/>
                  <a:pt x="809" y="168"/>
                </a:cubicBezTo>
                <a:cubicBezTo>
                  <a:pt x="809" y="158"/>
                  <a:pt x="801" y="150"/>
                  <a:pt x="792" y="15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46" name="Freeform 13">
            <a:extLst>
              <a:ext uri="{FF2B5EF4-FFF2-40B4-BE49-F238E27FC236}">
                <a16:creationId xmlns:a16="http://schemas.microsoft.com/office/drawing/2014/main" id="{3BEAF0CF-888B-4A1C-B5E3-87994D9F099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87920" y="5097137"/>
            <a:ext cx="218911" cy="197141"/>
          </a:xfrm>
          <a:custGeom>
            <a:avLst/>
            <a:gdLst>
              <a:gd name="T0" fmla="*/ 757 w 1043"/>
              <a:gd name="T1" fmla="*/ 313 h 939"/>
              <a:gd name="T2" fmla="*/ 313 w 1043"/>
              <a:gd name="T3" fmla="*/ 321 h 939"/>
              <a:gd name="T4" fmla="*/ 321 w 1043"/>
              <a:gd name="T5" fmla="*/ 348 h 939"/>
              <a:gd name="T6" fmla="*/ 765 w 1043"/>
              <a:gd name="T7" fmla="*/ 340 h 939"/>
              <a:gd name="T8" fmla="*/ 765 w 1043"/>
              <a:gd name="T9" fmla="*/ 251 h 939"/>
              <a:gd name="T10" fmla="*/ 321 w 1043"/>
              <a:gd name="T11" fmla="*/ 243 h 939"/>
              <a:gd name="T12" fmla="*/ 313 w 1043"/>
              <a:gd name="T13" fmla="*/ 270 h 939"/>
              <a:gd name="T14" fmla="*/ 757 w 1043"/>
              <a:gd name="T15" fmla="*/ 278 h 939"/>
              <a:gd name="T16" fmla="*/ 765 w 1043"/>
              <a:gd name="T17" fmla="*/ 251 h 939"/>
              <a:gd name="T18" fmla="*/ 757 w 1043"/>
              <a:gd name="T19" fmla="*/ 382 h 939"/>
              <a:gd name="T20" fmla="*/ 313 w 1043"/>
              <a:gd name="T21" fmla="*/ 390 h 939"/>
              <a:gd name="T22" fmla="*/ 321 w 1043"/>
              <a:gd name="T23" fmla="*/ 417 h 939"/>
              <a:gd name="T24" fmla="*/ 765 w 1043"/>
              <a:gd name="T25" fmla="*/ 409 h 939"/>
              <a:gd name="T26" fmla="*/ 765 w 1043"/>
              <a:gd name="T27" fmla="*/ 182 h 939"/>
              <a:gd name="T28" fmla="*/ 321 w 1043"/>
              <a:gd name="T29" fmla="*/ 174 h 939"/>
              <a:gd name="T30" fmla="*/ 313 w 1043"/>
              <a:gd name="T31" fmla="*/ 201 h 939"/>
              <a:gd name="T32" fmla="*/ 757 w 1043"/>
              <a:gd name="T33" fmla="*/ 209 h 939"/>
              <a:gd name="T34" fmla="*/ 765 w 1043"/>
              <a:gd name="T35" fmla="*/ 182 h 939"/>
              <a:gd name="T36" fmla="*/ 1027 w 1043"/>
              <a:gd name="T37" fmla="*/ 730 h 939"/>
              <a:gd name="T38" fmla="*/ 491 w 1043"/>
              <a:gd name="T39" fmla="*/ 735 h 939"/>
              <a:gd name="T40" fmla="*/ 487 w 1043"/>
              <a:gd name="T41" fmla="*/ 747 h 939"/>
              <a:gd name="T42" fmla="*/ 358 w 1043"/>
              <a:gd name="T43" fmla="*/ 869 h 939"/>
              <a:gd name="T44" fmla="*/ 243 w 1043"/>
              <a:gd name="T45" fmla="*/ 757 h 939"/>
              <a:gd name="T46" fmla="*/ 243 w 1043"/>
              <a:gd name="T47" fmla="*/ 139 h 939"/>
              <a:gd name="T48" fmla="*/ 742 w 1043"/>
              <a:gd name="T49" fmla="*/ 69 h 939"/>
              <a:gd name="T50" fmla="*/ 834 w 1043"/>
              <a:gd name="T51" fmla="*/ 695 h 939"/>
              <a:gd name="T52" fmla="*/ 904 w 1043"/>
              <a:gd name="T53" fmla="*/ 161 h 939"/>
              <a:gd name="T54" fmla="*/ 685 w 1043"/>
              <a:gd name="T55" fmla="*/ 0 h 939"/>
              <a:gd name="T56" fmla="*/ 0 w 1043"/>
              <a:gd name="T57" fmla="*/ 174 h 939"/>
              <a:gd name="T58" fmla="*/ 16 w 1043"/>
              <a:gd name="T59" fmla="*/ 209 h 939"/>
              <a:gd name="T60" fmla="*/ 174 w 1043"/>
              <a:gd name="T61" fmla="*/ 757 h 939"/>
              <a:gd name="T62" fmla="*/ 820 w 1043"/>
              <a:gd name="T63" fmla="*/ 939 h 939"/>
              <a:gd name="T64" fmla="*/ 1043 w 1043"/>
              <a:gd name="T65" fmla="*/ 765 h 939"/>
              <a:gd name="T66" fmla="*/ 765 w 1043"/>
              <a:gd name="T67" fmla="*/ 529 h 939"/>
              <a:gd name="T68" fmla="*/ 321 w 1043"/>
              <a:gd name="T69" fmla="*/ 522 h 939"/>
              <a:gd name="T70" fmla="*/ 313 w 1043"/>
              <a:gd name="T71" fmla="*/ 548 h 939"/>
              <a:gd name="T72" fmla="*/ 757 w 1043"/>
              <a:gd name="T73" fmla="*/ 556 h 939"/>
              <a:gd name="T74" fmla="*/ 765 w 1043"/>
              <a:gd name="T75" fmla="*/ 529 h 939"/>
              <a:gd name="T76" fmla="*/ 757 w 1043"/>
              <a:gd name="T77" fmla="*/ 452 h 939"/>
              <a:gd name="T78" fmla="*/ 313 w 1043"/>
              <a:gd name="T79" fmla="*/ 460 h 939"/>
              <a:gd name="T80" fmla="*/ 321 w 1043"/>
              <a:gd name="T81" fmla="*/ 487 h 939"/>
              <a:gd name="T82" fmla="*/ 765 w 1043"/>
              <a:gd name="T83" fmla="*/ 479 h 939"/>
              <a:gd name="T84" fmla="*/ 765 w 1043"/>
              <a:gd name="T85" fmla="*/ 599 h 939"/>
              <a:gd name="T86" fmla="*/ 757 w 1043"/>
              <a:gd name="T87" fmla="*/ 626 h 939"/>
              <a:gd name="T88" fmla="*/ 313 w 1043"/>
              <a:gd name="T89" fmla="*/ 618 h 939"/>
              <a:gd name="T90" fmla="*/ 321 w 1043"/>
              <a:gd name="T91" fmla="*/ 591 h 939"/>
              <a:gd name="T92" fmla="*/ 765 w 1043"/>
              <a:gd name="T93" fmla="*/ 59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43" h="939">
                <a:moveTo>
                  <a:pt x="765" y="321"/>
                </a:moveTo>
                <a:cubicBezTo>
                  <a:pt x="765" y="316"/>
                  <a:pt x="761" y="313"/>
                  <a:pt x="757" y="313"/>
                </a:cubicBezTo>
                <a:cubicBezTo>
                  <a:pt x="321" y="313"/>
                  <a:pt x="321" y="313"/>
                  <a:pt x="321" y="313"/>
                </a:cubicBezTo>
                <a:cubicBezTo>
                  <a:pt x="316" y="313"/>
                  <a:pt x="313" y="316"/>
                  <a:pt x="313" y="321"/>
                </a:cubicBezTo>
                <a:cubicBezTo>
                  <a:pt x="313" y="340"/>
                  <a:pt x="313" y="340"/>
                  <a:pt x="313" y="340"/>
                </a:cubicBezTo>
                <a:cubicBezTo>
                  <a:pt x="313" y="344"/>
                  <a:pt x="316" y="348"/>
                  <a:pt x="321" y="348"/>
                </a:cubicBezTo>
                <a:cubicBezTo>
                  <a:pt x="757" y="348"/>
                  <a:pt x="757" y="348"/>
                  <a:pt x="757" y="348"/>
                </a:cubicBezTo>
                <a:cubicBezTo>
                  <a:pt x="761" y="348"/>
                  <a:pt x="765" y="344"/>
                  <a:pt x="765" y="340"/>
                </a:cubicBezTo>
                <a:lnTo>
                  <a:pt x="765" y="321"/>
                </a:lnTo>
                <a:close/>
                <a:moveTo>
                  <a:pt x="765" y="251"/>
                </a:moveTo>
                <a:cubicBezTo>
                  <a:pt x="765" y="247"/>
                  <a:pt x="761" y="243"/>
                  <a:pt x="757" y="243"/>
                </a:cubicBezTo>
                <a:cubicBezTo>
                  <a:pt x="321" y="243"/>
                  <a:pt x="321" y="243"/>
                  <a:pt x="321" y="243"/>
                </a:cubicBezTo>
                <a:cubicBezTo>
                  <a:pt x="316" y="243"/>
                  <a:pt x="313" y="247"/>
                  <a:pt x="313" y="251"/>
                </a:cubicBezTo>
                <a:cubicBezTo>
                  <a:pt x="313" y="270"/>
                  <a:pt x="313" y="270"/>
                  <a:pt x="313" y="270"/>
                </a:cubicBezTo>
                <a:cubicBezTo>
                  <a:pt x="313" y="275"/>
                  <a:pt x="316" y="278"/>
                  <a:pt x="321" y="278"/>
                </a:cubicBezTo>
                <a:cubicBezTo>
                  <a:pt x="757" y="278"/>
                  <a:pt x="757" y="278"/>
                  <a:pt x="757" y="278"/>
                </a:cubicBezTo>
                <a:cubicBezTo>
                  <a:pt x="761" y="278"/>
                  <a:pt x="765" y="275"/>
                  <a:pt x="765" y="270"/>
                </a:cubicBezTo>
                <a:lnTo>
                  <a:pt x="765" y="251"/>
                </a:lnTo>
                <a:close/>
                <a:moveTo>
                  <a:pt x="765" y="390"/>
                </a:moveTo>
                <a:cubicBezTo>
                  <a:pt x="765" y="386"/>
                  <a:pt x="761" y="382"/>
                  <a:pt x="757" y="382"/>
                </a:cubicBezTo>
                <a:cubicBezTo>
                  <a:pt x="321" y="382"/>
                  <a:pt x="321" y="382"/>
                  <a:pt x="321" y="382"/>
                </a:cubicBezTo>
                <a:cubicBezTo>
                  <a:pt x="316" y="382"/>
                  <a:pt x="313" y="386"/>
                  <a:pt x="313" y="390"/>
                </a:cubicBezTo>
                <a:cubicBezTo>
                  <a:pt x="313" y="409"/>
                  <a:pt x="313" y="409"/>
                  <a:pt x="313" y="409"/>
                </a:cubicBezTo>
                <a:cubicBezTo>
                  <a:pt x="313" y="414"/>
                  <a:pt x="316" y="417"/>
                  <a:pt x="321" y="417"/>
                </a:cubicBezTo>
                <a:cubicBezTo>
                  <a:pt x="757" y="417"/>
                  <a:pt x="757" y="417"/>
                  <a:pt x="757" y="417"/>
                </a:cubicBezTo>
                <a:cubicBezTo>
                  <a:pt x="761" y="417"/>
                  <a:pt x="765" y="414"/>
                  <a:pt x="765" y="409"/>
                </a:cubicBezTo>
                <a:lnTo>
                  <a:pt x="765" y="390"/>
                </a:lnTo>
                <a:close/>
                <a:moveTo>
                  <a:pt x="765" y="182"/>
                </a:moveTo>
                <a:cubicBezTo>
                  <a:pt x="765" y="177"/>
                  <a:pt x="761" y="174"/>
                  <a:pt x="757" y="174"/>
                </a:cubicBezTo>
                <a:cubicBezTo>
                  <a:pt x="321" y="174"/>
                  <a:pt x="321" y="174"/>
                  <a:pt x="321" y="174"/>
                </a:cubicBezTo>
                <a:cubicBezTo>
                  <a:pt x="316" y="174"/>
                  <a:pt x="313" y="177"/>
                  <a:pt x="313" y="182"/>
                </a:cubicBezTo>
                <a:cubicBezTo>
                  <a:pt x="313" y="201"/>
                  <a:pt x="313" y="201"/>
                  <a:pt x="313" y="201"/>
                </a:cubicBezTo>
                <a:cubicBezTo>
                  <a:pt x="313" y="205"/>
                  <a:pt x="316" y="209"/>
                  <a:pt x="321" y="209"/>
                </a:cubicBezTo>
                <a:cubicBezTo>
                  <a:pt x="757" y="209"/>
                  <a:pt x="757" y="209"/>
                  <a:pt x="757" y="209"/>
                </a:cubicBezTo>
                <a:cubicBezTo>
                  <a:pt x="761" y="209"/>
                  <a:pt x="765" y="205"/>
                  <a:pt x="765" y="201"/>
                </a:cubicBezTo>
                <a:lnTo>
                  <a:pt x="765" y="182"/>
                </a:lnTo>
                <a:close/>
                <a:moveTo>
                  <a:pt x="1041" y="743"/>
                </a:moveTo>
                <a:cubicBezTo>
                  <a:pt x="1041" y="736"/>
                  <a:pt x="1034" y="730"/>
                  <a:pt x="1027" y="730"/>
                </a:cubicBezTo>
                <a:cubicBezTo>
                  <a:pt x="501" y="730"/>
                  <a:pt x="501" y="730"/>
                  <a:pt x="501" y="730"/>
                </a:cubicBezTo>
                <a:cubicBezTo>
                  <a:pt x="497" y="730"/>
                  <a:pt x="494" y="732"/>
                  <a:pt x="491" y="735"/>
                </a:cubicBezTo>
                <a:cubicBezTo>
                  <a:pt x="488" y="737"/>
                  <a:pt x="486" y="741"/>
                  <a:pt x="487" y="745"/>
                </a:cubicBezTo>
                <a:cubicBezTo>
                  <a:pt x="487" y="746"/>
                  <a:pt x="487" y="747"/>
                  <a:pt x="487" y="747"/>
                </a:cubicBezTo>
                <a:cubicBezTo>
                  <a:pt x="487" y="815"/>
                  <a:pt x="432" y="869"/>
                  <a:pt x="365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295" y="869"/>
                  <a:pt x="243" y="819"/>
                  <a:pt x="243" y="757"/>
                </a:cubicBezTo>
                <a:cubicBezTo>
                  <a:pt x="243" y="757"/>
                  <a:pt x="243" y="243"/>
                  <a:pt x="243" y="174"/>
                </a:cubicBezTo>
                <a:cubicBezTo>
                  <a:pt x="243" y="139"/>
                  <a:pt x="243" y="139"/>
                  <a:pt x="243" y="139"/>
                </a:cubicBezTo>
                <a:cubicBezTo>
                  <a:pt x="243" y="100"/>
                  <a:pt x="212" y="69"/>
                  <a:pt x="174" y="69"/>
                </a:cubicBezTo>
                <a:cubicBezTo>
                  <a:pt x="742" y="69"/>
                  <a:pt x="742" y="69"/>
                  <a:pt x="742" y="69"/>
                </a:cubicBezTo>
                <a:cubicBezTo>
                  <a:pt x="793" y="69"/>
                  <a:pt x="834" y="111"/>
                  <a:pt x="834" y="161"/>
                </a:cubicBezTo>
                <a:cubicBezTo>
                  <a:pt x="834" y="695"/>
                  <a:pt x="834" y="695"/>
                  <a:pt x="834" y="695"/>
                </a:cubicBezTo>
                <a:cubicBezTo>
                  <a:pt x="904" y="695"/>
                  <a:pt x="904" y="695"/>
                  <a:pt x="904" y="695"/>
                </a:cubicBezTo>
                <a:cubicBezTo>
                  <a:pt x="904" y="573"/>
                  <a:pt x="904" y="326"/>
                  <a:pt x="904" y="161"/>
                </a:cubicBezTo>
                <a:cubicBezTo>
                  <a:pt x="904" y="72"/>
                  <a:pt x="832" y="0"/>
                  <a:pt x="742" y="0"/>
                </a:cubicBezTo>
                <a:cubicBezTo>
                  <a:pt x="685" y="0"/>
                  <a:pt x="685" y="0"/>
                  <a:pt x="685" y="0"/>
                </a:cubicBezTo>
                <a:cubicBezTo>
                  <a:pt x="174" y="0"/>
                  <a:pt x="174" y="0"/>
                  <a:pt x="174" y="0"/>
                </a:cubicBezTo>
                <a:cubicBezTo>
                  <a:pt x="78" y="0"/>
                  <a:pt x="0" y="78"/>
                  <a:pt x="0" y="174"/>
                </a:cubicBezTo>
                <a:cubicBezTo>
                  <a:pt x="0" y="181"/>
                  <a:pt x="0" y="188"/>
                  <a:pt x="1" y="196"/>
                </a:cubicBezTo>
                <a:cubicBezTo>
                  <a:pt x="2" y="203"/>
                  <a:pt x="8" y="209"/>
                  <a:pt x="16" y="209"/>
                </a:cubicBezTo>
                <a:cubicBezTo>
                  <a:pt x="174" y="209"/>
                  <a:pt x="174" y="209"/>
                  <a:pt x="174" y="209"/>
                </a:cubicBezTo>
                <a:cubicBezTo>
                  <a:pt x="174" y="410"/>
                  <a:pt x="174" y="694"/>
                  <a:pt x="174" y="757"/>
                </a:cubicBezTo>
                <a:cubicBezTo>
                  <a:pt x="174" y="857"/>
                  <a:pt x="256" y="939"/>
                  <a:pt x="358" y="939"/>
                </a:cubicBezTo>
                <a:cubicBezTo>
                  <a:pt x="820" y="939"/>
                  <a:pt x="820" y="939"/>
                  <a:pt x="820" y="939"/>
                </a:cubicBezTo>
                <a:cubicBezTo>
                  <a:pt x="869" y="939"/>
                  <a:pt x="869" y="939"/>
                  <a:pt x="869" y="939"/>
                </a:cubicBezTo>
                <a:cubicBezTo>
                  <a:pt x="965" y="939"/>
                  <a:pt x="1043" y="861"/>
                  <a:pt x="1043" y="765"/>
                </a:cubicBezTo>
                <a:cubicBezTo>
                  <a:pt x="1043" y="757"/>
                  <a:pt x="1042" y="750"/>
                  <a:pt x="1041" y="743"/>
                </a:cubicBezTo>
                <a:close/>
                <a:moveTo>
                  <a:pt x="765" y="529"/>
                </a:moveTo>
                <a:cubicBezTo>
                  <a:pt x="765" y="525"/>
                  <a:pt x="761" y="522"/>
                  <a:pt x="757" y="522"/>
                </a:cubicBezTo>
                <a:cubicBezTo>
                  <a:pt x="321" y="522"/>
                  <a:pt x="321" y="522"/>
                  <a:pt x="321" y="522"/>
                </a:cubicBezTo>
                <a:cubicBezTo>
                  <a:pt x="316" y="522"/>
                  <a:pt x="313" y="525"/>
                  <a:pt x="313" y="529"/>
                </a:cubicBezTo>
                <a:cubicBezTo>
                  <a:pt x="313" y="548"/>
                  <a:pt x="313" y="548"/>
                  <a:pt x="313" y="548"/>
                </a:cubicBezTo>
                <a:cubicBezTo>
                  <a:pt x="313" y="553"/>
                  <a:pt x="316" y="556"/>
                  <a:pt x="321" y="556"/>
                </a:cubicBezTo>
                <a:cubicBezTo>
                  <a:pt x="757" y="556"/>
                  <a:pt x="757" y="556"/>
                  <a:pt x="757" y="556"/>
                </a:cubicBezTo>
                <a:cubicBezTo>
                  <a:pt x="761" y="556"/>
                  <a:pt x="765" y="553"/>
                  <a:pt x="765" y="548"/>
                </a:cubicBezTo>
                <a:lnTo>
                  <a:pt x="765" y="529"/>
                </a:lnTo>
                <a:close/>
                <a:moveTo>
                  <a:pt x="765" y="460"/>
                </a:moveTo>
                <a:cubicBezTo>
                  <a:pt x="765" y="456"/>
                  <a:pt x="761" y="452"/>
                  <a:pt x="757" y="452"/>
                </a:cubicBezTo>
                <a:cubicBezTo>
                  <a:pt x="321" y="452"/>
                  <a:pt x="321" y="452"/>
                  <a:pt x="321" y="452"/>
                </a:cubicBezTo>
                <a:cubicBezTo>
                  <a:pt x="316" y="452"/>
                  <a:pt x="313" y="456"/>
                  <a:pt x="313" y="460"/>
                </a:cubicBezTo>
                <a:cubicBezTo>
                  <a:pt x="313" y="479"/>
                  <a:pt x="313" y="479"/>
                  <a:pt x="313" y="479"/>
                </a:cubicBezTo>
                <a:cubicBezTo>
                  <a:pt x="313" y="483"/>
                  <a:pt x="316" y="487"/>
                  <a:pt x="321" y="487"/>
                </a:cubicBezTo>
                <a:cubicBezTo>
                  <a:pt x="757" y="487"/>
                  <a:pt x="757" y="487"/>
                  <a:pt x="757" y="487"/>
                </a:cubicBezTo>
                <a:cubicBezTo>
                  <a:pt x="761" y="487"/>
                  <a:pt x="765" y="483"/>
                  <a:pt x="765" y="479"/>
                </a:cubicBezTo>
                <a:lnTo>
                  <a:pt x="765" y="460"/>
                </a:lnTo>
                <a:close/>
                <a:moveTo>
                  <a:pt x="765" y="599"/>
                </a:moveTo>
                <a:cubicBezTo>
                  <a:pt x="765" y="618"/>
                  <a:pt x="765" y="618"/>
                  <a:pt x="765" y="618"/>
                </a:cubicBezTo>
                <a:cubicBezTo>
                  <a:pt x="765" y="622"/>
                  <a:pt x="761" y="626"/>
                  <a:pt x="757" y="626"/>
                </a:cubicBezTo>
                <a:cubicBezTo>
                  <a:pt x="321" y="626"/>
                  <a:pt x="321" y="626"/>
                  <a:pt x="321" y="626"/>
                </a:cubicBezTo>
                <a:cubicBezTo>
                  <a:pt x="316" y="626"/>
                  <a:pt x="313" y="622"/>
                  <a:pt x="313" y="618"/>
                </a:cubicBezTo>
                <a:cubicBezTo>
                  <a:pt x="313" y="599"/>
                  <a:pt x="313" y="599"/>
                  <a:pt x="313" y="599"/>
                </a:cubicBezTo>
                <a:cubicBezTo>
                  <a:pt x="313" y="595"/>
                  <a:pt x="316" y="591"/>
                  <a:pt x="321" y="591"/>
                </a:cubicBezTo>
                <a:cubicBezTo>
                  <a:pt x="757" y="591"/>
                  <a:pt x="757" y="591"/>
                  <a:pt x="757" y="591"/>
                </a:cubicBezTo>
                <a:cubicBezTo>
                  <a:pt x="761" y="591"/>
                  <a:pt x="765" y="595"/>
                  <a:pt x="765" y="5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5AFCD516-351A-4097-B1BA-A172B5E93E3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200260" y="2340801"/>
            <a:ext cx="182832" cy="231961"/>
            <a:chOff x="849313" y="-539751"/>
            <a:chExt cx="8375650" cy="10623551"/>
          </a:xfrm>
          <a:solidFill>
            <a:schemeClr val="bg1">
              <a:alpha val="70000"/>
            </a:schemeClr>
          </a:solidFill>
        </p:grpSpPr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C8878A49-A261-454F-AFDB-B76D39AA6D6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3" y="2670175"/>
              <a:ext cx="8375650" cy="7413625"/>
            </a:xfrm>
            <a:custGeom>
              <a:avLst/>
              <a:gdLst>
                <a:gd name="T0" fmla="*/ 116 w 741"/>
                <a:gd name="T1" fmla="*/ 656 h 656"/>
                <a:gd name="T2" fmla="*/ 165 w 741"/>
                <a:gd name="T3" fmla="*/ 561 h 656"/>
                <a:gd name="T4" fmla="*/ 92 w 741"/>
                <a:gd name="T5" fmla="*/ 506 h 656"/>
                <a:gd name="T6" fmla="*/ 0 w 741"/>
                <a:gd name="T7" fmla="*/ 284 h 656"/>
                <a:gd name="T8" fmla="*/ 181 w 741"/>
                <a:gd name="T9" fmla="*/ 0 h 656"/>
                <a:gd name="T10" fmla="*/ 210 w 741"/>
                <a:gd name="T11" fmla="*/ 118 h 656"/>
                <a:gd name="T12" fmla="*/ 118 w 741"/>
                <a:gd name="T13" fmla="*/ 275 h 656"/>
                <a:gd name="T14" fmla="*/ 347 w 741"/>
                <a:gd name="T15" fmla="*/ 437 h 656"/>
                <a:gd name="T16" fmla="*/ 663 w 741"/>
                <a:gd name="T17" fmla="*/ 353 h 656"/>
                <a:gd name="T18" fmla="*/ 699 w 741"/>
                <a:gd name="T19" fmla="*/ 374 h 656"/>
                <a:gd name="T20" fmla="*/ 678 w 741"/>
                <a:gd name="T21" fmla="*/ 410 h 656"/>
                <a:gd name="T22" fmla="*/ 373 w 741"/>
                <a:gd name="T23" fmla="*/ 491 h 656"/>
                <a:gd name="T24" fmla="*/ 386 w 741"/>
                <a:gd name="T25" fmla="*/ 539 h 656"/>
                <a:gd name="T26" fmla="*/ 623 w 741"/>
                <a:gd name="T27" fmla="*/ 539 h 656"/>
                <a:gd name="T28" fmla="*/ 741 w 741"/>
                <a:gd name="T29" fmla="*/ 656 h 656"/>
                <a:gd name="T30" fmla="*/ 116 w 741"/>
                <a:gd name="T31" fmla="*/ 656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1" h="656">
                  <a:moveTo>
                    <a:pt x="116" y="656"/>
                  </a:moveTo>
                  <a:cubicBezTo>
                    <a:pt x="116" y="617"/>
                    <a:pt x="136" y="582"/>
                    <a:pt x="165" y="561"/>
                  </a:cubicBezTo>
                  <a:cubicBezTo>
                    <a:pt x="138" y="546"/>
                    <a:pt x="113" y="528"/>
                    <a:pt x="92" y="506"/>
                  </a:cubicBezTo>
                  <a:cubicBezTo>
                    <a:pt x="35" y="449"/>
                    <a:pt x="0" y="371"/>
                    <a:pt x="0" y="284"/>
                  </a:cubicBezTo>
                  <a:cubicBezTo>
                    <a:pt x="0" y="162"/>
                    <a:pt x="71" y="52"/>
                    <a:pt x="181" y="0"/>
                  </a:cubicBezTo>
                  <a:cubicBezTo>
                    <a:pt x="171" y="41"/>
                    <a:pt x="182" y="86"/>
                    <a:pt x="210" y="118"/>
                  </a:cubicBezTo>
                  <a:cubicBezTo>
                    <a:pt x="156" y="151"/>
                    <a:pt x="120" y="210"/>
                    <a:pt x="118" y="275"/>
                  </a:cubicBezTo>
                  <a:cubicBezTo>
                    <a:pt x="114" y="385"/>
                    <a:pt x="226" y="466"/>
                    <a:pt x="347" y="437"/>
                  </a:cubicBezTo>
                  <a:cubicBezTo>
                    <a:pt x="663" y="353"/>
                    <a:pt x="663" y="353"/>
                    <a:pt x="663" y="353"/>
                  </a:cubicBezTo>
                  <a:cubicBezTo>
                    <a:pt x="678" y="349"/>
                    <a:pt x="694" y="358"/>
                    <a:pt x="699" y="374"/>
                  </a:cubicBezTo>
                  <a:cubicBezTo>
                    <a:pt x="703" y="389"/>
                    <a:pt x="693" y="406"/>
                    <a:pt x="678" y="410"/>
                  </a:cubicBezTo>
                  <a:cubicBezTo>
                    <a:pt x="373" y="491"/>
                    <a:pt x="373" y="491"/>
                    <a:pt x="373" y="491"/>
                  </a:cubicBezTo>
                  <a:cubicBezTo>
                    <a:pt x="386" y="539"/>
                    <a:pt x="386" y="539"/>
                    <a:pt x="386" y="539"/>
                  </a:cubicBezTo>
                  <a:cubicBezTo>
                    <a:pt x="623" y="539"/>
                    <a:pt x="623" y="539"/>
                    <a:pt x="623" y="539"/>
                  </a:cubicBezTo>
                  <a:cubicBezTo>
                    <a:pt x="688" y="539"/>
                    <a:pt x="741" y="591"/>
                    <a:pt x="741" y="656"/>
                  </a:cubicBezTo>
                  <a:lnTo>
                    <a:pt x="116" y="6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393A0745-5BCB-4755-BD00-F21A2AACDF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1" y="5043487"/>
              <a:ext cx="2587625" cy="1231900"/>
            </a:xfrm>
            <a:custGeom>
              <a:avLst/>
              <a:gdLst>
                <a:gd name="T0" fmla="*/ 40 w 229"/>
                <a:gd name="T1" fmla="*/ 104 h 109"/>
                <a:gd name="T2" fmla="*/ 4 w 229"/>
                <a:gd name="T3" fmla="*/ 84 h 109"/>
                <a:gd name="T4" fmla="*/ 25 w 229"/>
                <a:gd name="T5" fmla="*/ 48 h 109"/>
                <a:gd name="T6" fmla="*/ 188 w 229"/>
                <a:gd name="T7" fmla="*/ 4 h 109"/>
                <a:gd name="T8" fmla="*/ 224 w 229"/>
                <a:gd name="T9" fmla="*/ 25 h 109"/>
                <a:gd name="T10" fmla="*/ 204 w 229"/>
                <a:gd name="T11" fmla="*/ 61 h 109"/>
                <a:gd name="T12" fmla="*/ 40 w 229"/>
                <a:gd name="T13" fmla="*/ 10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109">
                  <a:moveTo>
                    <a:pt x="40" y="104"/>
                  </a:moveTo>
                  <a:cubicBezTo>
                    <a:pt x="25" y="109"/>
                    <a:pt x="9" y="99"/>
                    <a:pt x="4" y="84"/>
                  </a:cubicBezTo>
                  <a:cubicBezTo>
                    <a:pt x="0" y="68"/>
                    <a:pt x="10" y="52"/>
                    <a:pt x="25" y="48"/>
                  </a:cubicBezTo>
                  <a:cubicBezTo>
                    <a:pt x="188" y="4"/>
                    <a:pt x="188" y="4"/>
                    <a:pt x="188" y="4"/>
                  </a:cubicBezTo>
                  <a:cubicBezTo>
                    <a:pt x="204" y="0"/>
                    <a:pt x="220" y="9"/>
                    <a:pt x="224" y="25"/>
                  </a:cubicBezTo>
                  <a:cubicBezTo>
                    <a:pt x="229" y="40"/>
                    <a:pt x="219" y="57"/>
                    <a:pt x="204" y="61"/>
                  </a:cubicBezTo>
                  <a:lnTo>
                    <a:pt x="4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BED7F239-84D8-424D-BA45-AE2EBD350C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4851" y="-539751"/>
              <a:ext cx="4092575" cy="5910263"/>
            </a:xfrm>
            <a:custGeom>
              <a:avLst/>
              <a:gdLst>
                <a:gd name="T0" fmla="*/ 105 w 362"/>
                <a:gd name="T1" fmla="*/ 348 h 523"/>
                <a:gd name="T2" fmla="*/ 69 w 362"/>
                <a:gd name="T3" fmla="*/ 327 h 523"/>
                <a:gd name="T4" fmla="*/ 90 w 362"/>
                <a:gd name="T5" fmla="*/ 291 h 523"/>
                <a:gd name="T6" fmla="*/ 126 w 362"/>
                <a:gd name="T7" fmla="*/ 312 h 523"/>
                <a:gd name="T8" fmla="*/ 105 w 362"/>
                <a:gd name="T9" fmla="*/ 348 h 523"/>
                <a:gd name="T10" fmla="*/ 358 w 362"/>
                <a:gd name="T11" fmla="*/ 441 h 523"/>
                <a:gd name="T12" fmla="*/ 271 w 362"/>
                <a:gd name="T13" fmla="*/ 115 h 523"/>
                <a:gd name="T14" fmla="*/ 233 w 362"/>
                <a:gd name="T15" fmla="*/ 93 h 523"/>
                <a:gd name="T16" fmla="*/ 206 w 362"/>
                <a:gd name="T17" fmla="*/ 101 h 523"/>
                <a:gd name="T18" fmla="*/ 182 w 362"/>
                <a:gd name="T19" fmla="*/ 12 h 523"/>
                <a:gd name="T20" fmla="*/ 164 w 362"/>
                <a:gd name="T21" fmla="*/ 2 h 523"/>
                <a:gd name="T22" fmla="*/ 93 w 362"/>
                <a:gd name="T23" fmla="*/ 21 h 523"/>
                <a:gd name="T24" fmla="*/ 83 w 362"/>
                <a:gd name="T25" fmla="*/ 39 h 523"/>
                <a:gd name="T26" fmla="*/ 107 w 362"/>
                <a:gd name="T27" fmla="*/ 127 h 523"/>
                <a:gd name="T28" fmla="*/ 80 w 362"/>
                <a:gd name="T29" fmla="*/ 135 h 523"/>
                <a:gd name="T30" fmla="*/ 58 w 362"/>
                <a:gd name="T31" fmla="*/ 172 h 523"/>
                <a:gd name="T32" fmla="*/ 75 w 362"/>
                <a:gd name="T33" fmla="*/ 235 h 523"/>
                <a:gd name="T34" fmla="*/ 12 w 362"/>
                <a:gd name="T35" fmla="*/ 342 h 523"/>
                <a:gd name="T36" fmla="*/ 120 w 362"/>
                <a:gd name="T37" fmla="*/ 405 h 523"/>
                <a:gd name="T38" fmla="*/ 120 w 362"/>
                <a:gd name="T39" fmla="*/ 405 h 523"/>
                <a:gd name="T40" fmla="*/ 145 w 362"/>
                <a:gd name="T41" fmla="*/ 498 h 523"/>
                <a:gd name="T42" fmla="*/ 181 w 362"/>
                <a:gd name="T43" fmla="*/ 518 h 523"/>
                <a:gd name="T44" fmla="*/ 337 w 362"/>
                <a:gd name="T45" fmla="*/ 477 h 523"/>
                <a:gd name="T46" fmla="*/ 358 w 362"/>
                <a:gd name="T47" fmla="*/ 441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2" h="523">
                  <a:moveTo>
                    <a:pt x="105" y="348"/>
                  </a:moveTo>
                  <a:cubicBezTo>
                    <a:pt x="89" y="352"/>
                    <a:pt x="73" y="343"/>
                    <a:pt x="69" y="327"/>
                  </a:cubicBezTo>
                  <a:cubicBezTo>
                    <a:pt x="65" y="311"/>
                    <a:pt x="74" y="295"/>
                    <a:pt x="90" y="291"/>
                  </a:cubicBezTo>
                  <a:cubicBezTo>
                    <a:pt x="106" y="287"/>
                    <a:pt x="122" y="296"/>
                    <a:pt x="126" y="312"/>
                  </a:cubicBezTo>
                  <a:cubicBezTo>
                    <a:pt x="130" y="328"/>
                    <a:pt x="121" y="344"/>
                    <a:pt x="105" y="348"/>
                  </a:cubicBezTo>
                  <a:close/>
                  <a:moveTo>
                    <a:pt x="358" y="441"/>
                  </a:moveTo>
                  <a:cubicBezTo>
                    <a:pt x="271" y="115"/>
                    <a:pt x="271" y="115"/>
                    <a:pt x="271" y="115"/>
                  </a:cubicBezTo>
                  <a:cubicBezTo>
                    <a:pt x="266" y="99"/>
                    <a:pt x="250" y="89"/>
                    <a:pt x="233" y="93"/>
                  </a:cubicBezTo>
                  <a:cubicBezTo>
                    <a:pt x="206" y="101"/>
                    <a:pt x="206" y="101"/>
                    <a:pt x="206" y="101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0" y="4"/>
                    <a:pt x="172" y="0"/>
                    <a:pt x="164" y="2"/>
                  </a:cubicBezTo>
                  <a:cubicBezTo>
                    <a:pt x="93" y="21"/>
                    <a:pt x="93" y="21"/>
                    <a:pt x="93" y="21"/>
                  </a:cubicBezTo>
                  <a:cubicBezTo>
                    <a:pt x="86" y="23"/>
                    <a:pt x="81" y="31"/>
                    <a:pt x="83" y="39"/>
                  </a:cubicBezTo>
                  <a:cubicBezTo>
                    <a:pt x="107" y="127"/>
                    <a:pt x="107" y="127"/>
                    <a:pt x="107" y="127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63" y="139"/>
                    <a:pt x="54" y="156"/>
                    <a:pt x="58" y="172"/>
                  </a:cubicBezTo>
                  <a:cubicBezTo>
                    <a:pt x="75" y="235"/>
                    <a:pt x="75" y="235"/>
                    <a:pt x="75" y="235"/>
                  </a:cubicBezTo>
                  <a:cubicBezTo>
                    <a:pt x="28" y="247"/>
                    <a:pt x="0" y="295"/>
                    <a:pt x="12" y="342"/>
                  </a:cubicBezTo>
                  <a:cubicBezTo>
                    <a:pt x="25" y="389"/>
                    <a:pt x="73" y="417"/>
                    <a:pt x="120" y="405"/>
                  </a:cubicBezTo>
                  <a:cubicBezTo>
                    <a:pt x="120" y="405"/>
                    <a:pt x="120" y="405"/>
                    <a:pt x="120" y="405"/>
                  </a:cubicBezTo>
                  <a:cubicBezTo>
                    <a:pt x="145" y="498"/>
                    <a:pt x="145" y="498"/>
                    <a:pt x="145" y="498"/>
                  </a:cubicBezTo>
                  <a:cubicBezTo>
                    <a:pt x="150" y="513"/>
                    <a:pt x="166" y="523"/>
                    <a:pt x="181" y="518"/>
                  </a:cubicBezTo>
                  <a:cubicBezTo>
                    <a:pt x="337" y="477"/>
                    <a:pt x="337" y="477"/>
                    <a:pt x="337" y="477"/>
                  </a:cubicBezTo>
                  <a:cubicBezTo>
                    <a:pt x="353" y="472"/>
                    <a:pt x="362" y="456"/>
                    <a:pt x="358" y="4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51" name="Freeform 47">
            <a:extLst>
              <a:ext uri="{FF2B5EF4-FFF2-40B4-BE49-F238E27FC236}">
                <a16:creationId xmlns:a16="http://schemas.microsoft.com/office/drawing/2014/main" id="{D823260E-0E3A-4261-A46D-E2190AEDC93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74781" y="3268800"/>
            <a:ext cx="201116" cy="201139"/>
          </a:xfrm>
          <a:custGeom>
            <a:avLst/>
            <a:gdLst>
              <a:gd name="T0" fmla="*/ 951 w 981"/>
              <a:gd name="T1" fmla="*/ 842 h 981"/>
              <a:gd name="T2" fmla="*/ 711 w 981"/>
              <a:gd name="T3" fmla="*/ 603 h 981"/>
              <a:gd name="T4" fmla="*/ 603 w 981"/>
              <a:gd name="T5" fmla="*/ 107 h 981"/>
              <a:gd name="T6" fmla="*/ 107 w 981"/>
              <a:gd name="T7" fmla="*/ 216 h 981"/>
              <a:gd name="T8" fmla="*/ 216 w 981"/>
              <a:gd name="T9" fmla="*/ 712 h 981"/>
              <a:gd name="T10" fmla="*/ 603 w 981"/>
              <a:gd name="T11" fmla="*/ 712 h 981"/>
              <a:gd name="T12" fmla="*/ 842 w 981"/>
              <a:gd name="T13" fmla="*/ 951 h 981"/>
              <a:gd name="T14" fmla="*/ 951 w 981"/>
              <a:gd name="T15" fmla="*/ 951 h 981"/>
              <a:gd name="T16" fmla="*/ 951 w 981"/>
              <a:gd name="T17" fmla="*/ 843 h 981"/>
              <a:gd name="T18" fmla="*/ 951 w 981"/>
              <a:gd name="T19" fmla="*/ 842 h 981"/>
              <a:gd name="T20" fmla="*/ 153 w 981"/>
              <a:gd name="T21" fmla="*/ 410 h 981"/>
              <a:gd name="T22" fmla="*/ 410 w 981"/>
              <a:gd name="T23" fmla="*/ 153 h 981"/>
              <a:gd name="T24" fmla="*/ 666 w 981"/>
              <a:gd name="T25" fmla="*/ 410 h 981"/>
              <a:gd name="T26" fmla="*/ 410 w 981"/>
              <a:gd name="T27" fmla="*/ 666 h 981"/>
              <a:gd name="T28" fmla="*/ 153 w 981"/>
              <a:gd name="T29" fmla="*/ 410 h 9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81" h="981">
                <a:moveTo>
                  <a:pt x="951" y="842"/>
                </a:moveTo>
                <a:cubicBezTo>
                  <a:pt x="711" y="603"/>
                  <a:pt x="711" y="603"/>
                  <a:pt x="711" y="603"/>
                </a:cubicBezTo>
                <a:cubicBezTo>
                  <a:pt x="818" y="436"/>
                  <a:pt x="770" y="214"/>
                  <a:pt x="603" y="107"/>
                </a:cubicBezTo>
                <a:cubicBezTo>
                  <a:pt x="436" y="0"/>
                  <a:pt x="214" y="49"/>
                  <a:pt x="107" y="216"/>
                </a:cubicBezTo>
                <a:cubicBezTo>
                  <a:pt x="0" y="383"/>
                  <a:pt x="49" y="605"/>
                  <a:pt x="216" y="712"/>
                </a:cubicBezTo>
                <a:cubicBezTo>
                  <a:pt x="334" y="787"/>
                  <a:pt x="485" y="787"/>
                  <a:pt x="603" y="712"/>
                </a:cubicBezTo>
                <a:cubicBezTo>
                  <a:pt x="842" y="951"/>
                  <a:pt x="842" y="951"/>
                  <a:pt x="842" y="951"/>
                </a:cubicBezTo>
                <a:cubicBezTo>
                  <a:pt x="872" y="981"/>
                  <a:pt x="921" y="981"/>
                  <a:pt x="951" y="951"/>
                </a:cubicBezTo>
                <a:cubicBezTo>
                  <a:pt x="981" y="921"/>
                  <a:pt x="981" y="873"/>
                  <a:pt x="951" y="843"/>
                </a:cubicBezTo>
                <a:cubicBezTo>
                  <a:pt x="951" y="843"/>
                  <a:pt x="951" y="842"/>
                  <a:pt x="951" y="842"/>
                </a:cubicBezTo>
                <a:close/>
                <a:moveTo>
                  <a:pt x="153" y="410"/>
                </a:moveTo>
                <a:cubicBezTo>
                  <a:pt x="153" y="268"/>
                  <a:pt x="268" y="153"/>
                  <a:pt x="410" y="153"/>
                </a:cubicBezTo>
                <a:cubicBezTo>
                  <a:pt x="551" y="153"/>
                  <a:pt x="666" y="268"/>
                  <a:pt x="666" y="410"/>
                </a:cubicBezTo>
                <a:cubicBezTo>
                  <a:pt x="666" y="551"/>
                  <a:pt x="551" y="666"/>
                  <a:pt x="410" y="666"/>
                </a:cubicBezTo>
                <a:cubicBezTo>
                  <a:pt x="268" y="666"/>
                  <a:pt x="153" y="551"/>
                  <a:pt x="153" y="41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CA5F1225-4DBD-463F-9D53-A84BC0E308B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84359" y="2786642"/>
            <a:ext cx="219317" cy="283896"/>
            <a:chOff x="10758416" y="1419641"/>
            <a:chExt cx="3297184" cy="4266944"/>
          </a:xfrm>
          <a:solidFill>
            <a:schemeClr val="bg1">
              <a:alpha val="80000"/>
            </a:schemeClr>
          </a:solidFill>
        </p:grpSpPr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708FE1EE-81D1-4CFB-B321-93386E23639F}"/>
                </a:ext>
              </a:extLst>
            </p:cNvPr>
            <p:cNvSpPr/>
            <p:nvPr/>
          </p:nvSpPr>
          <p:spPr>
            <a:xfrm>
              <a:off x="10758416" y="1419641"/>
              <a:ext cx="3297184" cy="4266944"/>
            </a:xfrm>
            <a:custGeom>
              <a:avLst/>
              <a:gdLst>
                <a:gd name="connsiteX0" fmla="*/ 2763817 w 3297184"/>
                <a:gd name="connsiteY0" fmla="*/ 1939520 h 4266944"/>
                <a:gd name="connsiteX1" fmla="*/ 2424401 w 3297184"/>
                <a:gd name="connsiteY1" fmla="*/ 1600104 h 4266944"/>
                <a:gd name="connsiteX2" fmla="*/ 2763817 w 3297184"/>
                <a:gd name="connsiteY2" fmla="*/ 1260688 h 4266944"/>
                <a:gd name="connsiteX3" fmla="*/ 3103233 w 3297184"/>
                <a:gd name="connsiteY3" fmla="*/ 1600104 h 4266944"/>
                <a:gd name="connsiteX4" fmla="*/ 2763817 w 3297184"/>
                <a:gd name="connsiteY4" fmla="*/ 1939520 h 4266944"/>
                <a:gd name="connsiteX5" fmla="*/ 3297185 w 3297184"/>
                <a:gd name="connsiteY5" fmla="*/ 1600104 h 4266944"/>
                <a:gd name="connsiteX6" fmla="*/ 2763817 w 3297184"/>
                <a:gd name="connsiteY6" fmla="*/ 1066736 h 4266944"/>
                <a:gd name="connsiteX7" fmla="*/ 2230449 w 3297184"/>
                <a:gd name="connsiteY7" fmla="*/ 1600104 h 4266944"/>
                <a:gd name="connsiteX8" fmla="*/ 2618353 w 3297184"/>
                <a:gd name="connsiteY8" fmla="*/ 2114077 h 4266944"/>
                <a:gd name="connsiteX9" fmla="*/ 2618353 w 3297184"/>
                <a:gd name="connsiteY9" fmla="*/ 3248697 h 4266944"/>
                <a:gd name="connsiteX10" fmla="*/ 1891032 w 3297184"/>
                <a:gd name="connsiteY10" fmla="*/ 3976017 h 4266944"/>
                <a:gd name="connsiteX11" fmla="*/ 1163712 w 3297184"/>
                <a:gd name="connsiteY11" fmla="*/ 3248697 h 4266944"/>
                <a:gd name="connsiteX12" fmla="*/ 1163712 w 3297184"/>
                <a:gd name="connsiteY12" fmla="*/ 2754119 h 4266944"/>
                <a:gd name="connsiteX13" fmla="*/ 2036496 w 3297184"/>
                <a:gd name="connsiteY13" fmla="*/ 1745568 h 4266944"/>
                <a:gd name="connsiteX14" fmla="*/ 1939520 w 3297184"/>
                <a:gd name="connsiteY14" fmla="*/ 1580709 h 4266944"/>
                <a:gd name="connsiteX15" fmla="*/ 1939520 w 3297184"/>
                <a:gd name="connsiteY15" fmla="*/ 387904 h 4266944"/>
                <a:gd name="connsiteX16" fmla="*/ 1687383 w 3297184"/>
                <a:gd name="connsiteY16" fmla="*/ 101825 h 4266944"/>
                <a:gd name="connsiteX17" fmla="*/ 1551616 w 3297184"/>
                <a:gd name="connsiteY17" fmla="*/ 0 h 4266944"/>
                <a:gd name="connsiteX18" fmla="*/ 1503128 w 3297184"/>
                <a:gd name="connsiteY18" fmla="*/ 0 h 4266944"/>
                <a:gd name="connsiteX19" fmla="*/ 1309176 w 3297184"/>
                <a:gd name="connsiteY19" fmla="*/ 193952 h 4266944"/>
                <a:gd name="connsiteX20" fmla="*/ 1503128 w 3297184"/>
                <a:gd name="connsiteY20" fmla="*/ 387904 h 4266944"/>
                <a:gd name="connsiteX21" fmla="*/ 1551616 w 3297184"/>
                <a:gd name="connsiteY21" fmla="*/ 387904 h 4266944"/>
                <a:gd name="connsiteX22" fmla="*/ 1687383 w 3297184"/>
                <a:gd name="connsiteY22" fmla="*/ 300626 h 4266944"/>
                <a:gd name="connsiteX23" fmla="*/ 1745568 w 3297184"/>
                <a:gd name="connsiteY23" fmla="*/ 387904 h 4266944"/>
                <a:gd name="connsiteX24" fmla="*/ 1745568 w 3297184"/>
                <a:gd name="connsiteY24" fmla="*/ 1580709 h 4266944"/>
                <a:gd name="connsiteX25" fmla="*/ 1648592 w 3297184"/>
                <a:gd name="connsiteY25" fmla="*/ 1745568 h 4266944"/>
                <a:gd name="connsiteX26" fmla="*/ 1018248 w 3297184"/>
                <a:gd name="connsiteY26" fmla="*/ 2375913 h 4266944"/>
                <a:gd name="connsiteX27" fmla="*/ 387904 w 3297184"/>
                <a:gd name="connsiteY27" fmla="*/ 1745568 h 4266944"/>
                <a:gd name="connsiteX28" fmla="*/ 290928 w 3297184"/>
                <a:gd name="connsiteY28" fmla="*/ 1580709 h 4266944"/>
                <a:gd name="connsiteX29" fmla="*/ 290928 w 3297184"/>
                <a:gd name="connsiteY29" fmla="*/ 387904 h 4266944"/>
                <a:gd name="connsiteX30" fmla="*/ 349114 w 3297184"/>
                <a:gd name="connsiteY30" fmla="*/ 300626 h 4266944"/>
                <a:gd name="connsiteX31" fmla="*/ 484880 w 3297184"/>
                <a:gd name="connsiteY31" fmla="*/ 387904 h 4266944"/>
                <a:gd name="connsiteX32" fmla="*/ 533368 w 3297184"/>
                <a:gd name="connsiteY32" fmla="*/ 387904 h 4266944"/>
                <a:gd name="connsiteX33" fmla="*/ 727320 w 3297184"/>
                <a:gd name="connsiteY33" fmla="*/ 193952 h 4266944"/>
                <a:gd name="connsiteX34" fmla="*/ 533368 w 3297184"/>
                <a:gd name="connsiteY34" fmla="*/ 0 h 4266944"/>
                <a:gd name="connsiteX35" fmla="*/ 484880 w 3297184"/>
                <a:gd name="connsiteY35" fmla="*/ 0 h 4266944"/>
                <a:gd name="connsiteX36" fmla="*/ 349114 w 3297184"/>
                <a:gd name="connsiteY36" fmla="*/ 101825 h 4266944"/>
                <a:gd name="connsiteX37" fmla="*/ 96976 w 3297184"/>
                <a:gd name="connsiteY37" fmla="*/ 387904 h 4266944"/>
                <a:gd name="connsiteX38" fmla="*/ 96976 w 3297184"/>
                <a:gd name="connsiteY38" fmla="*/ 1580709 h 4266944"/>
                <a:gd name="connsiteX39" fmla="*/ 0 w 3297184"/>
                <a:gd name="connsiteY39" fmla="*/ 1745568 h 4266944"/>
                <a:gd name="connsiteX40" fmla="*/ 872784 w 3297184"/>
                <a:gd name="connsiteY40" fmla="*/ 2754119 h 4266944"/>
                <a:gd name="connsiteX41" fmla="*/ 872784 w 3297184"/>
                <a:gd name="connsiteY41" fmla="*/ 3248697 h 4266944"/>
                <a:gd name="connsiteX42" fmla="*/ 1891032 w 3297184"/>
                <a:gd name="connsiteY42" fmla="*/ 4266945 h 4266944"/>
                <a:gd name="connsiteX43" fmla="*/ 2909281 w 3297184"/>
                <a:gd name="connsiteY43" fmla="*/ 3248697 h 4266944"/>
                <a:gd name="connsiteX44" fmla="*/ 2909281 w 3297184"/>
                <a:gd name="connsiteY44" fmla="*/ 2114077 h 4266944"/>
                <a:gd name="connsiteX45" fmla="*/ 3297185 w 3297184"/>
                <a:gd name="connsiteY45" fmla="*/ 1600104 h 4266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3297184" h="4266944">
                  <a:moveTo>
                    <a:pt x="2763817" y="1939520"/>
                  </a:moveTo>
                  <a:cubicBezTo>
                    <a:pt x="2574713" y="1939520"/>
                    <a:pt x="2424401" y="1789208"/>
                    <a:pt x="2424401" y="1600104"/>
                  </a:cubicBezTo>
                  <a:cubicBezTo>
                    <a:pt x="2424401" y="1411001"/>
                    <a:pt x="2574713" y="1260688"/>
                    <a:pt x="2763817" y="1260688"/>
                  </a:cubicBezTo>
                  <a:cubicBezTo>
                    <a:pt x="2952920" y="1260688"/>
                    <a:pt x="3103233" y="1411001"/>
                    <a:pt x="3103233" y="1600104"/>
                  </a:cubicBezTo>
                  <a:cubicBezTo>
                    <a:pt x="3103233" y="1789208"/>
                    <a:pt x="2952920" y="1939520"/>
                    <a:pt x="2763817" y="1939520"/>
                  </a:cubicBezTo>
                  <a:close/>
                  <a:moveTo>
                    <a:pt x="3297185" y="1600104"/>
                  </a:moveTo>
                  <a:cubicBezTo>
                    <a:pt x="3297185" y="1304328"/>
                    <a:pt x="3059594" y="1066736"/>
                    <a:pt x="2763817" y="1066736"/>
                  </a:cubicBezTo>
                  <a:cubicBezTo>
                    <a:pt x="2468040" y="1066736"/>
                    <a:pt x="2230449" y="1304328"/>
                    <a:pt x="2230449" y="1600104"/>
                  </a:cubicBezTo>
                  <a:cubicBezTo>
                    <a:pt x="2230449" y="1842544"/>
                    <a:pt x="2395308" y="2051043"/>
                    <a:pt x="2618353" y="2114077"/>
                  </a:cubicBezTo>
                  <a:lnTo>
                    <a:pt x="2618353" y="3248697"/>
                  </a:lnTo>
                  <a:cubicBezTo>
                    <a:pt x="2618353" y="3651147"/>
                    <a:pt x="2293483" y="3976017"/>
                    <a:pt x="1891032" y="3976017"/>
                  </a:cubicBezTo>
                  <a:cubicBezTo>
                    <a:pt x="1488582" y="3976017"/>
                    <a:pt x="1163712" y="3651147"/>
                    <a:pt x="1163712" y="3248697"/>
                  </a:cubicBezTo>
                  <a:lnTo>
                    <a:pt x="1163712" y="2754119"/>
                  </a:lnTo>
                  <a:cubicBezTo>
                    <a:pt x="1658290" y="2681387"/>
                    <a:pt x="2036496" y="2259541"/>
                    <a:pt x="2036496" y="1745568"/>
                  </a:cubicBezTo>
                  <a:cubicBezTo>
                    <a:pt x="2036496" y="1672836"/>
                    <a:pt x="1997706" y="1609802"/>
                    <a:pt x="1939520" y="1580709"/>
                  </a:cubicBezTo>
                  <a:lnTo>
                    <a:pt x="1939520" y="387904"/>
                  </a:lnTo>
                  <a:cubicBezTo>
                    <a:pt x="1939520" y="242440"/>
                    <a:pt x="1827998" y="121220"/>
                    <a:pt x="1687383" y="101825"/>
                  </a:cubicBezTo>
                  <a:cubicBezTo>
                    <a:pt x="1667988" y="43639"/>
                    <a:pt x="1614651" y="0"/>
                    <a:pt x="1551616" y="0"/>
                  </a:cubicBezTo>
                  <a:lnTo>
                    <a:pt x="1503128" y="0"/>
                  </a:lnTo>
                  <a:cubicBezTo>
                    <a:pt x="1396455" y="0"/>
                    <a:pt x="1309176" y="87278"/>
                    <a:pt x="1309176" y="193952"/>
                  </a:cubicBezTo>
                  <a:cubicBezTo>
                    <a:pt x="1309176" y="300626"/>
                    <a:pt x="1396455" y="387904"/>
                    <a:pt x="1503128" y="387904"/>
                  </a:cubicBezTo>
                  <a:lnTo>
                    <a:pt x="1551616" y="387904"/>
                  </a:lnTo>
                  <a:cubicBezTo>
                    <a:pt x="1609802" y="387904"/>
                    <a:pt x="1663139" y="349114"/>
                    <a:pt x="1687383" y="300626"/>
                  </a:cubicBezTo>
                  <a:cubicBezTo>
                    <a:pt x="1721324" y="315172"/>
                    <a:pt x="1745568" y="349114"/>
                    <a:pt x="1745568" y="387904"/>
                  </a:cubicBezTo>
                  <a:lnTo>
                    <a:pt x="1745568" y="1580709"/>
                  </a:lnTo>
                  <a:cubicBezTo>
                    <a:pt x="1687383" y="1614651"/>
                    <a:pt x="1648592" y="1677685"/>
                    <a:pt x="1648592" y="1745568"/>
                  </a:cubicBezTo>
                  <a:cubicBezTo>
                    <a:pt x="1648592" y="2094682"/>
                    <a:pt x="1367362" y="2375913"/>
                    <a:pt x="1018248" y="2375913"/>
                  </a:cubicBezTo>
                  <a:cubicBezTo>
                    <a:pt x="669135" y="2375913"/>
                    <a:pt x="387904" y="2094682"/>
                    <a:pt x="387904" y="1745568"/>
                  </a:cubicBezTo>
                  <a:cubicBezTo>
                    <a:pt x="387904" y="1672836"/>
                    <a:pt x="349114" y="1609802"/>
                    <a:pt x="290928" y="1580709"/>
                  </a:cubicBezTo>
                  <a:lnTo>
                    <a:pt x="290928" y="387904"/>
                  </a:lnTo>
                  <a:cubicBezTo>
                    <a:pt x="290928" y="349114"/>
                    <a:pt x="315172" y="315172"/>
                    <a:pt x="349114" y="300626"/>
                  </a:cubicBezTo>
                  <a:cubicBezTo>
                    <a:pt x="373358" y="353963"/>
                    <a:pt x="421846" y="387904"/>
                    <a:pt x="484880" y="387904"/>
                  </a:cubicBezTo>
                  <a:lnTo>
                    <a:pt x="533368" y="387904"/>
                  </a:lnTo>
                  <a:cubicBezTo>
                    <a:pt x="640042" y="387904"/>
                    <a:pt x="727320" y="300626"/>
                    <a:pt x="727320" y="193952"/>
                  </a:cubicBezTo>
                  <a:cubicBezTo>
                    <a:pt x="727320" y="87278"/>
                    <a:pt x="640042" y="0"/>
                    <a:pt x="533368" y="0"/>
                  </a:cubicBezTo>
                  <a:lnTo>
                    <a:pt x="484880" y="0"/>
                  </a:lnTo>
                  <a:cubicBezTo>
                    <a:pt x="421846" y="0"/>
                    <a:pt x="368509" y="43639"/>
                    <a:pt x="349114" y="101825"/>
                  </a:cubicBezTo>
                  <a:cubicBezTo>
                    <a:pt x="208498" y="121220"/>
                    <a:pt x="96976" y="242440"/>
                    <a:pt x="96976" y="387904"/>
                  </a:cubicBezTo>
                  <a:lnTo>
                    <a:pt x="96976" y="1580709"/>
                  </a:lnTo>
                  <a:cubicBezTo>
                    <a:pt x="38790" y="1614651"/>
                    <a:pt x="0" y="1677685"/>
                    <a:pt x="0" y="1745568"/>
                  </a:cubicBezTo>
                  <a:cubicBezTo>
                    <a:pt x="0" y="2259541"/>
                    <a:pt x="378206" y="2681387"/>
                    <a:pt x="872784" y="2754119"/>
                  </a:cubicBezTo>
                  <a:lnTo>
                    <a:pt x="872784" y="3248697"/>
                  </a:lnTo>
                  <a:cubicBezTo>
                    <a:pt x="872784" y="3811158"/>
                    <a:pt x="1328572" y="4266945"/>
                    <a:pt x="1891032" y="4266945"/>
                  </a:cubicBezTo>
                  <a:cubicBezTo>
                    <a:pt x="2453493" y="4266945"/>
                    <a:pt x="2909281" y="3811158"/>
                    <a:pt x="2909281" y="3248697"/>
                  </a:cubicBezTo>
                  <a:lnTo>
                    <a:pt x="2909281" y="2114077"/>
                  </a:lnTo>
                  <a:cubicBezTo>
                    <a:pt x="3132326" y="2051043"/>
                    <a:pt x="3297185" y="1842544"/>
                    <a:pt x="3297185" y="1600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50B4264B-B06A-42D5-A7C4-461BB895DB3D}"/>
                </a:ext>
              </a:extLst>
            </p:cNvPr>
            <p:cNvSpPr/>
            <p:nvPr/>
          </p:nvSpPr>
          <p:spPr>
            <a:xfrm>
              <a:off x="13279792" y="2777305"/>
              <a:ext cx="484880" cy="484880"/>
            </a:xfrm>
            <a:custGeom>
              <a:avLst/>
              <a:gdLst>
                <a:gd name="connsiteX0" fmla="*/ 484880 w 484880"/>
                <a:gd name="connsiteY0" fmla="*/ 242440 h 484880"/>
                <a:gd name="connsiteX1" fmla="*/ 242440 w 484880"/>
                <a:gd name="connsiteY1" fmla="*/ 484880 h 484880"/>
                <a:gd name="connsiteX2" fmla="*/ 0 w 484880"/>
                <a:gd name="connsiteY2" fmla="*/ 242440 h 484880"/>
                <a:gd name="connsiteX3" fmla="*/ 242440 w 484880"/>
                <a:gd name="connsiteY3" fmla="*/ 0 h 484880"/>
                <a:gd name="connsiteX4" fmla="*/ 484880 w 484880"/>
                <a:gd name="connsiteY4" fmla="*/ 242440 h 484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880" h="484880">
                  <a:moveTo>
                    <a:pt x="484880" y="242440"/>
                  </a:moveTo>
                  <a:cubicBezTo>
                    <a:pt x="484880" y="376336"/>
                    <a:pt x="376336" y="484880"/>
                    <a:pt x="242440" y="484880"/>
                  </a:cubicBezTo>
                  <a:cubicBezTo>
                    <a:pt x="108544" y="484880"/>
                    <a:pt x="0" y="376336"/>
                    <a:pt x="0" y="242440"/>
                  </a:cubicBezTo>
                  <a:cubicBezTo>
                    <a:pt x="0" y="108544"/>
                    <a:pt x="108544" y="0"/>
                    <a:pt x="242440" y="0"/>
                  </a:cubicBezTo>
                  <a:cubicBezTo>
                    <a:pt x="376336" y="0"/>
                    <a:pt x="484880" y="108544"/>
                    <a:pt x="484880" y="2424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0EDBE721-57FD-4A10-A679-00F237AC936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43494" y="4609169"/>
            <a:ext cx="247314" cy="241130"/>
            <a:chOff x="2578100" y="0"/>
            <a:chExt cx="11628438" cy="11334750"/>
          </a:xfrm>
          <a:solidFill>
            <a:schemeClr val="bg1">
              <a:alpha val="80000"/>
            </a:schemeClr>
          </a:solidFill>
        </p:grpSpPr>
        <p:sp>
          <p:nvSpPr>
            <p:cNvPr id="55" name="Freeform 15">
              <a:extLst>
                <a:ext uri="{FF2B5EF4-FFF2-40B4-BE49-F238E27FC236}">
                  <a16:creationId xmlns:a16="http://schemas.microsoft.com/office/drawing/2014/main" id="{5FC1FC14-FDA4-4DA9-AC7B-ABB1DA1BE2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2263" y="0"/>
              <a:ext cx="4994275" cy="5073650"/>
            </a:xfrm>
            <a:custGeom>
              <a:avLst/>
              <a:gdLst>
                <a:gd name="T0" fmla="*/ 211 w 442"/>
                <a:gd name="T1" fmla="*/ 137 h 449"/>
                <a:gd name="T2" fmla="*/ 308 w 442"/>
                <a:gd name="T3" fmla="*/ 215 h 449"/>
                <a:gd name="T4" fmla="*/ 231 w 442"/>
                <a:gd name="T5" fmla="*/ 312 h 449"/>
                <a:gd name="T6" fmla="*/ 133 w 442"/>
                <a:gd name="T7" fmla="*/ 235 h 449"/>
                <a:gd name="T8" fmla="*/ 211 w 442"/>
                <a:gd name="T9" fmla="*/ 137 h 449"/>
                <a:gd name="T10" fmla="*/ 65 w 442"/>
                <a:gd name="T11" fmla="*/ 283 h 449"/>
                <a:gd name="T12" fmla="*/ 16 w 442"/>
                <a:gd name="T13" fmla="*/ 320 h 449"/>
                <a:gd name="T14" fmla="*/ 71 w 442"/>
                <a:gd name="T15" fmla="*/ 394 h 449"/>
                <a:gd name="T16" fmla="*/ 121 w 442"/>
                <a:gd name="T17" fmla="*/ 357 h 449"/>
                <a:gd name="T18" fmla="*/ 194 w 442"/>
                <a:gd name="T19" fmla="*/ 389 h 449"/>
                <a:gd name="T20" fmla="*/ 201 w 442"/>
                <a:gd name="T21" fmla="*/ 449 h 449"/>
                <a:gd name="T22" fmla="*/ 292 w 442"/>
                <a:gd name="T23" fmla="*/ 439 h 449"/>
                <a:gd name="T24" fmla="*/ 285 w 442"/>
                <a:gd name="T25" fmla="*/ 378 h 449"/>
                <a:gd name="T26" fmla="*/ 349 w 442"/>
                <a:gd name="T27" fmla="*/ 330 h 449"/>
                <a:gd name="T28" fmla="*/ 405 w 442"/>
                <a:gd name="T29" fmla="*/ 354 h 449"/>
                <a:gd name="T30" fmla="*/ 442 w 442"/>
                <a:gd name="T31" fmla="*/ 270 h 449"/>
                <a:gd name="T32" fmla="*/ 385 w 442"/>
                <a:gd name="T33" fmla="*/ 246 h 449"/>
                <a:gd name="T34" fmla="*/ 376 w 442"/>
                <a:gd name="T35" fmla="*/ 166 h 449"/>
                <a:gd name="T36" fmla="*/ 425 w 442"/>
                <a:gd name="T37" fmla="*/ 130 h 449"/>
                <a:gd name="T38" fmla="*/ 370 w 442"/>
                <a:gd name="T39" fmla="*/ 56 h 449"/>
                <a:gd name="T40" fmla="*/ 321 w 442"/>
                <a:gd name="T41" fmla="*/ 93 h 449"/>
                <a:gd name="T42" fmla="*/ 248 w 442"/>
                <a:gd name="T43" fmla="*/ 61 h 449"/>
                <a:gd name="T44" fmla="*/ 241 w 442"/>
                <a:gd name="T45" fmla="*/ 0 h 449"/>
                <a:gd name="T46" fmla="*/ 149 w 442"/>
                <a:gd name="T47" fmla="*/ 11 h 449"/>
                <a:gd name="T48" fmla="*/ 156 w 442"/>
                <a:gd name="T49" fmla="*/ 72 h 449"/>
                <a:gd name="T50" fmla="*/ 93 w 442"/>
                <a:gd name="T51" fmla="*/ 119 h 449"/>
                <a:gd name="T52" fmla="*/ 36 w 442"/>
                <a:gd name="T53" fmla="*/ 95 h 449"/>
                <a:gd name="T54" fmla="*/ 0 w 442"/>
                <a:gd name="T55" fmla="*/ 180 h 449"/>
                <a:gd name="T56" fmla="*/ 56 w 442"/>
                <a:gd name="T57" fmla="*/ 204 h 449"/>
                <a:gd name="T58" fmla="*/ 65 w 442"/>
                <a:gd name="T59" fmla="*/ 283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2" h="449">
                  <a:moveTo>
                    <a:pt x="211" y="137"/>
                  </a:moveTo>
                  <a:cubicBezTo>
                    <a:pt x="259" y="132"/>
                    <a:pt x="303" y="166"/>
                    <a:pt x="308" y="215"/>
                  </a:cubicBezTo>
                  <a:cubicBezTo>
                    <a:pt x="314" y="263"/>
                    <a:pt x="279" y="307"/>
                    <a:pt x="231" y="312"/>
                  </a:cubicBezTo>
                  <a:cubicBezTo>
                    <a:pt x="183" y="318"/>
                    <a:pt x="139" y="283"/>
                    <a:pt x="133" y="235"/>
                  </a:cubicBezTo>
                  <a:cubicBezTo>
                    <a:pt x="128" y="187"/>
                    <a:pt x="162" y="143"/>
                    <a:pt x="211" y="137"/>
                  </a:cubicBezTo>
                  <a:close/>
                  <a:moveTo>
                    <a:pt x="65" y="283"/>
                  </a:moveTo>
                  <a:cubicBezTo>
                    <a:pt x="16" y="320"/>
                    <a:pt x="16" y="320"/>
                    <a:pt x="16" y="320"/>
                  </a:cubicBezTo>
                  <a:cubicBezTo>
                    <a:pt x="71" y="394"/>
                    <a:pt x="71" y="394"/>
                    <a:pt x="71" y="394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94" y="389"/>
                    <a:pt x="194" y="389"/>
                    <a:pt x="194" y="389"/>
                  </a:cubicBezTo>
                  <a:cubicBezTo>
                    <a:pt x="201" y="449"/>
                    <a:pt x="201" y="449"/>
                    <a:pt x="201" y="449"/>
                  </a:cubicBezTo>
                  <a:cubicBezTo>
                    <a:pt x="292" y="439"/>
                    <a:pt x="292" y="439"/>
                    <a:pt x="292" y="439"/>
                  </a:cubicBezTo>
                  <a:cubicBezTo>
                    <a:pt x="285" y="378"/>
                    <a:pt x="285" y="378"/>
                    <a:pt x="285" y="378"/>
                  </a:cubicBezTo>
                  <a:cubicBezTo>
                    <a:pt x="349" y="330"/>
                    <a:pt x="349" y="330"/>
                    <a:pt x="349" y="330"/>
                  </a:cubicBezTo>
                  <a:cubicBezTo>
                    <a:pt x="405" y="354"/>
                    <a:pt x="405" y="354"/>
                    <a:pt x="405" y="354"/>
                  </a:cubicBezTo>
                  <a:cubicBezTo>
                    <a:pt x="442" y="270"/>
                    <a:pt x="442" y="270"/>
                    <a:pt x="442" y="270"/>
                  </a:cubicBezTo>
                  <a:cubicBezTo>
                    <a:pt x="385" y="246"/>
                    <a:pt x="385" y="246"/>
                    <a:pt x="385" y="246"/>
                  </a:cubicBezTo>
                  <a:cubicBezTo>
                    <a:pt x="376" y="166"/>
                    <a:pt x="376" y="166"/>
                    <a:pt x="376" y="166"/>
                  </a:cubicBezTo>
                  <a:cubicBezTo>
                    <a:pt x="425" y="130"/>
                    <a:pt x="425" y="130"/>
                    <a:pt x="425" y="130"/>
                  </a:cubicBezTo>
                  <a:cubicBezTo>
                    <a:pt x="370" y="56"/>
                    <a:pt x="370" y="56"/>
                    <a:pt x="370" y="56"/>
                  </a:cubicBezTo>
                  <a:cubicBezTo>
                    <a:pt x="321" y="93"/>
                    <a:pt x="321" y="93"/>
                    <a:pt x="321" y="93"/>
                  </a:cubicBezTo>
                  <a:cubicBezTo>
                    <a:pt x="248" y="61"/>
                    <a:pt x="248" y="61"/>
                    <a:pt x="248" y="61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56" y="72"/>
                    <a:pt x="156" y="72"/>
                    <a:pt x="156" y="72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36" y="95"/>
                    <a:pt x="36" y="95"/>
                    <a:pt x="36" y="95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56" y="204"/>
                    <a:pt x="56" y="204"/>
                    <a:pt x="56" y="204"/>
                  </a:cubicBezTo>
                  <a:lnTo>
                    <a:pt x="65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6" name="Freeform 16">
              <a:extLst>
                <a:ext uri="{FF2B5EF4-FFF2-40B4-BE49-F238E27FC236}">
                  <a16:creationId xmlns:a16="http://schemas.microsoft.com/office/drawing/2014/main" id="{A386DB0B-124C-46DA-9A79-4981C4248D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0313" y="6340475"/>
              <a:ext cx="5073650" cy="4994275"/>
            </a:xfrm>
            <a:custGeom>
              <a:avLst/>
              <a:gdLst>
                <a:gd name="T0" fmla="*/ 306 w 449"/>
                <a:gd name="T1" fmla="*/ 256 h 442"/>
                <a:gd name="T2" fmla="*/ 190 w 449"/>
                <a:gd name="T3" fmla="*/ 302 h 442"/>
                <a:gd name="T4" fmla="*/ 144 w 449"/>
                <a:gd name="T5" fmla="*/ 186 h 442"/>
                <a:gd name="T6" fmla="*/ 259 w 449"/>
                <a:gd name="T7" fmla="*/ 140 h 442"/>
                <a:gd name="T8" fmla="*/ 306 w 449"/>
                <a:gd name="T9" fmla="*/ 256 h 442"/>
                <a:gd name="T10" fmla="*/ 449 w 449"/>
                <a:gd name="T11" fmla="*/ 240 h 442"/>
                <a:gd name="T12" fmla="*/ 438 w 449"/>
                <a:gd name="T13" fmla="*/ 149 h 442"/>
                <a:gd name="T14" fmla="*/ 377 w 449"/>
                <a:gd name="T15" fmla="*/ 156 h 442"/>
                <a:gd name="T16" fmla="*/ 330 w 449"/>
                <a:gd name="T17" fmla="*/ 92 h 442"/>
                <a:gd name="T18" fmla="*/ 354 w 449"/>
                <a:gd name="T19" fmla="*/ 36 h 442"/>
                <a:gd name="T20" fmla="*/ 269 w 449"/>
                <a:gd name="T21" fmla="*/ 0 h 442"/>
                <a:gd name="T22" fmla="*/ 245 w 449"/>
                <a:gd name="T23" fmla="*/ 56 h 442"/>
                <a:gd name="T24" fmla="*/ 166 w 449"/>
                <a:gd name="T25" fmla="*/ 66 h 442"/>
                <a:gd name="T26" fmla="*/ 129 w 449"/>
                <a:gd name="T27" fmla="*/ 17 h 442"/>
                <a:gd name="T28" fmla="*/ 55 w 449"/>
                <a:gd name="T29" fmla="*/ 72 h 442"/>
                <a:gd name="T30" fmla="*/ 92 w 449"/>
                <a:gd name="T31" fmla="*/ 121 h 442"/>
                <a:gd name="T32" fmla="*/ 61 w 449"/>
                <a:gd name="T33" fmla="*/ 194 h 442"/>
                <a:gd name="T34" fmla="*/ 0 w 449"/>
                <a:gd name="T35" fmla="*/ 202 h 442"/>
                <a:gd name="T36" fmla="*/ 11 w 449"/>
                <a:gd name="T37" fmla="*/ 293 h 442"/>
                <a:gd name="T38" fmla="*/ 72 w 449"/>
                <a:gd name="T39" fmla="*/ 286 h 442"/>
                <a:gd name="T40" fmla="*/ 120 w 449"/>
                <a:gd name="T41" fmla="*/ 350 h 442"/>
                <a:gd name="T42" fmla="*/ 96 w 449"/>
                <a:gd name="T43" fmla="*/ 406 h 442"/>
                <a:gd name="T44" fmla="*/ 180 w 449"/>
                <a:gd name="T45" fmla="*/ 442 h 442"/>
                <a:gd name="T46" fmla="*/ 205 w 449"/>
                <a:gd name="T47" fmla="*/ 386 h 442"/>
                <a:gd name="T48" fmla="*/ 284 w 449"/>
                <a:gd name="T49" fmla="*/ 376 h 442"/>
                <a:gd name="T50" fmla="*/ 320 w 449"/>
                <a:gd name="T51" fmla="*/ 425 h 442"/>
                <a:gd name="T52" fmla="*/ 394 w 449"/>
                <a:gd name="T53" fmla="*/ 370 h 442"/>
                <a:gd name="T54" fmla="*/ 357 w 449"/>
                <a:gd name="T55" fmla="*/ 321 h 442"/>
                <a:gd name="T56" fmla="*/ 389 w 449"/>
                <a:gd name="T57" fmla="*/ 248 h 442"/>
                <a:gd name="T58" fmla="*/ 449 w 449"/>
                <a:gd name="T59" fmla="*/ 24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9" h="442">
                  <a:moveTo>
                    <a:pt x="306" y="256"/>
                  </a:moveTo>
                  <a:cubicBezTo>
                    <a:pt x="287" y="300"/>
                    <a:pt x="235" y="321"/>
                    <a:pt x="190" y="302"/>
                  </a:cubicBezTo>
                  <a:cubicBezTo>
                    <a:pt x="145" y="283"/>
                    <a:pt x="125" y="231"/>
                    <a:pt x="144" y="186"/>
                  </a:cubicBezTo>
                  <a:cubicBezTo>
                    <a:pt x="163" y="142"/>
                    <a:pt x="215" y="121"/>
                    <a:pt x="259" y="140"/>
                  </a:cubicBezTo>
                  <a:cubicBezTo>
                    <a:pt x="304" y="159"/>
                    <a:pt x="325" y="211"/>
                    <a:pt x="306" y="256"/>
                  </a:cubicBezTo>
                  <a:close/>
                  <a:moveTo>
                    <a:pt x="449" y="240"/>
                  </a:moveTo>
                  <a:cubicBezTo>
                    <a:pt x="438" y="149"/>
                    <a:pt x="438" y="149"/>
                    <a:pt x="438" y="149"/>
                  </a:cubicBezTo>
                  <a:cubicBezTo>
                    <a:pt x="377" y="156"/>
                    <a:pt x="377" y="156"/>
                    <a:pt x="377" y="156"/>
                  </a:cubicBezTo>
                  <a:cubicBezTo>
                    <a:pt x="330" y="92"/>
                    <a:pt x="330" y="92"/>
                    <a:pt x="330" y="92"/>
                  </a:cubicBezTo>
                  <a:cubicBezTo>
                    <a:pt x="354" y="36"/>
                    <a:pt x="354" y="36"/>
                    <a:pt x="354" y="36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245" y="56"/>
                    <a:pt x="245" y="56"/>
                    <a:pt x="245" y="56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92" y="121"/>
                    <a:pt x="92" y="121"/>
                    <a:pt x="92" y="121"/>
                  </a:cubicBezTo>
                  <a:cubicBezTo>
                    <a:pt x="61" y="194"/>
                    <a:pt x="61" y="194"/>
                    <a:pt x="61" y="194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11" y="293"/>
                    <a:pt x="11" y="293"/>
                    <a:pt x="11" y="293"/>
                  </a:cubicBezTo>
                  <a:cubicBezTo>
                    <a:pt x="72" y="286"/>
                    <a:pt x="72" y="286"/>
                    <a:pt x="72" y="286"/>
                  </a:cubicBezTo>
                  <a:cubicBezTo>
                    <a:pt x="120" y="350"/>
                    <a:pt x="120" y="350"/>
                    <a:pt x="120" y="350"/>
                  </a:cubicBezTo>
                  <a:cubicBezTo>
                    <a:pt x="96" y="406"/>
                    <a:pt x="96" y="406"/>
                    <a:pt x="96" y="406"/>
                  </a:cubicBezTo>
                  <a:cubicBezTo>
                    <a:pt x="180" y="442"/>
                    <a:pt x="180" y="442"/>
                    <a:pt x="180" y="442"/>
                  </a:cubicBezTo>
                  <a:cubicBezTo>
                    <a:pt x="205" y="386"/>
                    <a:pt x="205" y="386"/>
                    <a:pt x="205" y="386"/>
                  </a:cubicBezTo>
                  <a:cubicBezTo>
                    <a:pt x="284" y="376"/>
                    <a:pt x="284" y="376"/>
                    <a:pt x="284" y="376"/>
                  </a:cubicBezTo>
                  <a:cubicBezTo>
                    <a:pt x="320" y="425"/>
                    <a:pt x="320" y="425"/>
                    <a:pt x="320" y="425"/>
                  </a:cubicBezTo>
                  <a:cubicBezTo>
                    <a:pt x="394" y="370"/>
                    <a:pt x="394" y="370"/>
                    <a:pt x="394" y="370"/>
                  </a:cubicBezTo>
                  <a:cubicBezTo>
                    <a:pt x="357" y="321"/>
                    <a:pt x="357" y="321"/>
                    <a:pt x="357" y="321"/>
                  </a:cubicBezTo>
                  <a:cubicBezTo>
                    <a:pt x="389" y="248"/>
                    <a:pt x="389" y="248"/>
                    <a:pt x="389" y="248"/>
                  </a:cubicBezTo>
                  <a:lnTo>
                    <a:pt x="449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7" name="Freeform 17">
              <a:extLst>
                <a:ext uri="{FF2B5EF4-FFF2-40B4-BE49-F238E27FC236}">
                  <a16:creationId xmlns:a16="http://schemas.microsoft.com/office/drawing/2014/main" id="{D70FAE6B-0F84-4E2B-998B-1A5D1ED156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8100" y="1638300"/>
              <a:ext cx="7627938" cy="7616825"/>
            </a:xfrm>
            <a:custGeom>
              <a:avLst/>
              <a:gdLst>
                <a:gd name="T0" fmla="*/ 337 w 675"/>
                <a:gd name="T1" fmla="*/ 485 h 674"/>
                <a:gd name="T2" fmla="*/ 189 w 675"/>
                <a:gd name="T3" fmla="*/ 337 h 674"/>
                <a:gd name="T4" fmla="*/ 337 w 675"/>
                <a:gd name="T5" fmla="*/ 189 h 674"/>
                <a:gd name="T6" fmla="*/ 486 w 675"/>
                <a:gd name="T7" fmla="*/ 337 h 674"/>
                <a:gd name="T8" fmla="*/ 337 w 675"/>
                <a:gd name="T9" fmla="*/ 485 h 674"/>
                <a:gd name="T10" fmla="*/ 571 w 675"/>
                <a:gd name="T11" fmla="*/ 479 h 674"/>
                <a:gd name="T12" fmla="*/ 602 w 675"/>
                <a:gd name="T13" fmla="*/ 401 h 674"/>
                <a:gd name="T14" fmla="*/ 675 w 675"/>
                <a:gd name="T15" fmla="*/ 395 h 674"/>
                <a:gd name="T16" fmla="*/ 675 w 675"/>
                <a:gd name="T17" fmla="*/ 279 h 674"/>
                <a:gd name="T18" fmla="*/ 602 w 675"/>
                <a:gd name="T19" fmla="*/ 272 h 674"/>
                <a:gd name="T20" fmla="*/ 571 w 675"/>
                <a:gd name="T21" fmla="*/ 195 h 674"/>
                <a:gd name="T22" fmla="*/ 617 w 675"/>
                <a:gd name="T23" fmla="*/ 139 h 674"/>
                <a:gd name="T24" fmla="*/ 535 w 675"/>
                <a:gd name="T25" fmla="*/ 57 h 674"/>
                <a:gd name="T26" fmla="*/ 479 w 675"/>
                <a:gd name="T27" fmla="*/ 104 h 674"/>
                <a:gd name="T28" fmla="*/ 402 w 675"/>
                <a:gd name="T29" fmla="*/ 72 h 674"/>
                <a:gd name="T30" fmla="*/ 395 w 675"/>
                <a:gd name="T31" fmla="*/ 0 h 674"/>
                <a:gd name="T32" fmla="*/ 279 w 675"/>
                <a:gd name="T33" fmla="*/ 0 h 674"/>
                <a:gd name="T34" fmla="*/ 273 w 675"/>
                <a:gd name="T35" fmla="*/ 72 h 674"/>
                <a:gd name="T36" fmla="*/ 195 w 675"/>
                <a:gd name="T37" fmla="*/ 103 h 674"/>
                <a:gd name="T38" fmla="*/ 140 w 675"/>
                <a:gd name="T39" fmla="*/ 57 h 674"/>
                <a:gd name="T40" fmla="*/ 58 w 675"/>
                <a:gd name="T41" fmla="*/ 139 h 674"/>
                <a:gd name="T42" fmla="*/ 104 w 675"/>
                <a:gd name="T43" fmla="*/ 195 h 674"/>
                <a:gd name="T44" fmla="*/ 72 w 675"/>
                <a:gd name="T45" fmla="*/ 272 h 674"/>
                <a:gd name="T46" fmla="*/ 0 w 675"/>
                <a:gd name="T47" fmla="*/ 279 h 674"/>
                <a:gd name="T48" fmla="*/ 0 w 675"/>
                <a:gd name="T49" fmla="*/ 395 h 674"/>
                <a:gd name="T50" fmla="*/ 72 w 675"/>
                <a:gd name="T51" fmla="*/ 401 h 674"/>
                <a:gd name="T52" fmla="*/ 104 w 675"/>
                <a:gd name="T53" fmla="*/ 479 h 674"/>
                <a:gd name="T54" fmla="*/ 58 w 675"/>
                <a:gd name="T55" fmla="*/ 534 h 674"/>
                <a:gd name="T56" fmla="*/ 140 w 675"/>
                <a:gd name="T57" fmla="*/ 616 h 674"/>
                <a:gd name="T58" fmla="*/ 195 w 675"/>
                <a:gd name="T59" fmla="*/ 570 h 674"/>
                <a:gd name="T60" fmla="*/ 273 w 675"/>
                <a:gd name="T61" fmla="*/ 602 h 674"/>
                <a:gd name="T62" fmla="*/ 279 w 675"/>
                <a:gd name="T63" fmla="*/ 674 h 674"/>
                <a:gd name="T64" fmla="*/ 395 w 675"/>
                <a:gd name="T65" fmla="*/ 674 h 674"/>
                <a:gd name="T66" fmla="*/ 402 w 675"/>
                <a:gd name="T67" fmla="*/ 602 h 674"/>
                <a:gd name="T68" fmla="*/ 479 w 675"/>
                <a:gd name="T69" fmla="*/ 570 h 674"/>
                <a:gd name="T70" fmla="*/ 535 w 675"/>
                <a:gd name="T71" fmla="*/ 616 h 674"/>
                <a:gd name="T72" fmla="*/ 617 w 675"/>
                <a:gd name="T73" fmla="*/ 534 h 674"/>
                <a:gd name="T74" fmla="*/ 571 w 675"/>
                <a:gd name="T75" fmla="*/ 479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5" h="674">
                  <a:moveTo>
                    <a:pt x="337" y="485"/>
                  </a:moveTo>
                  <a:cubicBezTo>
                    <a:pt x="255" y="485"/>
                    <a:pt x="189" y="419"/>
                    <a:pt x="189" y="337"/>
                  </a:cubicBezTo>
                  <a:cubicBezTo>
                    <a:pt x="189" y="255"/>
                    <a:pt x="255" y="189"/>
                    <a:pt x="337" y="189"/>
                  </a:cubicBezTo>
                  <a:cubicBezTo>
                    <a:pt x="419" y="189"/>
                    <a:pt x="486" y="255"/>
                    <a:pt x="486" y="337"/>
                  </a:cubicBezTo>
                  <a:cubicBezTo>
                    <a:pt x="486" y="419"/>
                    <a:pt x="419" y="485"/>
                    <a:pt x="337" y="485"/>
                  </a:cubicBezTo>
                  <a:close/>
                  <a:moveTo>
                    <a:pt x="571" y="479"/>
                  </a:moveTo>
                  <a:cubicBezTo>
                    <a:pt x="602" y="401"/>
                    <a:pt x="602" y="401"/>
                    <a:pt x="602" y="401"/>
                  </a:cubicBezTo>
                  <a:cubicBezTo>
                    <a:pt x="675" y="395"/>
                    <a:pt x="675" y="395"/>
                    <a:pt x="675" y="395"/>
                  </a:cubicBezTo>
                  <a:cubicBezTo>
                    <a:pt x="675" y="279"/>
                    <a:pt x="675" y="279"/>
                    <a:pt x="675" y="279"/>
                  </a:cubicBezTo>
                  <a:cubicBezTo>
                    <a:pt x="602" y="272"/>
                    <a:pt x="602" y="272"/>
                    <a:pt x="602" y="272"/>
                  </a:cubicBezTo>
                  <a:cubicBezTo>
                    <a:pt x="571" y="195"/>
                    <a:pt x="571" y="195"/>
                    <a:pt x="571" y="195"/>
                  </a:cubicBezTo>
                  <a:cubicBezTo>
                    <a:pt x="617" y="139"/>
                    <a:pt x="617" y="139"/>
                    <a:pt x="617" y="139"/>
                  </a:cubicBezTo>
                  <a:cubicBezTo>
                    <a:pt x="535" y="57"/>
                    <a:pt x="535" y="57"/>
                    <a:pt x="535" y="57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02" y="72"/>
                    <a:pt x="402" y="72"/>
                    <a:pt x="402" y="72"/>
                  </a:cubicBezTo>
                  <a:cubicBezTo>
                    <a:pt x="395" y="0"/>
                    <a:pt x="395" y="0"/>
                    <a:pt x="395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3" y="72"/>
                    <a:pt x="273" y="72"/>
                    <a:pt x="273" y="72"/>
                  </a:cubicBezTo>
                  <a:cubicBezTo>
                    <a:pt x="195" y="103"/>
                    <a:pt x="195" y="103"/>
                    <a:pt x="195" y="103"/>
                  </a:cubicBezTo>
                  <a:cubicBezTo>
                    <a:pt x="140" y="57"/>
                    <a:pt x="140" y="57"/>
                    <a:pt x="140" y="57"/>
                  </a:cubicBezTo>
                  <a:cubicBezTo>
                    <a:pt x="58" y="139"/>
                    <a:pt x="58" y="139"/>
                    <a:pt x="58" y="139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72" y="272"/>
                    <a:pt x="72" y="272"/>
                    <a:pt x="72" y="272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0" y="395"/>
                    <a:pt x="0" y="395"/>
                    <a:pt x="0" y="395"/>
                  </a:cubicBezTo>
                  <a:cubicBezTo>
                    <a:pt x="72" y="401"/>
                    <a:pt x="72" y="401"/>
                    <a:pt x="72" y="401"/>
                  </a:cubicBezTo>
                  <a:cubicBezTo>
                    <a:pt x="104" y="479"/>
                    <a:pt x="104" y="479"/>
                    <a:pt x="104" y="479"/>
                  </a:cubicBezTo>
                  <a:cubicBezTo>
                    <a:pt x="58" y="534"/>
                    <a:pt x="58" y="534"/>
                    <a:pt x="58" y="534"/>
                  </a:cubicBezTo>
                  <a:cubicBezTo>
                    <a:pt x="140" y="616"/>
                    <a:pt x="140" y="616"/>
                    <a:pt x="140" y="616"/>
                  </a:cubicBezTo>
                  <a:cubicBezTo>
                    <a:pt x="195" y="570"/>
                    <a:pt x="195" y="570"/>
                    <a:pt x="195" y="570"/>
                  </a:cubicBezTo>
                  <a:cubicBezTo>
                    <a:pt x="273" y="602"/>
                    <a:pt x="273" y="602"/>
                    <a:pt x="273" y="602"/>
                  </a:cubicBezTo>
                  <a:cubicBezTo>
                    <a:pt x="279" y="674"/>
                    <a:pt x="279" y="674"/>
                    <a:pt x="279" y="674"/>
                  </a:cubicBezTo>
                  <a:cubicBezTo>
                    <a:pt x="395" y="674"/>
                    <a:pt x="395" y="674"/>
                    <a:pt x="395" y="674"/>
                  </a:cubicBezTo>
                  <a:cubicBezTo>
                    <a:pt x="402" y="602"/>
                    <a:pt x="402" y="602"/>
                    <a:pt x="402" y="602"/>
                  </a:cubicBezTo>
                  <a:cubicBezTo>
                    <a:pt x="479" y="570"/>
                    <a:pt x="479" y="570"/>
                    <a:pt x="479" y="570"/>
                  </a:cubicBezTo>
                  <a:cubicBezTo>
                    <a:pt x="535" y="616"/>
                    <a:pt x="535" y="616"/>
                    <a:pt x="535" y="616"/>
                  </a:cubicBezTo>
                  <a:cubicBezTo>
                    <a:pt x="617" y="534"/>
                    <a:pt x="617" y="534"/>
                    <a:pt x="617" y="534"/>
                  </a:cubicBezTo>
                  <a:lnTo>
                    <a:pt x="571" y="4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857D6C03-F94C-4627-8307-E6727CB729C4}"/>
              </a:ext>
            </a:extLst>
          </p:cNvPr>
          <p:cNvGrpSpPr/>
          <p:nvPr userDrawn="1"/>
        </p:nvGrpSpPr>
        <p:grpSpPr>
          <a:xfrm>
            <a:off x="10851242" y="3702633"/>
            <a:ext cx="229989" cy="225311"/>
            <a:chOff x="2634853" y="3844528"/>
            <a:chExt cx="261938" cy="268319"/>
          </a:xfrm>
          <a:solidFill>
            <a:schemeClr val="bg1">
              <a:alpha val="80000"/>
            </a:schemeClr>
          </a:solidFill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B52C9F35-3B3F-43C8-985D-0337360B5D01}"/>
                </a:ext>
              </a:extLst>
            </p:cNvPr>
            <p:cNvSpPr/>
            <p:nvPr/>
          </p:nvSpPr>
          <p:spPr>
            <a:xfrm>
              <a:off x="2634853" y="3965972"/>
              <a:ext cx="34366" cy="108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346DA560-0931-4740-BB3E-DB75C0708BDD}"/>
                </a:ext>
              </a:extLst>
            </p:cNvPr>
            <p:cNvSpPr/>
            <p:nvPr/>
          </p:nvSpPr>
          <p:spPr>
            <a:xfrm>
              <a:off x="2691746" y="3894534"/>
              <a:ext cx="34366" cy="18024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62C2729D-ABD5-4CB4-A363-A75170B7AF21}"/>
                </a:ext>
              </a:extLst>
            </p:cNvPr>
            <p:cNvSpPr/>
            <p:nvPr/>
          </p:nvSpPr>
          <p:spPr>
            <a:xfrm>
              <a:off x="2748639" y="3992166"/>
              <a:ext cx="34366" cy="826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F7392EB7-7368-4C0A-8F1C-3C53374029A3}"/>
                </a:ext>
              </a:extLst>
            </p:cNvPr>
            <p:cNvSpPr/>
            <p:nvPr/>
          </p:nvSpPr>
          <p:spPr>
            <a:xfrm>
              <a:off x="2805532" y="3942160"/>
              <a:ext cx="34366" cy="13261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0BD6E6D0-6F28-4B7F-AFDD-819AE3BF9C20}"/>
                </a:ext>
              </a:extLst>
            </p:cNvPr>
            <p:cNvSpPr/>
            <p:nvPr/>
          </p:nvSpPr>
          <p:spPr>
            <a:xfrm>
              <a:off x="2862425" y="3844528"/>
              <a:ext cx="34366" cy="2302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B53EB8E2-4272-425A-9C23-AEE47C2C4DC4}"/>
                </a:ext>
              </a:extLst>
            </p:cNvPr>
            <p:cNvSpPr/>
            <p:nvPr/>
          </p:nvSpPr>
          <p:spPr>
            <a:xfrm>
              <a:off x="2634853" y="4094559"/>
              <a:ext cx="261938" cy="1828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D2EE3AE7-1467-4C52-9BBE-726AC1F5C1CE}"/>
              </a:ext>
            </a:extLst>
          </p:cNvPr>
          <p:cNvGrpSpPr/>
          <p:nvPr userDrawn="1"/>
        </p:nvGrpSpPr>
        <p:grpSpPr>
          <a:xfrm>
            <a:off x="11217797" y="1860685"/>
            <a:ext cx="192111" cy="290045"/>
            <a:chOff x="-3947158" y="1719597"/>
            <a:chExt cx="3385092" cy="5109416"/>
          </a:xfrm>
          <a:solidFill>
            <a:schemeClr val="bg1">
              <a:alpha val="80000"/>
            </a:schemeClr>
          </a:solidFill>
        </p:grpSpPr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FE048978-48AC-45D0-81F6-A9BBA56EC963}"/>
                </a:ext>
              </a:extLst>
            </p:cNvPr>
            <p:cNvSpPr/>
            <p:nvPr/>
          </p:nvSpPr>
          <p:spPr>
            <a:xfrm>
              <a:off x="-3624517" y="2322583"/>
              <a:ext cx="3062451" cy="218046"/>
            </a:xfrm>
            <a:prstGeom prst="rect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6A619633-EE47-4019-B3F6-A697BBCBD246}"/>
                </a:ext>
              </a:extLst>
            </p:cNvPr>
            <p:cNvSpPr/>
            <p:nvPr/>
          </p:nvSpPr>
          <p:spPr>
            <a:xfrm>
              <a:off x="-3947158" y="3738067"/>
              <a:ext cx="1988090" cy="3089947"/>
            </a:xfrm>
            <a:custGeom>
              <a:avLst/>
              <a:gdLst>
                <a:gd name="connsiteX0" fmla="*/ 1536585 w 1988090"/>
                <a:gd name="connsiteY0" fmla="*/ 279 h 3089947"/>
                <a:gd name="connsiteX1" fmla="*/ 1493799 w 1988090"/>
                <a:gd name="connsiteY1" fmla="*/ 6084 h 3089947"/>
                <a:gd name="connsiteX2" fmla="*/ 994045 w 1988090"/>
                <a:gd name="connsiteY2" fmla="*/ 201257 h 3089947"/>
                <a:gd name="connsiteX3" fmla="*/ 494330 w 1988090"/>
                <a:gd name="connsiteY3" fmla="*/ 6122 h 3089947"/>
                <a:gd name="connsiteX4" fmla="*/ 451390 w 1988090"/>
                <a:gd name="connsiteY4" fmla="*/ 317 h 3089947"/>
                <a:gd name="connsiteX5" fmla="*/ 362549 w 1988090"/>
                <a:gd name="connsiteY5" fmla="*/ 12004 h 3089947"/>
                <a:gd name="connsiteX6" fmla="*/ 126819 w 1988090"/>
                <a:gd name="connsiteY6" fmla="*/ 305590 h 3089947"/>
                <a:gd name="connsiteX7" fmla="*/ 36 w 1988090"/>
                <a:gd name="connsiteY7" fmla="*/ 1551706 h 3089947"/>
                <a:gd name="connsiteX8" fmla="*/ 56470 w 1988090"/>
                <a:gd name="connsiteY8" fmla="*/ 1695481 h 3089947"/>
                <a:gd name="connsiteX9" fmla="*/ 198053 w 1988090"/>
                <a:gd name="connsiteY9" fmla="*/ 1757220 h 3089947"/>
                <a:gd name="connsiteX10" fmla="*/ 199975 w 1988090"/>
                <a:gd name="connsiteY10" fmla="*/ 1757258 h 3089947"/>
                <a:gd name="connsiteX11" fmla="*/ 201898 w 1988090"/>
                <a:gd name="connsiteY11" fmla="*/ 1757258 h 3089947"/>
                <a:gd name="connsiteX12" fmla="*/ 290969 w 1988090"/>
                <a:gd name="connsiteY12" fmla="*/ 1736154 h 3089947"/>
                <a:gd name="connsiteX13" fmla="*/ 359743 w 1988090"/>
                <a:gd name="connsiteY13" fmla="*/ 1679873 h 3089947"/>
                <a:gd name="connsiteX14" fmla="*/ 359743 w 1988090"/>
                <a:gd name="connsiteY14" fmla="*/ 2240751 h 3089947"/>
                <a:gd name="connsiteX15" fmla="*/ 359743 w 1988090"/>
                <a:gd name="connsiteY15" fmla="*/ 2801628 h 3089947"/>
                <a:gd name="connsiteX16" fmla="*/ 444201 w 1988090"/>
                <a:gd name="connsiteY16" fmla="*/ 3005489 h 3089947"/>
                <a:gd name="connsiteX17" fmla="*/ 648062 w 1988090"/>
                <a:gd name="connsiteY17" fmla="*/ 3089947 h 3089947"/>
                <a:gd name="connsiteX18" fmla="*/ 851923 w 1988090"/>
                <a:gd name="connsiteY18" fmla="*/ 3005489 h 3089947"/>
                <a:gd name="connsiteX19" fmla="*/ 936382 w 1988090"/>
                <a:gd name="connsiteY19" fmla="*/ 2801628 h 3089947"/>
                <a:gd name="connsiteX20" fmla="*/ 936382 w 1988090"/>
                <a:gd name="connsiteY20" fmla="*/ 2340317 h 3089947"/>
                <a:gd name="connsiteX21" fmla="*/ 936382 w 1988090"/>
                <a:gd name="connsiteY21" fmla="*/ 1879006 h 3089947"/>
                <a:gd name="connsiteX22" fmla="*/ 994045 w 1988090"/>
                <a:gd name="connsiteY22" fmla="*/ 1879006 h 3089947"/>
                <a:gd name="connsiteX23" fmla="*/ 1051709 w 1988090"/>
                <a:gd name="connsiteY23" fmla="*/ 1879006 h 3089947"/>
                <a:gd name="connsiteX24" fmla="*/ 1051709 w 1988090"/>
                <a:gd name="connsiteY24" fmla="*/ 2340317 h 3089947"/>
                <a:gd name="connsiteX25" fmla="*/ 1051709 w 1988090"/>
                <a:gd name="connsiteY25" fmla="*/ 2801628 h 3089947"/>
                <a:gd name="connsiteX26" fmla="*/ 1136167 w 1988090"/>
                <a:gd name="connsiteY26" fmla="*/ 3005489 h 3089947"/>
                <a:gd name="connsiteX27" fmla="*/ 1340029 w 1988090"/>
                <a:gd name="connsiteY27" fmla="*/ 3089947 h 3089947"/>
                <a:gd name="connsiteX28" fmla="*/ 1543889 w 1988090"/>
                <a:gd name="connsiteY28" fmla="*/ 3005489 h 3089947"/>
                <a:gd name="connsiteX29" fmla="*/ 1628348 w 1988090"/>
                <a:gd name="connsiteY29" fmla="*/ 2801628 h 3089947"/>
                <a:gd name="connsiteX30" fmla="*/ 1628348 w 1988090"/>
                <a:gd name="connsiteY30" fmla="*/ 2263432 h 3089947"/>
                <a:gd name="connsiteX31" fmla="*/ 1628348 w 1988090"/>
                <a:gd name="connsiteY31" fmla="*/ 1725313 h 3089947"/>
                <a:gd name="connsiteX32" fmla="*/ 1628348 w 1988090"/>
                <a:gd name="connsiteY32" fmla="*/ 1725236 h 3089947"/>
                <a:gd name="connsiteX33" fmla="*/ 1628348 w 1988090"/>
                <a:gd name="connsiteY33" fmla="*/ 1725159 h 3089947"/>
                <a:gd name="connsiteX34" fmla="*/ 1628348 w 1988090"/>
                <a:gd name="connsiteY34" fmla="*/ 1702478 h 3089947"/>
                <a:gd name="connsiteX35" fmla="*/ 1628348 w 1988090"/>
                <a:gd name="connsiteY35" fmla="*/ 1679797 h 3089947"/>
                <a:gd name="connsiteX36" fmla="*/ 1697122 w 1988090"/>
                <a:gd name="connsiteY36" fmla="*/ 1736115 h 3089947"/>
                <a:gd name="connsiteX37" fmla="*/ 1786193 w 1988090"/>
                <a:gd name="connsiteY37" fmla="*/ 1757220 h 3089947"/>
                <a:gd name="connsiteX38" fmla="*/ 1788115 w 1988090"/>
                <a:gd name="connsiteY38" fmla="*/ 1757220 h 3089947"/>
                <a:gd name="connsiteX39" fmla="*/ 1790037 w 1988090"/>
                <a:gd name="connsiteY39" fmla="*/ 1757182 h 3089947"/>
                <a:gd name="connsiteX40" fmla="*/ 1931621 w 1988090"/>
                <a:gd name="connsiteY40" fmla="*/ 1695443 h 3089947"/>
                <a:gd name="connsiteX41" fmla="*/ 1988055 w 1988090"/>
                <a:gd name="connsiteY41" fmla="*/ 1551668 h 3089947"/>
                <a:gd name="connsiteX42" fmla="*/ 1861233 w 1988090"/>
                <a:gd name="connsiteY42" fmla="*/ 305552 h 3089947"/>
                <a:gd name="connsiteX43" fmla="*/ 1625465 w 1988090"/>
                <a:gd name="connsiteY43" fmla="*/ 11966 h 3089947"/>
                <a:gd name="connsiteX44" fmla="*/ 1536585 w 1988090"/>
                <a:gd name="connsiteY44" fmla="*/ 279 h 308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988090" h="3089947">
                  <a:moveTo>
                    <a:pt x="1536585" y="279"/>
                  </a:moveTo>
                  <a:cubicBezTo>
                    <a:pt x="1521939" y="971"/>
                    <a:pt x="1507676" y="3008"/>
                    <a:pt x="1493799" y="6084"/>
                  </a:cubicBezTo>
                  <a:cubicBezTo>
                    <a:pt x="1361787" y="126870"/>
                    <a:pt x="1186643" y="201257"/>
                    <a:pt x="994045" y="201257"/>
                  </a:cubicBezTo>
                  <a:cubicBezTo>
                    <a:pt x="801448" y="201257"/>
                    <a:pt x="626342" y="126870"/>
                    <a:pt x="494330" y="6122"/>
                  </a:cubicBezTo>
                  <a:cubicBezTo>
                    <a:pt x="480414" y="3047"/>
                    <a:pt x="466075" y="1009"/>
                    <a:pt x="451390" y="317"/>
                  </a:cubicBezTo>
                  <a:cubicBezTo>
                    <a:pt x="422827" y="-1028"/>
                    <a:pt x="392996" y="2432"/>
                    <a:pt x="362549" y="12004"/>
                  </a:cubicBezTo>
                  <a:cubicBezTo>
                    <a:pt x="277591" y="38683"/>
                    <a:pt x="193133" y="92772"/>
                    <a:pt x="126819" y="305590"/>
                  </a:cubicBezTo>
                  <a:cubicBezTo>
                    <a:pt x="60506" y="518408"/>
                    <a:pt x="12337" y="889994"/>
                    <a:pt x="36" y="1551706"/>
                  </a:cubicBezTo>
                  <a:cubicBezTo>
                    <a:pt x="-1002" y="1607409"/>
                    <a:pt x="20641" y="1658308"/>
                    <a:pt x="56470" y="1695481"/>
                  </a:cubicBezTo>
                  <a:cubicBezTo>
                    <a:pt x="92298" y="1732655"/>
                    <a:pt x="142312" y="1756221"/>
                    <a:pt x="198053" y="1757220"/>
                  </a:cubicBezTo>
                  <a:cubicBezTo>
                    <a:pt x="198707" y="1757220"/>
                    <a:pt x="199322" y="1757220"/>
                    <a:pt x="199975" y="1757258"/>
                  </a:cubicBezTo>
                  <a:cubicBezTo>
                    <a:pt x="200629" y="1757297"/>
                    <a:pt x="201244" y="1757258"/>
                    <a:pt x="201898" y="1757258"/>
                  </a:cubicBezTo>
                  <a:cubicBezTo>
                    <a:pt x="233920" y="1757258"/>
                    <a:pt x="264136" y="1749647"/>
                    <a:pt x="290969" y="1736154"/>
                  </a:cubicBezTo>
                  <a:cubicBezTo>
                    <a:pt x="317802" y="1722660"/>
                    <a:pt x="341214" y="1703323"/>
                    <a:pt x="359743" y="1679873"/>
                  </a:cubicBezTo>
                  <a:lnTo>
                    <a:pt x="359743" y="2240751"/>
                  </a:lnTo>
                  <a:lnTo>
                    <a:pt x="359743" y="2801628"/>
                  </a:lnTo>
                  <a:cubicBezTo>
                    <a:pt x="359743" y="2881243"/>
                    <a:pt x="391996" y="2953323"/>
                    <a:pt x="444201" y="3005489"/>
                  </a:cubicBezTo>
                  <a:cubicBezTo>
                    <a:pt x="496406" y="3057656"/>
                    <a:pt x="568447" y="3089947"/>
                    <a:pt x="648062" y="3089947"/>
                  </a:cubicBezTo>
                  <a:cubicBezTo>
                    <a:pt x="727677" y="3089947"/>
                    <a:pt x="799757" y="3057694"/>
                    <a:pt x="851923" y="3005489"/>
                  </a:cubicBezTo>
                  <a:cubicBezTo>
                    <a:pt x="904090" y="2953284"/>
                    <a:pt x="936382" y="2881243"/>
                    <a:pt x="936382" y="2801628"/>
                  </a:cubicBezTo>
                  <a:lnTo>
                    <a:pt x="936382" y="2340317"/>
                  </a:lnTo>
                  <a:lnTo>
                    <a:pt x="936382" y="1879006"/>
                  </a:lnTo>
                  <a:lnTo>
                    <a:pt x="994045" y="1879006"/>
                  </a:lnTo>
                  <a:lnTo>
                    <a:pt x="1051709" y="1879006"/>
                  </a:lnTo>
                  <a:lnTo>
                    <a:pt x="1051709" y="2340317"/>
                  </a:lnTo>
                  <a:lnTo>
                    <a:pt x="1051709" y="2801628"/>
                  </a:lnTo>
                  <a:cubicBezTo>
                    <a:pt x="1051709" y="2881243"/>
                    <a:pt x="1083962" y="2953323"/>
                    <a:pt x="1136167" y="3005489"/>
                  </a:cubicBezTo>
                  <a:cubicBezTo>
                    <a:pt x="1188372" y="3057656"/>
                    <a:pt x="1260414" y="3089947"/>
                    <a:pt x="1340029" y="3089947"/>
                  </a:cubicBezTo>
                  <a:cubicBezTo>
                    <a:pt x="1419643" y="3089947"/>
                    <a:pt x="1491723" y="3057694"/>
                    <a:pt x="1543889" y="3005489"/>
                  </a:cubicBezTo>
                  <a:cubicBezTo>
                    <a:pt x="1596056" y="2953284"/>
                    <a:pt x="1628348" y="2881243"/>
                    <a:pt x="1628348" y="2801628"/>
                  </a:cubicBezTo>
                  <a:lnTo>
                    <a:pt x="1628348" y="2263432"/>
                  </a:lnTo>
                  <a:lnTo>
                    <a:pt x="1628348" y="1725313"/>
                  </a:lnTo>
                  <a:cubicBezTo>
                    <a:pt x="1628348" y="1725274"/>
                    <a:pt x="1628348" y="1725274"/>
                    <a:pt x="1628348" y="1725236"/>
                  </a:cubicBezTo>
                  <a:cubicBezTo>
                    <a:pt x="1628348" y="1725197"/>
                    <a:pt x="1628348" y="1725197"/>
                    <a:pt x="1628348" y="1725159"/>
                  </a:cubicBezTo>
                  <a:lnTo>
                    <a:pt x="1628348" y="1702478"/>
                  </a:lnTo>
                  <a:lnTo>
                    <a:pt x="1628348" y="1679797"/>
                  </a:lnTo>
                  <a:cubicBezTo>
                    <a:pt x="1646839" y="1703247"/>
                    <a:pt x="1670289" y="1722622"/>
                    <a:pt x="1697122" y="1736115"/>
                  </a:cubicBezTo>
                  <a:cubicBezTo>
                    <a:pt x="1723955" y="1749609"/>
                    <a:pt x="1754170" y="1757220"/>
                    <a:pt x="1786193" y="1757220"/>
                  </a:cubicBezTo>
                  <a:cubicBezTo>
                    <a:pt x="1786847" y="1757220"/>
                    <a:pt x="1787461" y="1757220"/>
                    <a:pt x="1788115" y="1757220"/>
                  </a:cubicBezTo>
                  <a:cubicBezTo>
                    <a:pt x="1788769" y="1757220"/>
                    <a:pt x="1789384" y="1757220"/>
                    <a:pt x="1790037" y="1757182"/>
                  </a:cubicBezTo>
                  <a:cubicBezTo>
                    <a:pt x="1845779" y="1756144"/>
                    <a:pt x="1895793" y="1732617"/>
                    <a:pt x="1931621" y="1695443"/>
                  </a:cubicBezTo>
                  <a:cubicBezTo>
                    <a:pt x="1967450" y="1658269"/>
                    <a:pt x="1989093" y="1607371"/>
                    <a:pt x="1988055" y="1551668"/>
                  </a:cubicBezTo>
                  <a:cubicBezTo>
                    <a:pt x="1975715" y="889955"/>
                    <a:pt x="1927585" y="518370"/>
                    <a:pt x="1861233" y="305552"/>
                  </a:cubicBezTo>
                  <a:cubicBezTo>
                    <a:pt x="1794881" y="92733"/>
                    <a:pt x="1710423" y="38683"/>
                    <a:pt x="1625465" y="11966"/>
                  </a:cubicBezTo>
                  <a:cubicBezTo>
                    <a:pt x="1594980" y="2393"/>
                    <a:pt x="1565148" y="-1066"/>
                    <a:pt x="1536585" y="27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3678ED08-8415-4731-8217-7A4D3971E968}"/>
                </a:ext>
              </a:extLst>
            </p:cNvPr>
            <p:cNvSpPr/>
            <p:nvPr/>
          </p:nvSpPr>
          <p:spPr>
            <a:xfrm>
              <a:off x="-3541246" y="2609288"/>
              <a:ext cx="1176265" cy="1176265"/>
            </a:xfrm>
            <a:custGeom>
              <a:avLst/>
              <a:gdLst>
                <a:gd name="connsiteX0" fmla="*/ 1176266 w 1176265"/>
                <a:gd name="connsiteY0" fmla="*/ 588133 h 1176265"/>
                <a:gd name="connsiteX1" fmla="*/ 588133 w 1176265"/>
                <a:gd name="connsiteY1" fmla="*/ 1176266 h 1176265"/>
                <a:gd name="connsiteX2" fmla="*/ 0 w 1176265"/>
                <a:gd name="connsiteY2" fmla="*/ 588133 h 1176265"/>
                <a:gd name="connsiteX3" fmla="*/ 588133 w 1176265"/>
                <a:gd name="connsiteY3" fmla="*/ 0 h 1176265"/>
                <a:gd name="connsiteX4" fmla="*/ 1176266 w 1176265"/>
                <a:gd name="connsiteY4" fmla="*/ 588133 h 117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6265" h="1176265">
                  <a:moveTo>
                    <a:pt x="1176266" y="588133"/>
                  </a:moveTo>
                  <a:cubicBezTo>
                    <a:pt x="1176266" y="912950"/>
                    <a:pt x="912950" y="1176266"/>
                    <a:pt x="588133" y="1176266"/>
                  </a:cubicBezTo>
                  <a:cubicBezTo>
                    <a:pt x="263316" y="1176266"/>
                    <a:pt x="0" y="912950"/>
                    <a:pt x="0" y="588133"/>
                  </a:cubicBezTo>
                  <a:cubicBezTo>
                    <a:pt x="0" y="263316"/>
                    <a:pt x="263316" y="0"/>
                    <a:pt x="588133" y="0"/>
                  </a:cubicBezTo>
                  <a:cubicBezTo>
                    <a:pt x="912950" y="0"/>
                    <a:pt x="1176266" y="263316"/>
                    <a:pt x="1176266" y="5881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6A392245-FA65-4C6F-842C-90DAA76FB06E}"/>
                </a:ext>
              </a:extLst>
            </p:cNvPr>
            <p:cNvSpPr/>
            <p:nvPr/>
          </p:nvSpPr>
          <p:spPr>
            <a:xfrm>
              <a:off x="-1697617" y="2605328"/>
              <a:ext cx="956528" cy="4223685"/>
            </a:xfrm>
            <a:custGeom>
              <a:avLst/>
              <a:gdLst>
                <a:gd name="connsiteX0" fmla="*/ 956528 w 956528"/>
                <a:gd name="connsiteY0" fmla="*/ 4223686 h 4223685"/>
                <a:gd name="connsiteX1" fmla="*/ 956528 w 956528"/>
                <a:gd name="connsiteY1" fmla="*/ 0 h 4223685"/>
                <a:gd name="connsiteX2" fmla="*/ 900248 w 956528"/>
                <a:gd name="connsiteY2" fmla="*/ 0 h 4223685"/>
                <a:gd name="connsiteX3" fmla="*/ 900248 w 956528"/>
                <a:gd name="connsiteY3" fmla="*/ 4167445 h 4223685"/>
                <a:gd name="connsiteX4" fmla="*/ 56280 w 956528"/>
                <a:gd name="connsiteY4" fmla="*/ 4167445 h 4223685"/>
                <a:gd name="connsiteX5" fmla="*/ 56280 w 956528"/>
                <a:gd name="connsiteY5" fmla="*/ 3998643 h 4223685"/>
                <a:gd name="connsiteX6" fmla="*/ 337603 w 956528"/>
                <a:gd name="connsiteY6" fmla="*/ 3998643 h 4223685"/>
                <a:gd name="connsiteX7" fmla="*/ 337603 w 956528"/>
                <a:gd name="connsiteY7" fmla="*/ 3942363 h 4223685"/>
                <a:gd name="connsiteX8" fmla="*/ 56280 w 956528"/>
                <a:gd name="connsiteY8" fmla="*/ 3942363 h 4223685"/>
                <a:gd name="connsiteX9" fmla="*/ 56280 w 956528"/>
                <a:gd name="connsiteY9" fmla="*/ 3773562 h 4223685"/>
                <a:gd name="connsiteX10" fmla="*/ 337603 w 956528"/>
                <a:gd name="connsiteY10" fmla="*/ 3773562 h 4223685"/>
                <a:gd name="connsiteX11" fmla="*/ 337603 w 956528"/>
                <a:gd name="connsiteY11" fmla="*/ 3717321 h 4223685"/>
                <a:gd name="connsiteX12" fmla="*/ 56280 w 956528"/>
                <a:gd name="connsiteY12" fmla="*/ 3717321 h 4223685"/>
                <a:gd name="connsiteX13" fmla="*/ 56280 w 956528"/>
                <a:gd name="connsiteY13" fmla="*/ 3548519 h 4223685"/>
                <a:gd name="connsiteX14" fmla="*/ 337603 w 956528"/>
                <a:gd name="connsiteY14" fmla="*/ 3548519 h 4223685"/>
                <a:gd name="connsiteX15" fmla="*/ 337603 w 956528"/>
                <a:gd name="connsiteY15" fmla="*/ 3492239 h 4223685"/>
                <a:gd name="connsiteX16" fmla="*/ 56280 w 956528"/>
                <a:gd name="connsiteY16" fmla="*/ 3492239 h 4223685"/>
                <a:gd name="connsiteX17" fmla="*/ 56280 w 956528"/>
                <a:gd name="connsiteY17" fmla="*/ 3323438 h 4223685"/>
                <a:gd name="connsiteX18" fmla="*/ 675205 w 956528"/>
                <a:gd name="connsiteY18" fmla="*/ 3323438 h 4223685"/>
                <a:gd name="connsiteX19" fmla="*/ 675205 w 956528"/>
                <a:gd name="connsiteY19" fmla="*/ 3267158 h 4223685"/>
                <a:gd name="connsiteX20" fmla="*/ 56280 w 956528"/>
                <a:gd name="connsiteY20" fmla="*/ 3267158 h 4223685"/>
                <a:gd name="connsiteX21" fmla="*/ 56280 w 956528"/>
                <a:gd name="connsiteY21" fmla="*/ 3098395 h 4223685"/>
                <a:gd name="connsiteX22" fmla="*/ 337603 w 956528"/>
                <a:gd name="connsiteY22" fmla="*/ 3098395 h 4223685"/>
                <a:gd name="connsiteX23" fmla="*/ 337603 w 956528"/>
                <a:gd name="connsiteY23" fmla="*/ 3042115 h 4223685"/>
                <a:gd name="connsiteX24" fmla="*/ 56280 w 956528"/>
                <a:gd name="connsiteY24" fmla="*/ 3042115 h 4223685"/>
                <a:gd name="connsiteX25" fmla="*/ 56280 w 956528"/>
                <a:gd name="connsiteY25" fmla="*/ 2873314 h 4223685"/>
                <a:gd name="connsiteX26" fmla="*/ 337603 w 956528"/>
                <a:gd name="connsiteY26" fmla="*/ 2873314 h 4223685"/>
                <a:gd name="connsiteX27" fmla="*/ 337603 w 956528"/>
                <a:gd name="connsiteY27" fmla="*/ 2817034 h 4223685"/>
                <a:gd name="connsiteX28" fmla="*/ 56280 w 956528"/>
                <a:gd name="connsiteY28" fmla="*/ 2817034 h 4223685"/>
                <a:gd name="connsiteX29" fmla="*/ 56280 w 956528"/>
                <a:gd name="connsiteY29" fmla="*/ 2648233 h 4223685"/>
                <a:gd name="connsiteX30" fmla="*/ 337603 w 956528"/>
                <a:gd name="connsiteY30" fmla="*/ 2648233 h 4223685"/>
                <a:gd name="connsiteX31" fmla="*/ 337603 w 956528"/>
                <a:gd name="connsiteY31" fmla="*/ 2591991 h 4223685"/>
                <a:gd name="connsiteX32" fmla="*/ 56280 w 956528"/>
                <a:gd name="connsiteY32" fmla="*/ 2591991 h 4223685"/>
                <a:gd name="connsiteX33" fmla="*/ 56280 w 956528"/>
                <a:gd name="connsiteY33" fmla="*/ 2423190 h 4223685"/>
                <a:gd name="connsiteX34" fmla="*/ 675205 w 956528"/>
                <a:gd name="connsiteY34" fmla="*/ 2423190 h 4223685"/>
                <a:gd name="connsiteX35" fmla="*/ 675205 w 956528"/>
                <a:gd name="connsiteY35" fmla="*/ 2366909 h 4223685"/>
                <a:gd name="connsiteX36" fmla="*/ 56280 w 956528"/>
                <a:gd name="connsiteY36" fmla="*/ 2366909 h 4223685"/>
                <a:gd name="connsiteX37" fmla="*/ 56280 w 956528"/>
                <a:gd name="connsiteY37" fmla="*/ 2198108 h 4223685"/>
                <a:gd name="connsiteX38" fmla="*/ 337603 w 956528"/>
                <a:gd name="connsiteY38" fmla="*/ 2198108 h 4223685"/>
                <a:gd name="connsiteX39" fmla="*/ 337603 w 956528"/>
                <a:gd name="connsiteY39" fmla="*/ 2141867 h 4223685"/>
                <a:gd name="connsiteX40" fmla="*/ 56280 w 956528"/>
                <a:gd name="connsiteY40" fmla="*/ 2141867 h 4223685"/>
                <a:gd name="connsiteX41" fmla="*/ 56280 w 956528"/>
                <a:gd name="connsiteY41" fmla="*/ 1973065 h 4223685"/>
                <a:gd name="connsiteX42" fmla="*/ 337603 w 956528"/>
                <a:gd name="connsiteY42" fmla="*/ 1973065 h 4223685"/>
                <a:gd name="connsiteX43" fmla="*/ 337603 w 956528"/>
                <a:gd name="connsiteY43" fmla="*/ 1916785 h 4223685"/>
                <a:gd name="connsiteX44" fmla="*/ 56280 w 956528"/>
                <a:gd name="connsiteY44" fmla="*/ 1916785 h 4223685"/>
                <a:gd name="connsiteX45" fmla="*/ 56280 w 956528"/>
                <a:gd name="connsiteY45" fmla="*/ 1747984 h 4223685"/>
                <a:gd name="connsiteX46" fmla="*/ 337603 w 956528"/>
                <a:gd name="connsiteY46" fmla="*/ 1747984 h 4223685"/>
                <a:gd name="connsiteX47" fmla="*/ 337603 w 956528"/>
                <a:gd name="connsiteY47" fmla="*/ 1691704 h 4223685"/>
                <a:gd name="connsiteX48" fmla="*/ 56280 w 956528"/>
                <a:gd name="connsiteY48" fmla="*/ 1691704 h 4223685"/>
                <a:gd name="connsiteX49" fmla="*/ 56280 w 956528"/>
                <a:gd name="connsiteY49" fmla="*/ 1522941 h 4223685"/>
                <a:gd name="connsiteX50" fmla="*/ 675205 w 956528"/>
                <a:gd name="connsiteY50" fmla="*/ 1522941 h 4223685"/>
                <a:gd name="connsiteX51" fmla="*/ 675205 w 956528"/>
                <a:gd name="connsiteY51" fmla="*/ 1466661 h 4223685"/>
                <a:gd name="connsiteX52" fmla="*/ 56280 w 956528"/>
                <a:gd name="connsiteY52" fmla="*/ 1466661 h 4223685"/>
                <a:gd name="connsiteX53" fmla="*/ 56280 w 956528"/>
                <a:gd name="connsiteY53" fmla="*/ 1297860 h 4223685"/>
                <a:gd name="connsiteX54" fmla="*/ 337603 w 956528"/>
                <a:gd name="connsiteY54" fmla="*/ 1297860 h 4223685"/>
                <a:gd name="connsiteX55" fmla="*/ 337603 w 956528"/>
                <a:gd name="connsiteY55" fmla="*/ 1241580 h 4223685"/>
                <a:gd name="connsiteX56" fmla="*/ 56280 w 956528"/>
                <a:gd name="connsiteY56" fmla="*/ 1241580 h 4223685"/>
                <a:gd name="connsiteX57" fmla="*/ 56280 w 956528"/>
                <a:gd name="connsiteY57" fmla="*/ 1072779 h 4223685"/>
                <a:gd name="connsiteX58" fmla="*/ 337603 w 956528"/>
                <a:gd name="connsiteY58" fmla="*/ 1072779 h 4223685"/>
                <a:gd name="connsiteX59" fmla="*/ 337603 w 956528"/>
                <a:gd name="connsiteY59" fmla="*/ 1016537 h 4223685"/>
                <a:gd name="connsiteX60" fmla="*/ 56280 w 956528"/>
                <a:gd name="connsiteY60" fmla="*/ 1016537 h 4223685"/>
                <a:gd name="connsiteX61" fmla="*/ 56280 w 956528"/>
                <a:gd name="connsiteY61" fmla="*/ 847736 h 4223685"/>
                <a:gd name="connsiteX62" fmla="*/ 337603 w 956528"/>
                <a:gd name="connsiteY62" fmla="*/ 847736 h 4223685"/>
                <a:gd name="connsiteX63" fmla="*/ 337603 w 956528"/>
                <a:gd name="connsiteY63" fmla="*/ 791456 h 4223685"/>
                <a:gd name="connsiteX64" fmla="*/ 56280 w 956528"/>
                <a:gd name="connsiteY64" fmla="*/ 791456 h 4223685"/>
                <a:gd name="connsiteX65" fmla="*/ 56280 w 956528"/>
                <a:gd name="connsiteY65" fmla="*/ 622654 h 4223685"/>
                <a:gd name="connsiteX66" fmla="*/ 675205 w 956528"/>
                <a:gd name="connsiteY66" fmla="*/ 622654 h 4223685"/>
                <a:gd name="connsiteX67" fmla="*/ 675205 w 956528"/>
                <a:gd name="connsiteY67" fmla="*/ 566413 h 4223685"/>
                <a:gd name="connsiteX68" fmla="*/ 56280 w 956528"/>
                <a:gd name="connsiteY68" fmla="*/ 566413 h 4223685"/>
                <a:gd name="connsiteX69" fmla="*/ 56280 w 956528"/>
                <a:gd name="connsiteY69" fmla="*/ 397612 h 4223685"/>
                <a:gd name="connsiteX70" fmla="*/ 337603 w 956528"/>
                <a:gd name="connsiteY70" fmla="*/ 397612 h 4223685"/>
                <a:gd name="connsiteX71" fmla="*/ 337603 w 956528"/>
                <a:gd name="connsiteY71" fmla="*/ 341332 h 4223685"/>
                <a:gd name="connsiteX72" fmla="*/ 56280 w 956528"/>
                <a:gd name="connsiteY72" fmla="*/ 341332 h 4223685"/>
                <a:gd name="connsiteX73" fmla="*/ 56280 w 956528"/>
                <a:gd name="connsiteY73" fmla="*/ 172530 h 4223685"/>
                <a:gd name="connsiteX74" fmla="*/ 337603 w 956528"/>
                <a:gd name="connsiteY74" fmla="*/ 172530 h 4223685"/>
                <a:gd name="connsiteX75" fmla="*/ 337603 w 956528"/>
                <a:gd name="connsiteY75" fmla="*/ 116250 h 4223685"/>
                <a:gd name="connsiteX76" fmla="*/ 56280 w 956528"/>
                <a:gd name="connsiteY76" fmla="*/ 116250 h 4223685"/>
                <a:gd name="connsiteX77" fmla="*/ 56280 w 956528"/>
                <a:gd name="connsiteY77" fmla="*/ 0 h 4223685"/>
                <a:gd name="connsiteX78" fmla="*/ 0 w 956528"/>
                <a:gd name="connsiteY78" fmla="*/ 0 h 4223685"/>
                <a:gd name="connsiteX79" fmla="*/ 0 w 956528"/>
                <a:gd name="connsiteY79" fmla="*/ 4223686 h 4223685"/>
                <a:gd name="connsiteX80" fmla="*/ 56280 w 956528"/>
                <a:gd name="connsiteY80" fmla="*/ 4223686 h 4223685"/>
                <a:gd name="connsiteX81" fmla="*/ 900248 w 956528"/>
                <a:gd name="connsiteY81" fmla="*/ 4223686 h 422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956528" h="4223685">
                  <a:moveTo>
                    <a:pt x="956528" y="4223686"/>
                  </a:moveTo>
                  <a:lnTo>
                    <a:pt x="956528" y="0"/>
                  </a:lnTo>
                  <a:lnTo>
                    <a:pt x="900248" y="0"/>
                  </a:lnTo>
                  <a:lnTo>
                    <a:pt x="900248" y="4167445"/>
                  </a:lnTo>
                  <a:lnTo>
                    <a:pt x="56280" y="4167445"/>
                  </a:lnTo>
                  <a:lnTo>
                    <a:pt x="56280" y="3998643"/>
                  </a:lnTo>
                  <a:lnTo>
                    <a:pt x="337603" y="3998643"/>
                  </a:lnTo>
                  <a:lnTo>
                    <a:pt x="337603" y="3942363"/>
                  </a:lnTo>
                  <a:lnTo>
                    <a:pt x="56280" y="3942363"/>
                  </a:lnTo>
                  <a:lnTo>
                    <a:pt x="56280" y="3773562"/>
                  </a:lnTo>
                  <a:lnTo>
                    <a:pt x="337603" y="3773562"/>
                  </a:lnTo>
                  <a:lnTo>
                    <a:pt x="337603" y="3717321"/>
                  </a:lnTo>
                  <a:lnTo>
                    <a:pt x="56280" y="3717321"/>
                  </a:lnTo>
                  <a:lnTo>
                    <a:pt x="56280" y="3548519"/>
                  </a:lnTo>
                  <a:lnTo>
                    <a:pt x="337603" y="3548519"/>
                  </a:lnTo>
                  <a:lnTo>
                    <a:pt x="337603" y="3492239"/>
                  </a:lnTo>
                  <a:lnTo>
                    <a:pt x="56280" y="3492239"/>
                  </a:lnTo>
                  <a:lnTo>
                    <a:pt x="56280" y="3323438"/>
                  </a:lnTo>
                  <a:lnTo>
                    <a:pt x="675205" y="3323438"/>
                  </a:lnTo>
                  <a:lnTo>
                    <a:pt x="675205" y="3267158"/>
                  </a:lnTo>
                  <a:lnTo>
                    <a:pt x="56280" y="3267158"/>
                  </a:lnTo>
                  <a:lnTo>
                    <a:pt x="56280" y="3098395"/>
                  </a:lnTo>
                  <a:lnTo>
                    <a:pt x="337603" y="3098395"/>
                  </a:lnTo>
                  <a:lnTo>
                    <a:pt x="337603" y="3042115"/>
                  </a:lnTo>
                  <a:lnTo>
                    <a:pt x="56280" y="3042115"/>
                  </a:lnTo>
                  <a:lnTo>
                    <a:pt x="56280" y="2873314"/>
                  </a:lnTo>
                  <a:lnTo>
                    <a:pt x="337603" y="2873314"/>
                  </a:lnTo>
                  <a:lnTo>
                    <a:pt x="337603" y="2817034"/>
                  </a:lnTo>
                  <a:lnTo>
                    <a:pt x="56280" y="2817034"/>
                  </a:lnTo>
                  <a:lnTo>
                    <a:pt x="56280" y="2648233"/>
                  </a:lnTo>
                  <a:lnTo>
                    <a:pt x="337603" y="2648233"/>
                  </a:lnTo>
                  <a:lnTo>
                    <a:pt x="337603" y="2591991"/>
                  </a:lnTo>
                  <a:lnTo>
                    <a:pt x="56280" y="2591991"/>
                  </a:lnTo>
                  <a:lnTo>
                    <a:pt x="56280" y="2423190"/>
                  </a:lnTo>
                  <a:lnTo>
                    <a:pt x="675205" y="2423190"/>
                  </a:lnTo>
                  <a:lnTo>
                    <a:pt x="675205" y="2366909"/>
                  </a:lnTo>
                  <a:lnTo>
                    <a:pt x="56280" y="2366909"/>
                  </a:lnTo>
                  <a:lnTo>
                    <a:pt x="56280" y="2198108"/>
                  </a:lnTo>
                  <a:lnTo>
                    <a:pt x="337603" y="2198108"/>
                  </a:lnTo>
                  <a:lnTo>
                    <a:pt x="337603" y="2141867"/>
                  </a:lnTo>
                  <a:lnTo>
                    <a:pt x="56280" y="2141867"/>
                  </a:lnTo>
                  <a:lnTo>
                    <a:pt x="56280" y="1973065"/>
                  </a:lnTo>
                  <a:lnTo>
                    <a:pt x="337603" y="1973065"/>
                  </a:lnTo>
                  <a:lnTo>
                    <a:pt x="337603" y="1916785"/>
                  </a:lnTo>
                  <a:lnTo>
                    <a:pt x="56280" y="1916785"/>
                  </a:lnTo>
                  <a:lnTo>
                    <a:pt x="56280" y="1747984"/>
                  </a:lnTo>
                  <a:lnTo>
                    <a:pt x="337603" y="1747984"/>
                  </a:lnTo>
                  <a:lnTo>
                    <a:pt x="337603" y="1691704"/>
                  </a:lnTo>
                  <a:lnTo>
                    <a:pt x="56280" y="1691704"/>
                  </a:lnTo>
                  <a:lnTo>
                    <a:pt x="56280" y="1522941"/>
                  </a:lnTo>
                  <a:lnTo>
                    <a:pt x="675205" y="1522941"/>
                  </a:lnTo>
                  <a:lnTo>
                    <a:pt x="675205" y="1466661"/>
                  </a:lnTo>
                  <a:lnTo>
                    <a:pt x="56280" y="1466661"/>
                  </a:lnTo>
                  <a:lnTo>
                    <a:pt x="56280" y="1297860"/>
                  </a:lnTo>
                  <a:lnTo>
                    <a:pt x="337603" y="1297860"/>
                  </a:lnTo>
                  <a:lnTo>
                    <a:pt x="337603" y="1241580"/>
                  </a:lnTo>
                  <a:lnTo>
                    <a:pt x="56280" y="1241580"/>
                  </a:lnTo>
                  <a:lnTo>
                    <a:pt x="56280" y="1072779"/>
                  </a:lnTo>
                  <a:lnTo>
                    <a:pt x="337603" y="1072779"/>
                  </a:lnTo>
                  <a:lnTo>
                    <a:pt x="337603" y="1016537"/>
                  </a:lnTo>
                  <a:lnTo>
                    <a:pt x="56280" y="1016537"/>
                  </a:lnTo>
                  <a:lnTo>
                    <a:pt x="56280" y="847736"/>
                  </a:lnTo>
                  <a:lnTo>
                    <a:pt x="337603" y="847736"/>
                  </a:lnTo>
                  <a:lnTo>
                    <a:pt x="337603" y="791456"/>
                  </a:lnTo>
                  <a:lnTo>
                    <a:pt x="56280" y="791456"/>
                  </a:lnTo>
                  <a:lnTo>
                    <a:pt x="56280" y="622654"/>
                  </a:lnTo>
                  <a:lnTo>
                    <a:pt x="675205" y="622654"/>
                  </a:lnTo>
                  <a:lnTo>
                    <a:pt x="675205" y="566413"/>
                  </a:lnTo>
                  <a:lnTo>
                    <a:pt x="56280" y="566413"/>
                  </a:lnTo>
                  <a:lnTo>
                    <a:pt x="56280" y="397612"/>
                  </a:lnTo>
                  <a:lnTo>
                    <a:pt x="337603" y="397612"/>
                  </a:lnTo>
                  <a:lnTo>
                    <a:pt x="337603" y="341332"/>
                  </a:lnTo>
                  <a:lnTo>
                    <a:pt x="56280" y="341332"/>
                  </a:lnTo>
                  <a:lnTo>
                    <a:pt x="56280" y="172530"/>
                  </a:lnTo>
                  <a:lnTo>
                    <a:pt x="337603" y="172530"/>
                  </a:lnTo>
                  <a:lnTo>
                    <a:pt x="337603" y="116250"/>
                  </a:lnTo>
                  <a:lnTo>
                    <a:pt x="56280" y="116250"/>
                  </a:lnTo>
                  <a:lnTo>
                    <a:pt x="56280" y="0"/>
                  </a:lnTo>
                  <a:lnTo>
                    <a:pt x="0" y="0"/>
                  </a:lnTo>
                  <a:lnTo>
                    <a:pt x="0" y="4223686"/>
                  </a:lnTo>
                  <a:lnTo>
                    <a:pt x="56280" y="4223686"/>
                  </a:lnTo>
                  <a:lnTo>
                    <a:pt x="900248" y="42236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AE0907D5-9FA5-4A66-93AE-6A88D1BBF9A8}"/>
                </a:ext>
              </a:extLst>
            </p:cNvPr>
            <p:cNvSpPr/>
            <p:nvPr/>
          </p:nvSpPr>
          <p:spPr>
            <a:xfrm>
              <a:off x="-1697617" y="1719597"/>
              <a:ext cx="337603" cy="538326"/>
            </a:xfrm>
            <a:custGeom>
              <a:avLst/>
              <a:gdLst>
                <a:gd name="connsiteX0" fmla="*/ 0 w 337603"/>
                <a:gd name="connsiteY0" fmla="*/ 0 h 538326"/>
                <a:gd name="connsiteX1" fmla="*/ 56280 w 337603"/>
                <a:gd name="connsiteY1" fmla="*/ 0 h 538326"/>
                <a:gd name="connsiteX2" fmla="*/ 56280 w 337603"/>
                <a:gd name="connsiteY2" fmla="*/ 101734 h 538326"/>
                <a:gd name="connsiteX3" fmla="*/ 337603 w 337603"/>
                <a:gd name="connsiteY3" fmla="*/ 101734 h 538326"/>
                <a:gd name="connsiteX4" fmla="*/ 337603 w 337603"/>
                <a:gd name="connsiteY4" fmla="*/ 158014 h 538326"/>
                <a:gd name="connsiteX5" fmla="*/ 56280 w 337603"/>
                <a:gd name="connsiteY5" fmla="*/ 158014 h 538326"/>
                <a:gd name="connsiteX6" fmla="*/ 56280 w 337603"/>
                <a:gd name="connsiteY6" fmla="*/ 326815 h 538326"/>
                <a:gd name="connsiteX7" fmla="*/ 337603 w 337603"/>
                <a:gd name="connsiteY7" fmla="*/ 326815 h 538326"/>
                <a:gd name="connsiteX8" fmla="*/ 337603 w 337603"/>
                <a:gd name="connsiteY8" fmla="*/ 383056 h 538326"/>
                <a:gd name="connsiteX9" fmla="*/ 56280 w 337603"/>
                <a:gd name="connsiteY9" fmla="*/ 383056 h 538326"/>
                <a:gd name="connsiteX10" fmla="*/ 56280 w 337603"/>
                <a:gd name="connsiteY10" fmla="*/ 538326 h 538326"/>
                <a:gd name="connsiteX11" fmla="*/ 0 w 337603"/>
                <a:gd name="connsiteY11" fmla="*/ 538326 h 538326"/>
                <a:gd name="connsiteX12" fmla="*/ 0 w 337603"/>
                <a:gd name="connsiteY12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7603" h="538326">
                  <a:moveTo>
                    <a:pt x="0" y="0"/>
                  </a:moveTo>
                  <a:lnTo>
                    <a:pt x="56280" y="0"/>
                  </a:lnTo>
                  <a:lnTo>
                    <a:pt x="56280" y="101734"/>
                  </a:lnTo>
                  <a:lnTo>
                    <a:pt x="337603" y="101734"/>
                  </a:lnTo>
                  <a:lnTo>
                    <a:pt x="337603" y="158014"/>
                  </a:lnTo>
                  <a:lnTo>
                    <a:pt x="56280" y="158014"/>
                  </a:lnTo>
                  <a:lnTo>
                    <a:pt x="56280" y="326815"/>
                  </a:lnTo>
                  <a:lnTo>
                    <a:pt x="337603" y="326815"/>
                  </a:lnTo>
                  <a:lnTo>
                    <a:pt x="337603" y="383056"/>
                  </a:lnTo>
                  <a:lnTo>
                    <a:pt x="56280" y="383056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F3D45FCB-1B3F-4893-ADAA-3CC2494FA775}"/>
                </a:ext>
              </a:extLst>
            </p:cNvPr>
            <p:cNvSpPr/>
            <p:nvPr/>
          </p:nvSpPr>
          <p:spPr>
            <a:xfrm>
              <a:off x="-797368" y="1719597"/>
              <a:ext cx="56280" cy="538326"/>
            </a:xfrm>
            <a:custGeom>
              <a:avLst/>
              <a:gdLst>
                <a:gd name="connsiteX0" fmla="*/ 0 w 56280"/>
                <a:gd name="connsiteY0" fmla="*/ 0 h 538326"/>
                <a:gd name="connsiteX1" fmla="*/ 56280 w 56280"/>
                <a:gd name="connsiteY1" fmla="*/ 0 h 538326"/>
                <a:gd name="connsiteX2" fmla="*/ 56280 w 56280"/>
                <a:gd name="connsiteY2" fmla="*/ 538326 h 538326"/>
                <a:gd name="connsiteX3" fmla="*/ 0 w 56280"/>
                <a:gd name="connsiteY3" fmla="*/ 538326 h 538326"/>
                <a:gd name="connsiteX4" fmla="*/ 0 w 56280"/>
                <a:gd name="connsiteY4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80" h="538326">
                  <a:moveTo>
                    <a:pt x="0" y="0"/>
                  </a:moveTo>
                  <a:lnTo>
                    <a:pt x="56280" y="0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</p:grpSp>
      <p:sp>
        <p:nvSpPr>
          <p:cNvPr id="58" name="Round Same-side Corner of Rectangle 79">
            <a:extLst>
              <a:ext uri="{FF2B5EF4-FFF2-40B4-BE49-F238E27FC236}">
                <a16:creationId xmlns:a16="http://schemas.microsoft.com/office/drawing/2014/main" id="{79B57244-8F4A-49A4-AD4B-157A96755B3B}"/>
              </a:ext>
            </a:extLst>
          </p:cNvPr>
          <p:cNvSpPr/>
          <p:nvPr userDrawn="1"/>
        </p:nvSpPr>
        <p:spPr>
          <a:xfrm rot="5400000">
            <a:off x="10613117" y="550943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9" name="TextBox 58">
            <a:hlinkClick r:id="" action="ppaction://noaction"/>
            <a:extLst>
              <a:ext uri="{FF2B5EF4-FFF2-40B4-BE49-F238E27FC236}">
                <a16:creationId xmlns:a16="http://schemas.microsoft.com/office/drawing/2014/main" id="{B492BB8C-D584-4066-B9EB-A928E2546203}"/>
              </a:ext>
            </a:extLst>
          </p:cNvPr>
          <p:cNvSpPr txBox="1"/>
          <p:nvPr userDrawn="1"/>
        </p:nvSpPr>
        <p:spPr>
          <a:xfrm>
            <a:off x="10870644" y="555078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60" name="Round Same-side Corner of Rectangle 79">
            <a:extLst>
              <a:ext uri="{FF2B5EF4-FFF2-40B4-BE49-F238E27FC236}">
                <a16:creationId xmlns:a16="http://schemas.microsoft.com/office/drawing/2014/main" id="{B94C6D6C-5613-48F4-B996-6E9FB9D3E4FD}"/>
              </a:ext>
            </a:extLst>
          </p:cNvPr>
          <p:cNvSpPr/>
          <p:nvPr userDrawn="1"/>
        </p:nvSpPr>
        <p:spPr>
          <a:xfrm rot="5400000">
            <a:off x="10613117" y="5784862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1" name="TextBox 60">
            <a:hlinkClick r:id="" action="ppaction://noaction"/>
            <a:extLst>
              <a:ext uri="{FF2B5EF4-FFF2-40B4-BE49-F238E27FC236}">
                <a16:creationId xmlns:a16="http://schemas.microsoft.com/office/drawing/2014/main" id="{4EBA6D87-AA5D-4851-8FDD-0EDF793E0829}"/>
              </a:ext>
            </a:extLst>
          </p:cNvPr>
          <p:cNvSpPr txBox="1"/>
          <p:nvPr userDrawn="1"/>
        </p:nvSpPr>
        <p:spPr>
          <a:xfrm>
            <a:off x="10870644" y="5826211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82" name="Freeform 25">
            <a:extLst>
              <a:ext uri="{FF2B5EF4-FFF2-40B4-BE49-F238E27FC236}">
                <a16:creationId xmlns:a16="http://schemas.microsoft.com/office/drawing/2014/main" id="{688BF289-00C1-4695-AE6A-34B5925C1371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5549100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83" name="Round Same-side Corner of Rectangle 79">
            <a:extLst>
              <a:ext uri="{FF2B5EF4-FFF2-40B4-BE49-F238E27FC236}">
                <a16:creationId xmlns:a16="http://schemas.microsoft.com/office/drawing/2014/main" id="{053878D8-95F0-4F6F-BB52-3F9DD3B27FA7}"/>
              </a:ext>
            </a:extLst>
          </p:cNvPr>
          <p:cNvSpPr/>
          <p:nvPr userDrawn="1"/>
        </p:nvSpPr>
        <p:spPr>
          <a:xfrm rot="5400000">
            <a:off x="10615976" y="606635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84" name="TextBox 83">
            <a:hlinkClick r:id="" action="ppaction://noaction"/>
            <a:extLst>
              <a:ext uri="{FF2B5EF4-FFF2-40B4-BE49-F238E27FC236}">
                <a16:creationId xmlns:a16="http://schemas.microsoft.com/office/drawing/2014/main" id="{3FF8FDB7-F587-4E0A-9548-5E433D469BAC}"/>
              </a:ext>
            </a:extLst>
          </p:cNvPr>
          <p:cNvSpPr txBox="1"/>
          <p:nvPr userDrawn="1"/>
        </p:nvSpPr>
        <p:spPr>
          <a:xfrm>
            <a:off x="10873503" y="6107704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85" name="Freeform 21">
            <a:extLst>
              <a:ext uri="{FF2B5EF4-FFF2-40B4-BE49-F238E27FC236}">
                <a16:creationId xmlns:a16="http://schemas.microsoft.com/office/drawing/2014/main" id="{BA9EE4FD-4CC4-4B27-80E9-1393F495545B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6115929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86" name="Graphic 28" descr="List">
            <a:extLst>
              <a:ext uri="{FF2B5EF4-FFF2-40B4-BE49-F238E27FC236}">
                <a16:creationId xmlns:a16="http://schemas.microsoft.com/office/drawing/2014/main" id="{AC282B24-E1E3-4FA9-94C8-F63DB6C0049C}"/>
              </a:ext>
            </a:extLst>
          </p:cNvPr>
          <p:cNvGrpSpPr/>
          <p:nvPr userDrawn="1"/>
        </p:nvGrpSpPr>
        <p:grpSpPr>
          <a:xfrm>
            <a:off x="10657446" y="5818069"/>
            <a:ext cx="103548" cy="146640"/>
            <a:chOff x="981871" y="1231905"/>
            <a:chExt cx="246063" cy="317501"/>
          </a:xfrm>
        </p:grpSpPr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51A74F79-41D8-4750-AAE7-EB7721D97D70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02C9E8DA-086D-4F78-B912-B14523C41F60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3FAEEC1D-7117-4C68-96F0-61743C4CC940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11085D1C-9CC6-430F-9A2F-FCC49E7DB72B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D1ECC86A-5EEB-4036-BB9F-94F83FAE5973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909BA63D-AB2E-472D-BD72-DAFF96DDBF1E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A83E5977-6E61-43A8-A127-79FDA17FDD8C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5D2E770C-C5FF-4A4B-B19B-B23E0BEB1CD1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271BFB8E-B7A2-4498-9179-B0DF5A2FE038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80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0762F5B9-AB47-43C1-AAC2-2C1152E4DE4E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1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427696E8-7198-45BD-ADFB-BA2923C4CDCE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2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F45E8D05-A0AB-4499-BEB2-C110240491C3}"/>
              </a:ext>
            </a:extLst>
          </p:cNvPr>
          <p:cNvSpPr/>
          <p:nvPr userDrawn="1"/>
        </p:nvSpPr>
        <p:spPr>
          <a:xfrm rot="5400000">
            <a:off x="11280167" y="4840571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422695F7-FFC3-4DB7-A26F-08B3F93472F4}"/>
              </a:ext>
            </a:extLst>
          </p:cNvPr>
          <p:cNvSpPr/>
          <p:nvPr userDrawn="1"/>
        </p:nvSpPr>
        <p:spPr>
          <a:xfrm rot="5400000">
            <a:off x="11280167" y="5116475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BB53EACF-2553-473A-8B0F-A1AFF7FF82EC}"/>
              </a:ext>
            </a:extLst>
          </p:cNvPr>
          <p:cNvSpPr/>
          <p:nvPr userDrawn="1"/>
        </p:nvSpPr>
        <p:spPr>
          <a:xfrm rot="5400000">
            <a:off x="11280167" y="5392379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B5AD3E15-0425-47D0-BA90-9DB9760701A2}"/>
              </a:ext>
            </a:extLst>
          </p:cNvPr>
          <p:cNvSpPr/>
          <p:nvPr userDrawn="1"/>
        </p:nvSpPr>
        <p:spPr>
          <a:xfrm rot="5400000">
            <a:off x="11473096" y="1472755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6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08A0C65E-5456-4CC9-9D58-19E168C790C9}"/>
              </a:ext>
            </a:extLst>
          </p:cNvPr>
          <p:cNvSpPr/>
          <p:nvPr userDrawn="1"/>
        </p:nvSpPr>
        <p:spPr>
          <a:xfrm rot="5400000">
            <a:off x="11473096" y="192820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7" name="Round Same-side Corner of Rectangle 79">
            <a:hlinkClick r:id="rId5" action="ppaction://hlinksldjump"/>
            <a:extLst>
              <a:ext uri="{FF2B5EF4-FFF2-40B4-BE49-F238E27FC236}">
                <a16:creationId xmlns:a16="http://schemas.microsoft.com/office/drawing/2014/main" id="{ADF0B55A-02E7-4F82-87E6-1D3C16BDC5E2}"/>
              </a:ext>
            </a:extLst>
          </p:cNvPr>
          <p:cNvSpPr/>
          <p:nvPr userDrawn="1"/>
        </p:nvSpPr>
        <p:spPr>
          <a:xfrm rot="5400000">
            <a:off x="11473096" y="2380734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8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AB524A75-17B4-4305-A61A-1C27E2EB129D}"/>
              </a:ext>
            </a:extLst>
          </p:cNvPr>
          <p:cNvSpPr/>
          <p:nvPr userDrawn="1"/>
        </p:nvSpPr>
        <p:spPr>
          <a:xfrm rot="5400000">
            <a:off x="11473096" y="2833262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9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34D3CAC1-7415-45C3-BFB6-BB8F077E451C}"/>
              </a:ext>
            </a:extLst>
          </p:cNvPr>
          <p:cNvSpPr/>
          <p:nvPr userDrawn="1"/>
        </p:nvSpPr>
        <p:spPr>
          <a:xfrm rot="5400000">
            <a:off x="11283961" y="3096655"/>
            <a:ext cx="349171" cy="1460557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0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2DA6F459-DB2A-4CD4-8847-CC44F6C4772C}"/>
              </a:ext>
            </a:extLst>
          </p:cNvPr>
          <p:cNvSpPr/>
          <p:nvPr userDrawn="1"/>
        </p:nvSpPr>
        <p:spPr>
          <a:xfrm rot="5400000">
            <a:off x="11473096" y="3738318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1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71D3A311-3428-4E16-A077-A187ED73EB1D}"/>
              </a:ext>
            </a:extLst>
          </p:cNvPr>
          <p:cNvSpPr/>
          <p:nvPr userDrawn="1"/>
        </p:nvSpPr>
        <p:spPr>
          <a:xfrm rot="5400000">
            <a:off x="11473096" y="419084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2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0D9FC965-28A0-4B0C-A2C1-BA04FB672713}"/>
              </a:ext>
            </a:extLst>
          </p:cNvPr>
          <p:cNvSpPr/>
          <p:nvPr userDrawn="1"/>
        </p:nvSpPr>
        <p:spPr>
          <a:xfrm rot="5400000">
            <a:off x="11473096" y="464337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3753193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Pilla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picture containing wall, person&#10;&#10;Description automatically generated">
            <a:extLst>
              <a:ext uri="{FF2B5EF4-FFF2-40B4-BE49-F238E27FC236}">
                <a16:creationId xmlns:a16="http://schemas.microsoft.com/office/drawing/2014/main" id="{6AF02CEA-FD96-4342-A274-5D63750FD2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66358" y="0"/>
            <a:ext cx="10164172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52DACC8-F68A-4E7E-B68C-7F1399D9114E}"/>
              </a:ext>
            </a:extLst>
          </p:cNvPr>
          <p:cNvSpPr/>
          <p:nvPr userDrawn="1"/>
        </p:nvSpPr>
        <p:spPr>
          <a:xfrm>
            <a:off x="2072100" y="6705600"/>
            <a:ext cx="8044625" cy="15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800">
                <a:solidFill>
                  <a:schemeClr val="tx1"/>
                </a:solidFill>
                <a:ea typeface="MS PGothic" pitchFamily="34" charset="-128"/>
              </a:rPr>
              <a:t>Pfizer Confidential – Internal Use Only, Not for Further Distribution</a:t>
            </a:r>
            <a:endParaRPr lang="en-US" sz="800">
              <a:solidFill>
                <a:schemeClr val="tx1"/>
              </a:solidFill>
              <a:ea typeface="MS PGothic" pitchFamily="34" charset="-128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C514C5-2143-4E16-837F-CF028230C903}"/>
              </a:ext>
            </a:extLst>
          </p:cNvPr>
          <p:cNvSpPr/>
          <p:nvPr userDrawn="1"/>
        </p:nvSpPr>
        <p:spPr>
          <a:xfrm>
            <a:off x="0" y="0"/>
            <a:ext cx="2011157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E1FD921-B9B9-4E01-8593-A27B37592D89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27281B-F7F1-4E3B-B238-0D64683B763A}"/>
              </a:ext>
            </a:extLst>
          </p:cNvPr>
          <p:cNvSpPr/>
          <p:nvPr userDrawn="1"/>
        </p:nvSpPr>
        <p:spPr>
          <a:xfrm>
            <a:off x="1897132" y="0"/>
            <a:ext cx="138452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3941344-CBA3-46F5-9801-595985401D8A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D2612D66-723A-4927-9CE6-16C13A003646}"/>
              </a:ext>
            </a:extLst>
          </p:cNvPr>
          <p:cNvSpPr/>
          <p:nvPr/>
        </p:nvSpPr>
        <p:spPr>
          <a:xfrm>
            <a:off x="0" y="141677"/>
            <a:ext cx="324007" cy="6853150"/>
          </a:xfrm>
          <a:custGeom>
            <a:avLst/>
            <a:gdLst>
              <a:gd name="connsiteX0" fmla="*/ 0 w 324091"/>
              <a:gd name="connsiteY0" fmla="*/ 6807430 h 6853150"/>
              <a:gd name="connsiteX1" fmla="*/ 81776 w 324091"/>
              <a:gd name="connsiteY1" fmla="*/ 6807430 h 6853150"/>
              <a:gd name="connsiteX2" fmla="*/ 104636 w 324091"/>
              <a:gd name="connsiteY2" fmla="*/ 6830290 h 6853150"/>
              <a:gd name="connsiteX3" fmla="*/ 104635 w 324091"/>
              <a:gd name="connsiteY3" fmla="*/ 6830290 h 6853150"/>
              <a:gd name="connsiteX4" fmla="*/ 81775 w 324091"/>
              <a:gd name="connsiteY4" fmla="*/ 6853150 h 6853150"/>
              <a:gd name="connsiteX5" fmla="*/ 0 w 324091"/>
              <a:gd name="connsiteY5" fmla="*/ 6853150 h 6853150"/>
              <a:gd name="connsiteX6" fmla="*/ 0 w 324091"/>
              <a:gd name="connsiteY6" fmla="*/ 6653902 h 6853150"/>
              <a:gd name="connsiteX7" fmla="*/ 173216 w 324091"/>
              <a:gd name="connsiteY7" fmla="*/ 6653902 h 6853150"/>
              <a:gd name="connsiteX8" fmla="*/ 196076 w 324091"/>
              <a:gd name="connsiteY8" fmla="*/ 6676762 h 6853150"/>
              <a:gd name="connsiteX9" fmla="*/ 196075 w 324091"/>
              <a:gd name="connsiteY9" fmla="*/ 6676762 h 6853150"/>
              <a:gd name="connsiteX10" fmla="*/ 173215 w 324091"/>
              <a:gd name="connsiteY10" fmla="*/ 6699622 h 6853150"/>
              <a:gd name="connsiteX11" fmla="*/ 0 w 324091"/>
              <a:gd name="connsiteY11" fmla="*/ 6699622 h 6853150"/>
              <a:gd name="connsiteX12" fmla="*/ 0 w 324091"/>
              <a:gd name="connsiteY12" fmla="*/ 6500374 h 6853150"/>
              <a:gd name="connsiteX13" fmla="*/ 81776 w 324091"/>
              <a:gd name="connsiteY13" fmla="*/ 6500374 h 6853150"/>
              <a:gd name="connsiteX14" fmla="*/ 104636 w 324091"/>
              <a:gd name="connsiteY14" fmla="*/ 6523234 h 6853150"/>
              <a:gd name="connsiteX15" fmla="*/ 104635 w 324091"/>
              <a:gd name="connsiteY15" fmla="*/ 6523234 h 6853150"/>
              <a:gd name="connsiteX16" fmla="*/ 81775 w 324091"/>
              <a:gd name="connsiteY16" fmla="*/ 6546094 h 6853150"/>
              <a:gd name="connsiteX17" fmla="*/ 0 w 324091"/>
              <a:gd name="connsiteY17" fmla="*/ 6546094 h 6853150"/>
              <a:gd name="connsiteX18" fmla="*/ 0 w 324091"/>
              <a:gd name="connsiteY18" fmla="*/ 6302591 h 6853150"/>
              <a:gd name="connsiteX19" fmla="*/ 279104 w 324091"/>
              <a:gd name="connsiteY19" fmla="*/ 6302591 h 6853150"/>
              <a:gd name="connsiteX20" fmla="*/ 324091 w 324091"/>
              <a:gd name="connsiteY20" fmla="*/ 6347578 h 6853150"/>
              <a:gd name="connsiteX21" fmla="*/ 279104 w 324091"/>
              <a:gd name="connsiteY21" fmla="*/ 6392565 h 6853150"/>
              <a:gd name="connsiteX22" fmla="*/ 0 w 324091"/>
              <a:gd name="connsiteY22" fmla="*/ 6392565 h 6853150"/>
              <a:gd name="connsiteX23" fmla="*/ 0 w 324091"/>
              <a:gd name="connsiteY23" fmla="*/ 6124755 h 6853150"/>
              <a:gd name="connsiteX24" fmla="*/ 81776 w 324091"/>
              <a:gd name="connsiteY24" fmla="*/ 6124755 h 6853150"/>
              <a:gd name="connsiteX25" fmla="*/ 104636 w 324091"/>
              <a:gd name="connsiteY25" fmla="*/ 6147615 h 6853150"/>
              <a:gd name="connsiteX26" fmla="*/ 104635 w 324091"/>
              <a:gd name="connsiteY26" fmla="*/ 6147615 h 6853150"/>
              <a:gd name="connsiteX27" fmla="*/ 81775 w 324091"/>
              <a:gd name="connsiteY27" fmla="*/ 6170475 h 6853150"/>
              <a:gd name="connsiteX28" fmla="*/ 0 w 324091"/>
              <a:gd name="connsiteY28" fmla="*/ 6170475 h 6853150"/>
              <a:gd name="connsiteX29" fmla="*/ 0 w 324091"/>
              <a:gd name="connsiteY29" fmla="*/ 5971227 h 6853150"/>
              <a:gd name="connsiteX30" fmla="*/ 173216 w 324091"/>
              <a:gd name="connsiteY30" fmla="*/ 5971227 h 6853150"/>
              <a:gd name="connsiteX31" fmla="*/ 196076 w 324091"/>
              <a:gd name="connsiteY31" fmla="*/ 5994087 h 6853150"/>
              <a:gd name="connsiteX32" fmla="*/ 196075 w 324091"/>
              <a:gd name="connsiteY32" fmla="*/ 5994087 h 6853150"/>
              <a:gd name="connsiteX33" fmla="*/ 173215 w 324091"/>
              <a:gd name="connsiteY33" fmla="*/ 6016947 h 6853150"/>
              <a:gd name="connsiteX34" fmla="*/ 0 w 324091"/>
              <a:gd name="connsiteY34" fmla="*/ 6016947 h 6853150"/>
              <a:gd name="connsiteX35" fmla="*/ 0 w 324091"/>
              <a:gd name="connsiteY35" fmla="*/ 5817699 h 6853150"/>
              <a:gd name="connsiteX36" fmla="*/ 81776 w 324091"/>
              <a:gd name="connsiteY36" fmla="*/ 5817699 h 6853150"/>
              <a:gd name="connsiteX37" fmla="*/ 104636 w 324091"/>
              <a:gd name="connsiteY37" fmla="*/ 5840559 h 6853150"/>
              <a:gd name="connsiteX38" fmla="*/ 104635 w 324091"/>
              <a:gd name="connsiteY38" fmla="*/ 5840559 h 6853150"/>
              <a:gd name="connsiteX39" fmla="*/ 81775 w 324091"/>
              <a:gd name="connsiteY39" fmla="*/ 5863419 h 6853150"/>
              <a:gd name="connsiteX40" fmla="*/ 0 w 324091"/>
              <a:gd name="connsiteY40" fmla="*/ 5863419 h 6853150"/>
              <a:gd name="connsiteX41" fmla="*/ 0 w 324091"/>
              <a:gd name="connsiteY41" fmla="*/ 5619916 h 6853150"/>
              <a:gd name="connsiteX42" fmla="*/ 279104 w 324091"/>
              <a:gd name="connsiteY42" fmla="*/ 5619916 h 6853150"/>
              <a:gd name="connsiteX43" fmla="*/ 324091 w 324091"/>
              <a:gd name="connsiteY43" fmla="*/ 5664903 h 6853150"/>
              <a:gd name="connsiteX44" fmla="*/ 279104 w 324091"/>
              <a:gd name="connsiteY44" fmla="*/ 5709890 h 6853150"/>
              <a:gd name="connsiteX45" fmla="*/ 0 w 324091"/>
              <a:gd name="connsiteY45" fmla="*/ 5709890 h 6853150"/>
              <a:gd name="connsiteX46" fmla="*/ 0 w 324091"/>
              <a:gd name="connsiteY46" fmla="*/ 5442077 h 6853150"/>
              <a:gd name="connsiteX47" fmla="*/ 81776 w 324091"/>
              <a:gd name="connsiteY47" fmla="*/ 5442077 h 6853150"/>
              <a:gd name="connsiteX48" fmla="*/ 104636 w 324091"/>
              <a:gd name="connsiteY48" fmla="*/ 5464937 h 6853150"/>
              <a:gd name="connsiteX49" fmla="*/ 104635 w 324091"/>
              <a:gd name="connsiteY49" fmla="*/ 5464937 h 6853150"/>
              <a:gd name="connsiteX50" fmla="*/ 81775 w 324091"/>
              <a:gd name="connsiteY50" fmla="*/ 5487797 h 6853150"/>
              <a:gd name="connsiteX51" fmla="*/ 0 w 324091"/>
              <a:gd name="connsiteY51" fmla="*/ 5487797 h 6853150"/>
              <a:gd name="connsiteX52" fmla="*/ 0 w 324091"/>
              <a:gd name="connsiteY52" fmla="*/ 5288549 h 6853150"/>
              <a:gd name="connsiteX53" fmla="*/ 173216 w 324091"/>
              <a:gd name="connsiteY53" fmla="*/ 5288549 h 6853150"/>
              <a:gd name="connsiteX54" fmla="*/ 196076 w 324091"/>
              <a:gd name="connsiteY54" fmla="*/ 5311409 h 6853150"/>
              <a:gd name="connsiteX55" fmla="*/ 196075 w 324091"/>
              <a:gd name="connsiteY55" fmla="*/ 5311409 h 6853150"/>
              <a:gd name="connsiteX56" fmla="*/ 173215 w 324091"/>
              <a:gd name="connsiteY56" fmla="*/ 5334269 h 6853150"/>
              <a:gd name="connsiteX57" fmla="*/ 0 w 324091"/>
              <a:gd name="connsiteY57" fmla="*/ 5334269 h 6853150"/>
              <a:gd name="connsiteX58" fmla="*/ 0 w 324091"/>
              <a:gd name="connsiteY58" fmla="*/ 5135021 h 6853150"/>
              <a:gd name="connsiteX59" fmla="*/ 81776 w 324091"/>
              <a:gd name="connsiteY59" fmla="*/ 5135021 h 6853150"/>
              <a:gd name="connsiteX60" fmla="*/ 104636 w 324091"/>
              <a:gd name="connsiteY60" fmla="*/ 5157881 h 6853150"/>
              <a:gd name="connsiteX61" fmla="*/ 104635 w 324091"/>
              <a:gd name="connsiteY61" fmla="*/ 5157881 h 6853150"/>
              <a:gd name="connsiteX62" fmla="*/ 81775 w 324091"/>
              <a:gd name="connsiteY62" fmla="*/ 5180741 h 6853150"/>
              <a:gd name="connsiteX63" fmla="*/ 0 w 324091"/>
              <a:gd name="connsiteY63" fmla="*/ 5180741 h 6853150"/>
              <a:gd name="connsiteX64" fmla="*/ 0 w 324091"/>
              <a:gd name="connsiteY64" fmla="*/ 4937238 h 6853150"/>
              <a:gd name="connsiteX65" fmla="*/ 279104 w 324091"/>
              <a:gd name="connsiteY65" fmla="*/ 4937238 h 6853150"/>
              <a:gd name="connsiteX66" fmla="*/ 324091 w 324091"/>
              <a:gd name="connsiteY66" fmla="*/ 4982225 h 6853150"/>
              <a:gd name="connsiteX67" fmla="*/ 279104 w 324091"/>
              <a:gd name="connsiteY67" fmla="*/ 5027212 h 6853150"/>
              <a:gd name="connsiteX68" fmla="*/ 0 w 324091"/>
              <a:gd name="connsiteY68" fmla="*/ 5027212 h 6853150"/>
              <a:gd name="connsiteX69" fmla="*/ 0 w 324091"/>
              <a:gd name="connsiteY69" fmla="*/ 4759399 h 6853150"/>
              <a:gd name="connsiteX70" fmla="*/ 81776 w 324091"/>
              <a:gd name="connsiteY70" fmla="*/ 4759399 h 6853150"/>
              <a:gd name="connsiteX71" fmla="*/ 104636 w 324091"/>
              <a:gd name="connsiteY71" fmla="*/ 4782259 h 6853150"/>
              <a:gd name="connsiteX72" fmla="*/ 104635 w 324091"/>
              <a:gd name="connsiteY72" fmla="*/ 4782259 h 6853150"/>
              <a:gd name="connsiteX73" fmla="*/ 81775 w 324091"/>
              <a:gd name="connsiteY73" fmla="*/ 4805119 h 6853150"/>
              <a:gd name="connsiteX74" fmla="*/ 0 w 324091"/>
              <a:gd name="connsiteY74" fmla="*/ 4805119 h 6853150"/>
              <a:gd name="connsiteX75" fmla="*/ 0 w 324091"/>
              <a:gd name="connsiteY75" fmla="*/ 4605871 h 6853150"/>
              <a:gd name="connsiteX76" fmla="*/ 173216 w 324091"/>
              <a:gd name="connsiteY76" fmla="*/ 4605871 h 6853150"/>
              <a:gd name="connsiteX77" fmla="*/ 196076 w 324091"/>
              <a:gd name="connsiteY77" fmla="*/ 4628731 h 6853150"/>
              <a:gd name="connsiteX78" fmla="*/ 196075 w 324091"/>
              <a:gd name="connsiteY78" fmla="*/ 4628731 h 6853150"/>
              <a:gd name="connsiteX79" fmla="*/ 173215 w 324091"/>
              <a:gd name="connsiteY79" fmla="*/ 4651591 h 6853150"/>
              <a:gd name="connsiteX80" fmla="*/ 0 w 324091"/>
              <a:gd name="connsiteY80" fmla="*/ 4651591 h 6853150"/>
              <a:gd name="connsiteX81" fmla="*/ 0 w 324091"/>
              <a:gd name="connsiteY81" fmla="*/ 4452343 h 6853150"/>
              <a:gd name="connsiteX82" fmla="*/ 81776 w 324091"/>
              <a:gd name="connsiteY82" fmla="*/ 4452343 h 6853150"/>
              <a:gd name="connsiteX83" fmla="*/ 104636 w 324091"/>
              <a:gd name="connsiteY83" fmla="*/ 4475203 h 6853150"/>
              <a:gd name="connsiteX84" fmla="*/ 104635 w 324091"/>
              <a:gd name="connsiteY84" fmla="*/ 4475203 h 6853150"/>
              <a:gd name="connsiteX85" fmla="*/ 81775 w 324091"/>
              <a:gd name="connsiteY85" fmla="*/ 4498063 h 6853150"/>
              <a:gd name="connsiteX86" fmla="*/ 0 w 324091"/>
              <a:gd name="connsiteY86" fmla="*/ 4498063 h 6853150"/>
              <a:gd name="connsiteX87" fmla="*/ 0 w 324091"/>
              <a:gd name="connsiteY87" fmla="*/ 4254560 h 6853150"/>
              <a:gd name="connsiteX88" fmla="*/ 279104 w 324091"/>
              <a:gd name="connsiteY88" fmla="*/ 4254560 h 6853150"/>
              <a:gd name="connsiteX89" fmla="*/ 324091 w 324091"/>
              <a:gd name="connsiteY89" fmla="*/ 4299547 h 6853150"/>
              <a:gd name="connsiteX90" fmla="*/ 279104 w 324091"/>
              <a:gd name="connsiteY90" fmla="*/ 4344534 h 6853150"/>
              <a:gd name="connsiteX91" fmla="*/ 0 w 324091"/>
              <a:gd name="connsiteY91" fmla="*/ 4344534 h 6853150"/>
              <a:gd name="connsiteX92" fmla="*/ 0 w 324091"/>
              <a:gd name="connsiteY92" fmla="*/ 4076721 h 6853150"/>
              <a:gd name="connsiteX93" fmla="*/ 81776 w 324091"/>
              <a:gd name="connsiteY93" fmla="*/ 4076721 h 6853150"/>
              <a:gd name="connsiteX94" fmla="*/ 104636 w 324091"/>
              <a:gd name="connsiteY94" fmla="*/ 4099581 h 6853150"/>
              <a:gd name="connsiteX95" fmla="*/ 104635 w 324091"/>
              <a:gd name="connsiteY95" fmla="*/ 4099581 h 6853150"/>
              <a:gd name="connsiteX96" fmla="*/ 81775 w 324091"/>
              <a:gd name="connsiteY96" fmla="*/ 4122441 h 6853150"/>
              <a:gd name="connsiteX97" fmla="*/ 0 w 324091"/>
              <a:gd name="connsiteY97" fmla="*/ 4122441 h 6853150"/>
              <a:gd name="connsiteX98" fmla="*/ 0 w 324091"/>
              <a:gd name="connsiteY98" fmla="*/ 3923193 h 6853150"/>
              <a:gd name="connsiteX99" fmla="*/ 173216 w 324091"/>
              <a:gd name="connsiteY99" fmla="*/ 3923193 h 6853150"/>
              <a:gd name="connsiteX100" fmla="*/ 196076 w 324091"/>
              <a:gd name="connsiteY100" fmla="*/ 3946053 h 6853150"/>
              <a:gd name="connsiteX101" fmla="*/ 196075 w 324091"/>
              <a:gd name="connsiteY101" fmla="*/ 3946053 h 6853150"/>
              <a:gd name="connsiteX102" fmla="*/ 173215 w 324091"/>
              <a:gd name="connsiteY102" fmla="*/ 3968913 h 6853150"/>
              <a:gd name="connsiteX103" fmla="*/ 0 w 324091"/>
              <a:gd name="connsiteY103" fmla="*/ 3968913 h 6853150"/>
              <a:gd name="connsiteX104" fmla="*/ 0 w 324091"/>
              <a:gd name="connsiteY104" fmla="*/ 3769665 h 6853150"/>
              <a:gd name="connsiteX105" fmla="*/ 81776 w 324091"/>
              <a:gd name="connsiteY105" fmla="*/ 3769665 h 6853150"/>
              <a:gd name="connsiteX106" fmla="*/ 104636 w 324091"/>
              <a:gd name="connsiteY106" fmla="*/ 3792525 h 6853150"/>
              <a:gd name="connsiteX107" fmla="*/ 104635 w 324091"/>
              <a:gd name="connsiteY107" fmla="*/ 3792525 h 6853150"/>
              <a:gd name="connsiteX108" fmla="*/ 81775 w 324091"/>
              <a:gd name="connsiteY108" fmla="*/ 3815385 h 6853150"/>
              <a:gd name="connsiteX109" fmla="*/ 0 w 324091"/>
              <a:gd name="connsiteY109" fmla="*/ 3815385 h 6853150"/>
              <a:gd name="connsiteX110" fmla="*/ 0 w 324091"/>
              <a:gd name="connsiteY110" fmla="*/ 3571882 h 6853150"/>
              <a:gd name="connsiteX111" fmla="*/ 279104 w 324091"/>
              <a:gd name="connsiteY111" fmla="*/ 3571882 h 6853150"/>
              <a:gd name="connsiteX112" fmla="*/ 324091 w 324091"/>
              <a:gd name="connsiteY112" fmla="*/ 3616869 h 6853150"/>
              <a:gd name="connsiteX113" fmla="*/ 279104 w 324091"/>
              <a:gd name="connsiteY113" fmla="*/ 3661856 h 6853150"/>
              <a:gd name="connsiteX114" fmla="*/ 0 w 324091"/>
              <a:gd name="connsiteY114" fmla="*/ 3661856 h 6853150"/>
              <a:gd name="connsiteX115" fmla="*/ 0 w 324091"/>
              <a:gd name="connsiteY115" fmla="*/ 3394043 h 6853150"/>
              <a:gd name="connsiteX116" fmla="*/ 81776 w 324091"/>
              <a:gd name="connsiteY116" fmla="*/ 3394043 h 6853150"/>
              <a:gd name="connsiteX117" fmla="*/ 104636 w 324091"/>
              <a:gd name="connsiteY117" fmla="*/ 3416905 h 6853150"/>
              <a:gd name="connsiteX118" fmla="*/ 104635 w 324091"/>
              <a:gd name="connsiteY118" fmla="*/ 3416905 h 6853150"/>
              <a:gd name="connsiteX119" fmla="*/ 81775 w 324091"/>
              <a:gd name="connsiteY119" fmla="*/ 3439763 h 6853150"/>
              <a:gd name="connsiteX120" fmla="*/ 0 w 324091"/>
              <a:gd name="connsiteY120" fmla="*/ 3439763 h 6853150"/>
              <a:gd name="connsiteX121" fmla="*/ 0 w 324091"/>
              <a:gd name="connsiteY121" fmla="*/ 3240516 h 6853150"/>
              <a:gd name="connsiteX122" fmla="*/ 173216 w 324091"/>
              <a:gd name="connsiteY122" fmla="*/ 3240516 h 6853150"/>
              <a:gd name="connsiteX123" fmla="*/ 196076 w 324091"/>
              <a:gd name="connsiteY123" fmla="*/ 3263376 h 6853150"/>
              <a:gd name="connsiteX124" fmla="*/ 196075 w 324091"/>
              <a:gd name="connsiteY124" fmla="*/ 3263376 h 6853150"/>
              <a:gd name="connsiteX125" fmla="*/ 173215 w 324091"/>
              <a:gd name="connsiteY125" fmla="*/ 3286236 h 6853150"/>
              <a:gd name="connsiteX126" fmla="*/ 0 w 324091"/>
              <a:gd name="connsiteY126" fmla="*/ 3286236 h 6853150"/>
              <a:gd name="connsiteX127" fmla="*/ 0 w 324091"/>
              <a:gd name="connsiteY127" fmla="*/ 3086989 h 6853150"/>
              <a:gd name="connsiteX128" fmla="*/ 81776 w 324091"/>
              <a:gd name="connsiteY128" fmla="*/ 3086989 h 6853150"/>
              <a:gd name="connsiteX129" fmla="*/ 104636 w 324091"/>
              <a:gd name="connsiteY129" fmla="*/ 3109849 h 6853150"/>
              <a:gd name="connsiteX130" fmla="*/ 104635 w 324091"/>
              <a:gd name="connsiteY130" fmla="*/ 3109849 h 6853150"/>
              <a:gd name="connsiteX131" fmla="*/ 81775 w 324091"/>
              <a:gd name="connsiteY131" fmla="*/ 3132709 h 6853150"/>
              <a:gd name="connsiteX132" fmla="*/ 0 w 324091"/>
              <a:gd name="connsiteY132" fmla="*/ 3132709 h 6853150"/>
              <a:gd name="connsiteX133" fmla="*/ 0 w 324091"/>
              <a:gd name="connsiteY133" fmla="*/ 2889206 h 6853150"/>
              <a:gd name="connsiteX134" fmla="*/ 279104 w 324091"/>
              <a:gd name="connsiteY134" fmla="*/ 2889206 h 6853150"/>
              <a:gd name="connsiteX135" fmla="*/ 324091 w 324091"/>
              <a:gd name="connsiteY135" fmla="*/ 2934194 h 6853150"/>
              <a:gd name="connsiteX136" fmla="*/ 279104 w 324091"/>
              <a:gd name="connsiteY136" fmla="*/ 2979180 h 6853150"/>
              <a:gd name="connsiteX137" fmla="*/ 0 w 324091"/>
              <a:gd name="connsiteY137" fmla="*/ 2979180 h 6853150"/>
              <a:gd name="connsiteX138" fmla="*/ 0 w 324091"/>
              <a:gd name="connsiteY138" fmla="*/ 2711367 h 6853150"/>
              <a:gd name="connsiteX139" fmla="*/ 81776 w 324091"/>
              <a:gd name="connsiteY139" fmla="*/ 2711367 h 6853150"/>
              <a:gd name="connsiteX140" fmla="*/ 104636 w 324091"/>
              <a:gd name="connsiteY140" fmla="*/ 2734227 h 6853150"/>
              <a:gd name="connsiteX141" fmla="*/ 104635 w 324091"/>
              <a:gd name="connsiteY141" fmla="*/ 2734227 h 6853150"/>
              <a:gd name="connsiteX142" fmla="*/ 81775 w 324091"/>
              <a:gd name="connsiteY142" fmla="*/ 2757087 h 6853150"/>
              <a:gd name="connsiteX143" fmla="*/ 0 w 324091"/>
              <a:gd name="connsiteY143" fmla="*/ 2757087 h 6853150"/>
              <a:gd name="connsiteX144" fmla="*/ 0 w 324091"/>
              <a:gd name="connsiteY144" fmla="*/ 2557839 h 6853150"/>
              <a:gd name="connsiteX145" fmla="*/ 173216 w 324091"/>
              <a:gd name="connsiteY145" fmla="*/ 2557839 h 6853150"/>
              <a:gd name="connsiteX146" fmla="*/ 196076 w 324091"/>
              <a:gd name="connsiteY146" fmla="*/ 2580699 h 6853150"/>
              <a:gd name="connsiteX147" fmla="*/ 196075 w 324091"/>
              <a:gd name="connsiteY147" fmla="*/ 2580699 h 6853150"/>
              <a:gd name="connsiteX148" fmla="*/ 173215 w 324091"/>
              <a:gd name="connsiteY148" fmla="*/ 2603559 h 6853150"/>
              <a:gd name="connsiteX149" fmla="*/ 0 w 324091"/>
              <a:gd name="connsiteY149" fmla="*/ 2603559 h 6853150"/>
              <a:gd name="connsiteX150" fmla="*/ 0 w 324091"/>
              <a:gd name="connsiteY150" fmla="*/ 2404312 h 6853150"/>
              <a:gd name="connsiteX151" fmla="*/ 81776 w 324091"/>
              <a:gd name="connsiteY151" fmla="*/ 2404312 h 6853150"/>
              <a:gd name="connsiteX152" fmla="*/ 104636 w 324091"/>
              <a:gd name="connsiteY152" fmla="*/ 2427171 h 6853150"/>
              <a:gd name="connsiteX153" fmla="*/ 104635 w 324091"/>
              <a:gd name="connsiteY153" fmla="*/ 2427171 h 6853150"/>
              <a:gd name="connsiteX154" fmla="*/ 81775 w 324091"/>
              <a:gd name="connsiteY154" fmla="*/ 2450032 h 6853150"/>
              <a:gd name="connsiteX155" fmla="*/ 0 w 324091"/>
              <a:gd name="connsiteY155" fmla="*/ 2450032 h 6853150"/>
              <a:gd name="connsiteX156" fmla="*/ 0 w 324091"/>
              <a:gd name="connsiteY156" fmla="*/ 2206528 h 6853150"/>
              <a:gd name="connsiteX157" fmla="*/ 279104 w 324091"/>
              <a:gd name="connsiteY157" fmla="*/ 2206528 h 6853150"/>
              <a:gd name="connsiteX158" fmla="*/ 324091 w 324091"/>
              <a:gd name="connsiteY158" fmla="*/ 2251515 h 6853150"/>
              <a:gd name="connsiteX159" fmla="*/ 279104 w 324091"/>
              <a:gd name="connsiteY159" fmla="*/ 2296503 h 6853150"/>
              <a:gd name="connsiteX160" fmla="*/ 0 w 324091"/>
              <a:gd name="connsiteY160" fmla="*/ 2296503 h 6853150"/>
              <a:gd name="connsiteX161" fmla="*/ 0 w 324091"/>
              <a:gd name="connsiteY161" fmla="*/ 2028689 h 6853150"/>
              <a:gd name="connsiteX162" fmla="*/ 81776 w 324091"/>
              <a:gd name="connsiteY162" fmla="*/ 2028689 h 6853150"/>
              <a:gd name="connsiteX163" fmla="*/ 104636 w 324091"/>
              <a:gd name="connsiteY163" fmla="*/ 2051550 h 6853150"/>
              <a:gd name="connsiteX164" fmla="*/ 104635 w 324091"/>
              <a:gd name="connsiteY164" fmla="*/ 2051550 h 6853150"/>
              <a:gd name="connsiteX165" fmla="*/ 81775 w 324091"/>
              <a:gd name="connsiteY165" fmla="*/ 2074409 h 6853150"/>
              <a:gd name="connsiteX166" fmla="*/ 0 w 324091"/>
              <a:gd name="connsiteY166" fmla="*/ 2074409 h 6853150"/>
              <a:gd name="connsiteX167" fmla="*/ 0 w 324091"/>
              <a:gd name="connsiteY167" fmla="*/ 1875162 h 6853150"/>
              <a:gd name="connsiteX168" fmla="*/ 173216 w 324091"/>
              <a:gd name="connsiteY168" fmla="*/ 1875162 h 6853150"/>
              <a:gd name="connsiteX169" fmla="*/ 196076 w 324091"/>
              <a:gd name="connsiteY169" fmla="*/ 1898022 h 6853150"/>
              <a:gd name="connsiteX170" fmla="*/ 196075 w 324091"/>
              <a:gd name="connsiteY170" fmla="*/ 1898022 h 6853150"/>
              <a:gd name="connsiteX171" fmla="*/ 173215 w 324091"/>
              <a:gd name="connsiteY171" fmla="*/ 1920882 h 6853150"/>
              <a:gd name="connsiteX172" fmla="*/ 0 w 324091"/>
              <a:gd name="connsiteY172" fmla="*/ 1920882 h 6853150"/>
              <a:gd name="connsiteX173" fmla="*/ 0 w 324091"/>
              <a:gd name="connsiteY173" fmla="*/ 1721635 h 6853150"/>
              <a:gd name="connsiteX174" fmla="*/ 81776 w 324091"/>
              <a:gd name="connsiteY174" fmla="*/ 1721635 h 6853150"/>
              <a:gd name="connsiteX175" fmla="*/ 104636 w 324091"/>
              <a:gd name="connsiteY175" fmla="*/ 1744495 h 6853150"/>
              <a:gd name="connsiteX176" fmla="*/ 104635 w 324091"/>
              <a:gd name="connsiteY176" fmla="*/ 1744495 h 6853150"/>
              <a:gd name="connsiteX177" fmla="*/ 81775 w 324091"/>
              <a:gd name="connsiteY177" fmla="*/ 1767355 h 6853150"/>
              <a:gd name="connsiteX178" fmla="*/ 0 w 324091"/>
              <a:gd name="connsiteY178" fmla="*/ 1767355 h 6853150"/>
              <a:gd name="connsiteX179" fmla="*/ 0 w 324091"/>
              <a:gd name="connsiteY179" fmla="*/ 1523851 h 6853150"/>
              <a:gd name="connsiteX180" fmla="*/ 279104 w 324091"/>
              <a:gd name="connsiteY180" fmla="*/ 1523851 h 6853150"/>
              <a:gd name="connsiteX181" fmla="*/ 324091 w 324091"/>
              <a:gd name="connsiteY181" fmla="*/ 1568838 h 6853150"/>
              <a:gd name="connsiteX182" fmla="*/ 279104 w 324091"/>
              <a:gd name="connsiteY182" fmla="*/ 1613826 h 6853150"/>
              <a:gd name="connsiteX183" fmla="*/ 0 w 324091"/>
              <a:gd name="connsiteY183" fmla="*/ 1613826 h 6853150"/>
              <a:gd name="connsiteX184" fmla="*/ 0 w 324091"/>
              <a:gd name="connsiteY184" fmla="*/ 1346012 h 6853150"/>
              <a:gd name="connsiteX185" fmla="*/ 81776 w 324091"/>
              <a:gd name="connsiteY185" fmla="*/ 1346012 h 6853150"/>
              <a:gd name="connsiteX186" fmla="*/ 104636 w 324091"/>
              <a:gd name="connsiteY186" fmla="*/ 1368872 h 6853150"/>
              <a:gd name="connsiteX187" fmla="*/ 104635 w 324091"/>
              <a:gd name="connsiteY187" fmla="*/ 1368872 h 6853150"/>
              <a:gd name="connsiteX188" fmla="*/ 81775 w 324091"/>
              <a:gd name="connsiteY188" fmla="*/ 1391732 h 6853150"/>
              <a:gd name="connsiteX189" fmla="*/ 0 w 324091"/>
              <a:gd name="connsiteY189" fmla="*/ 1391732 h 6853150"/>
              <a:gd name="connsiteX190" fmla="*/ 0 w 324091"/>
              <a:gd name="connsiteY190" fmla="*/ 1192484 h 6853150"/>
              <a:gd name="connsiteX191" fmla="*/ 173216 w 324091"/>
              <a:gd name="connsiteY191" fmla="*/ 1192484 h 6853150"/>
              <a:gd name="connsiteX192" fmla="*/ 196076 w 324091"/>
              <a:gd name="connsiteY192" fmla="*/ 1215344 h 6853150"/>
              <a:gd name="connsiteX193" fmla="*/ 196075 w 324091"/>
              <a:gd name="connsiteY193" fmla="*/ 1215344 h 6853150"/>
              <a:gd name="connsiteX194" fmla="*/ 173215 w 324091"/>
              <a:gd name="connsiteY194" fmla="*/ 1238205 h 6853150"/>
              <a:gd name="connsiteX195" fmla="*/ 0 w 324091"/>
              <a:gd name="connsiteY195" fmla="*/ 1238205 h 6853150"/>
              <a:gd name="connsiteX196" fmla="*/ 0 w 324091"/>
              <a:gd name="connsiteY196" fmla="*/ 1038956 h 6853150"/>
              <a:gd name="connsiteX197" fmla="*/ 81776 w 324091"/>
              <a:gd name="connsiteY197" fmla="*/ 1038956 h 6853150"/>
              <a:gd name="connsiteX198" fmla="*/ 104636 w 324091"/>
              <a:gd name="connsiteY198" fmla="*/ 1061817 h 6853150"/>
              <a:gd name="connsiteX199" fmla="*/ 104635 w 324091"/>
              <a:gd name="connsiteY199" fmla="*/ 1061817 h 6853150"/>
              <a:gd name="connsiteX200" fmla="*/ 81775 w 324091"/>
              <a:gd name="connsiteY200" fmla="*/ 1084677 h 6853150"/>
              <a:gd name="connsiteX201" fmla="*/ 0 w 324091"/>
              <a:gd name="connsiteY201" fmla="*/ 1084677 h 6853150"/>
              <a:gd name="connsiteX202" fmla="*/ 0 w 324091"/>
              <a:gd name="connsiteY202" fmla="*/ 841173 h 6853150"/>
              <a:gd name="connsiteX203" fmla="*/ 279104 w 324091"/>
              <a:gd name="connsiteY203" fmla="*/ 841173 h 6853150"/>
              <a:gd name="connsiteX204" fmla="*/ 324091 w 324091"/>
              <a:gd name="connsiteY204" fmla="*/ 886160 h 6853150"/>
              <a:gd name="connsiteX205" fmla="*/ 279104 w 324091"/>
              <a:gd name="connsiteY205" fmla="*/ 931147 h 6853150"/>
              <a:gd name="connsiteX206" fmla="*/ 0 w 324091"/>
              <a:gd name="connsiteY206" fmla="*/ 931147 h 6853150"/>
              <a:gd name="connsiteX207" fmla="*/ 0 w 324091"/>
              <a:gd name="connsiteY207" fmla="*/ 663334 h 6853150"/>
              <a:gd name="connsiteX208" fmla="*/ 81776 w 324091"/>
              <a:gd name="connsiteY208" fmla="*/ 663334 h 6853150"/>
              <a:gd name="connsiteX209" fmla="*/ 104636 w 324091"/>
              <a:gd name="connsiteY209" fmla="*/ 686194 h 6853150"/>
              <a:gd name="connsiteX210" fmla="*/ 104635 w 324091"/>
              <a:gd name="connsiteY210" fmla="*/ 686194 h 6853150"/>
              <a:gd name="connsiteX211" fmla="*/ 81775 w 324091"/>
              <a:gd name="connsiteY211" fmla="*/ 709054 h 6853150"/>
              <a:gd name="connsiteX212" fmla="*/ 0 w 324091"/>
              <a:gd name="connsiteY212" fmla="*/ 709054 h 6853150"/>
              <a:gd name="connsiteX213" fmla="*/ 0 w 324091"/>
              <a:gd name="connsiteY213" fmla="*/ 509806 h 6853150"/>
              <a:gd name="connsiteX214" fmla="*/ 173216 w 324091"/>
              <a:gd name="connsiteY214" fmla="*/ 509806 h 6853150"/>
              <a:gd name="connsiteX215" fmla="*/ 196076 w 324091"/>
              <a:gd name="connsiteY215" fmla="*/ 532666 h 6853150"/>
              <a:gd name="connsiteX216" fmla="*/ 196075 w 324091"/>
              <a:gd name="connsiteY216" fmla="*/ 532666 h 6853150"/>
              <a:gd name="connsiteX217" fmla="*/ 173215 w 324091"/>
              <a:gd name="connsiteY217" fmla="*/ 555526 h 6853150"/>
              <a:gd name="connsiteX218" fmla="*/ 0 w 324091"/>
              <a:gd name="connsiteY218" fmla="*/ 555526 h 6853150"/>
              <a:gd name="connsiteX219" fmla="*/ 0 w 324091"/>
              <a:gd name="connsiteY219" fmla="*/ 356279 h 6853150"/>
              <a:gd name="connsiteX220" fmla="*/ 81776 w 324091"/>
              <a:gd name="connsiteY220" fmla="*/ 356279 h 6853150"/>
              <a:gd name="connsiteX221" fmla="*/ 104636 w 324091"/>
              <a:gd name="connsiteY221" fmla="*/ 379139 h 6853150"/>
              <a:gd name="connsiteX222" fmla="*/ 104635 w 324091"/>
              <a:gd name="connsiteY222" fmla="*/ 379139 h 6853150"/>
              <a:gd name="connsiteX223" fmla="*/ 81775 w 324091"/>
              <a:gd name="connsiteY223" fmla="*/ 401999 h 6853150"/>
              <a:gd name="connsiteX224" fmla="*/ 0 w 324091"/>
              <a:gd name="connsiteY224" fmla="*/ 401999 h 6853150"/>
              <a:gd name="connsiteX225" fmla="*/ 0 w 324091"/>
              <a:gd name="connsiteY225" fmla="*/ 158496 h 6853150"/>
              <a:gd name="connsiteX226" fmla="*/ 279104 w 324091"/>
              <a:gd name="connsiteY226" fmla="*/ 158496 h 6853150"/>
              <a:gd name="connsiteX227" fmla="*/ 324091 w 324091"/>
              <a:gd name="connsiteY227" fmla="*/ 203483 h 6853150"/>
              <a:gd name="connsiteX228" fmla="*/ 279104 w 324091"/>
              <a:gd name="connsiteY228" fmla="*/ 248470 h 6853150"/>
              <a:gd name="connsiteX229" fmla="*/ 0 w 324091"/>
              <a:gd name="connsiteY229" fmla="*/ 248470 h 6853150"/>
              <a:gd name="connsiteX230" fmla="*/ 0 w 324091"/>
              <a:gd name="connsiteY230" fmla="*/ 0 h 6853150"/>
              <a:gd name="connsiteX231" fmla="*/ 81776 w 324091"/>
              <a:gd name="connsiteY231" fmla="*/ 0 h 6853150"/>
              <a:gd name="connsiteX232" fmla="*/ 104636 w 324091"/>
              <a:gd name="connsiteY232" fmla="*/ 22860 h 6853150"/>
              <a:gd name="connsiteX233" fmla="*/ 104635 w 324091"/>
              <a:gd name="connsiteY233" fmla="*/ 22860 h 6853150"/>
              <a:gd name="connsiteX234" fmla="*/ 81775 w 324091"/>
              <a:gd name="connsiteY234" fmla="*/ 45720 h 6853150"/>
              <a:gd name="connsiteX235" fmla="*/ 0 w 324091"/>
              <a:gd name="connsiteY235" fmla="*/ 45720 h 6853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</a:cxnLst>
            <a:rect l="l" t="t" r="r" b="b"/>
            <a:pathLst>
              <a:path w="324091" h="6853150">
                <a:moveTo>
                  <a:pt x="0" y="6807430"/>
                </a:moveTo>
                <a:lnTo>
                  <a:pt x="81776" y="6807430"/>
                </a:lnTo>
                <a:cubicBezTo>
                  <a:pt x="94401" y="6807430"/>
                  <a:pt x="104636" y="6817665"/>
                  <a:pt x="104636" y="6830290"/>
                </a:cubicBezTo>
                <a:lnTo>
                  <a:pt x="104635" y="6830290"/>
                </a:lnTo>
                <a:cubicBezTo>
                  <a:pt x="104635" y="6842915"/>
                  <a:pt x="94400" y="6853150"/>
                  <a:pt x="81775" y="6853150"/>
                </a:cubicBezTo>
                <a:lnTo>
                  <a:pt x="0" y="6853150"/>
                </a:lnTo>
                <a:close/>
                <a:moveTo>
                  <a:pt x="0" y="6653902"/>
                </a:moveTo>
                <a:lnTo>
                  <a:pt x="173216" y="6653902"/>
                </a:lnTo>
                <a:cubicBezTo>
                  <a:pt x="185841" y="6653902"/>
                  <a:pt x="196076" y="6664137"/>
                  <a:pt x="196076" y="6676762"/>
                </a:cubicBezTo>
                <a:lnTo>
                  <a:pt x="196075" y="6676762"/>
                </a:lnTo>
                <a:cubicBezTo>
                  <a:pt x="196075" y="6689387"/>
                  <a:pt x="185840" y="6699622"/>
                  <a:pt x="173215" y="6699622"/>
                </a:cubicBezTo>
                <a:lnTo>
                  <a:pt x="0" y="6699622"/>
                </a:lnTo>
                <a:close/>
                <a:moveTo>
                  <a:pt x="0" y="6500374"/>
                </a:moveTo>
                <a:lnTo>
                  <a:pt x="81776" y="6500374"/>
                </a:lnTo>
                <a:cubicBezTo>
                  <a:pt x="94401" y="6500374"/>
                  <a:pt x="104636" y="6510609"/>
                  <a:pt x="104636" y="6523234"/>
                </a:cubicBezTo>
                <a:lnTo>
                  <a:pt x="104635" y="6523234"/>
                </a:lnTo>
                <a:cubicBezTo>
                  <a:pt x="104635" y="6535859"/>
                  <a:pt x="94400" y="6546094"/>
                  <a:pt x="81775" y="6546094"/>
                </a:cubicBezTo>
                <a:lnTo>
                  <a:pt x="0" y="6546094"/>
                </a:lnTo>
                <a:close/>
                <a:moveTo>
                  <a:pt x="0" y="6302591"/>
                </a:moveTo>
                <a:lnTo>
                  <a:pt x="279104" y="6302591"/>
                </a:lnTo>
                <a:cubicBezTo>
                  <a:pt x="303950" y="6302591"/>
                  <a:pt x="324091" y="6322732"/>
                  <a:pt x="324091" y="6347578"/>
                </a:cubicBezTo>
                <a:cubicBezTo>
                  <a:pt x="324091" y="6372424"/>
                  <a:pt x="303950" y="6392565"/>
                  <a:pt x="279104" y="6392565"/>
                </a:cubicBezTo>
                <a:lnTo>
                  <a:pt x="0" y="6392565"/>
                </a:lnTo>
                <a:close/>
                <a:moveTo>
                  <a:pt x="0" y="6124755"/>
                </a:moveTo>
                <a:lnTo>
                  <a:pt x="81776" y="6124755"/>
                </a:lnTo>
                <a:cubicBezTo>
                  <a:pt x="94401" y="6124755"/>
                  <a:pt x="104636" y="6134990"/>
                  <a:pt x="104636" y="6147615"/>
                </a:cubicBezTo>
                <a:lnTo>
                  <a:pt x="104635" y="6147615"/>
                </a:lnTo>
                <a:cubicBezTo>
                  <a:pt x="104635" y="6160240"/>
                  <a:pt x="94400" y="6170475"/>
                  <a:pt x="81775" y="6170475"/>
                </a:cubicBezTo>
                <a:lnTo>
                  <a:pt x="0" y="6170475"/>
                </a:lnTo>
                <a:close/>
                <a:moveTo>
                  <a:pt x="0" y="5971227"/>
                </a:moveTo>
                <a:lnTo>
                  <a:pt x="173216" y="5971227"/>
                </a:lnTo>
                <a:cubicBezTo>
                  <a:pt x="185841" y="5971227"/>
                  <a:pt x="196076" y="5981462"/>
                  <a:pt x="196076" y="5994087"/>
                </a:cubicBezTo>
                <a:lnTo>
                  <a:pt x="196075" y="5994087"/>
                </a:lnTo>
                <a:cubicBezTo>
                  <a:pt x="196075" y="6006712"/>
                  <a:pt x="185840" y="6016947"/>
                  <a:pt x="173215" y="6016947"/>
                </a:cubicBezTo>
                <a:lnTo>
                  <a:pt x="0" y="6016947"/>
                </a:lnTo>
                <a:close/>
                <a:moveTo>
                  <a:pt x="0" y="5817699"/>
                </a:moveTo>
                <a:lnTo>
                  <a:pt x="81776" y="5817699"/>
                </a:lnTo>
                <a:cubicBezTo>
                  <a:pt x="94401" y="5817699"/>
                  <a:pt x="104636" y="5827934"/>
                  <a:pt x="104636" y="5840559"/>
                </a:cubicBezTo>
                <a:lnTo>
                  <a:pt x="104635" y="5840559"/>
                </a:lnTo>
                <a:cubicBezTo>
                  <a:pt x="104635" y="5853184"/>
                  <a:pt x="94400" y="5863419"/>
                  <a:pt x="81775" y="5863419"/>
                </a:cubicBezTo>
                <a:lnTo>
                  <a:pt x="0" y="5863419"/>
                </a:lnTo>
                <a:close/>
                <a:moveTo>
                  <a:pt x="0" y="5619916"/>
                </a:moveTo>
                <a:lnTo>
                  <a:pt x="279104" y="5619916"/>
                </a:lnTo>
                <a:cubicBezTo>
                  <a:pt x="303950" y="5619916"/>
                  <a:pt x="324091" y="5640057"/>
                  <a:pt x="324091" y="5664903"/>
                </a:cubicBezTo>
                <a:cubicBezTo>
                  <a:pt x="324091" y="5689749"/>
                  <a:pt x="303950" y="5709890"/>
                  <a:pt x="279104" y="5709890"/>
                </a:cubicBezTo>
                <a:lnTo>
                  <a:pt x="0" y="5709890"/>
                </a:lnTo>
                <a:close/>
                <a:moveTo>
                  <a:pt x="0" y="5442077"/>
                </a:moveTo>
                <a:lnTo>
                  <a:pt x="81776" y="5442077"/>
                </a:lnTo>
                <a:cubicBezTo>
                  <a:pt x="94401" y="5442077"/>
                  <a:pt x="104636" y="5452312"/>
                  <a:pt x="104636" y="5464937"/>
                </a:cubicBezTo>
                <a:lnTo>
                  <a:pt x="104635" y="5464937"/>
                </a:lnTo>
                <a:cubicBezTo>
                  <a:pt x="104635" y="5477562"/>
                  <a:pt x="94400" y="5487797"/>
                  <a:pt x="81775" y="5487797"/>
                </a:cubicBezTo>
                <a:lnTo>
                  <a:pt x="0" y="5487797"/>
                </a:lnTo>
                <a:close/>
                <a:moveTo>
                  <a:pt x="0" y="5288549"/>
                </a:moveTo>
                <a:lnTo>
                  <a:pt x="173216" y="5288549"/>
                </a:lnTo>
                <a:cubicBezTo>
                  <a:pt x="185841" y="5288549"/>
                  <a:pt x="196076" y="5298784"/>
                  <a:pt x="196076" y="5311409"/>
                </a:cubicBezTo>
                <a:lnTo>
                  <a:pt x="196075" y="5311409"/>
                </a:lnTo>
                <a:cubicBezTo>
                  <a:pt x="196075" y="5324034"/>
                  <a:pt x="185840" y="5334269"/>
                  <a:pt x="173215" y="5334269"/>
                </a:cubicBezTo>
                <a:lnTo>
                  <a:pt x="0" y="5334269"/>
                </a:lnTo>
                <a:close/>
                <a:moveTo>
                  <a:pt x="0" y="5135021"/>
                </a:moveTo>
                <a:lnTo>
                  <a:pt x="81776" y="5135021"/>
                </a:lnTo>
                <a:cubicBezTo>
                  <a:pt x="94401" y="5135021"/>
                  <a:pt x="104636" y="5145256"/>
                  <a:pt x="104636" y="5157881"/>
                </a:cubicBezTo>
                <a:lnTo>
                  <a:pt x="104635" y="5157881"/>
                </a:lnTo>
                <a:cubicBezTo>
                  <a:pt x="104635" y="5170506"/>
                  <a:pt x="94400" y="5180741"/>
                  <a:pt x="81775" y="5180741"/>
                </a:cubicBezTo>
                <a:lnTo>
                  <a:pt x="0" y="5180741"/>
                </a:lnTo>
                <a:close/>
                <a:moveTo>
                  <a:pt x="0" y="4937238"/>
                </a:moveTo>
                <a:lnTo>
                  <a:pt x="279104" y="4937238"/>
                </a:lnTo>
                <a:cubicBezTo>
                  <a:pt x="303950" y="4937238"/>
                  <a:pt x="324091" y="4957379"/>
                  <a:pt x="324091" y="4982225"/>
                </a:cubicBezTo>
                <a:cubicBezTo>
                  <a:pt x="324091" y="5007071"/>
                  <a:pt x="303950" y="5027212"/>
                  <a:pt x="279104" y="5027212"/>
                </a:cubicBezTo>
                <a:lnTo>
                  <a:pt x="0" y="5027212"/>
                </a:lnTo>
                <a:close/>
                <a:moveTo>
                  <a:pt x="0" y="4759399"/>
                </a:moveTo>
                <a:lnTo>
                  <a:pt x="81776" y="4759399"/>
                </a:lnTo>
                <a:cubicBezTo>
                  <a:pt x="94401" y="4759399"/>
                  <a:pt x="104636" y="4769634"/>
                  <a:pt x="104636" y="4782259"/>
                </a:cubicBezTo>
                <a:lnTo>
                  <a:pt x="104635" y="4782259"/>
                </a:lnTo>
                <a:cubicBezTo>
                  <a:pt x="104635" y="4794884"/>
                  <a:pt x="94400" y="4805119"/>
                  <a:pt x="81775" y="4805119"/>
                </a:cubicBezTo>
                <a:lnTo>
                  <a:pt x="0" y="4805119"/>
                </a:lnTo>
                <a:close/>
                <a:moveTo>
                  <a:pt x="0" y="4605871"/>
                </a:moveTo>
                <a:lnTo>
                  <a:pt x="173216" y="4605871"/>
                </a:lnTo>
                <a:cubicBezTo>
                  <a:pt x="185841" y="4605871"/>
                  <a:pt x="196076" y="4616106"/>
                  <a:pt x="196076" y="4628731"/>
                </a:cubicBezTo>
                <a:lnTo>
                  <a:pt x="196075" y="4628731"/>
                </a:lnTo>
                <a:cubicBezTo>
                  <a:pt x="196075" y="4641356"/>
                  <a:pt x="185840" y="4651591"/>
                  <a:pt x="173215" y="4651591"/>
                </a:cubicBezTo>
                <a:lnTo>
                  <a:pt x="0" y="4651591"/>
                </a:lnTo>
                <a:close/>
                <a:moveTo>
                  <a:pt x="0" y="4452343"/>
                </a:moveTo>
                <a:lnTo>
                  <a:pt x="81776" y="4452343"/>
                </a:lnTo>
                <a:cubicBezTo>
                  <a:pt x="94401" y="4452343"/>
                  <a:pt x="104636" y="4462578"/>
                  <a:pt x="104636" y="4475203"/>
                </a:cubicBezTo>
                <a:lnTo>
                  <a:pt x="104635" y="4475203"/>
                </a:lnTo>
                <a:cubicBezTo>
                  <a:pt x="104635" y="4487828"/>
                  <a:pt x="94400" y="4498063"/>
                  <a:pt x="81775" y="4498063"/>
                </a:cubicBezTo>
                <a:lnTo>
                  <a:pt x="0" y="4498063"/>
                </a:lnTo>
                <a:close/>
                <a:moveTo>
                  <a:pt x="0" y="4254560"/>
                </a:moveTo>
                <a:lnTo>
                  <a:pt x="279104" y="4254560"/>
                </a:lnTo>
                <a:cubicBezTo>
                  <a:pt x="303950" y="4254560"/>
                  <a:pt x="324091" y="4274701"/>
                  <a:pt x="324091" y="4299547"/>
                </a:cubicBezTo>
                <a:cubicBezTo>
                  <a:pt x="324091" y="4324393"/>
                  <a:pt x="303950" y="4344534"/>
                  <a:pt x="279104" y="4344534"/>
                </a:cubicBezTo>
                <a:lnTo>
                  <a:pt x="0" y="4344534"/>
                </a:lnTo>
                <a:close/>
                <a:moveTo>
                  <a:pt x="0" y="4076721"/>
                </a:moveTo>
                <a:lnTo>
                  <a:pt x="81776" y="4076721"/>
                </a:lnTo>
                <a:cubicBezTo>
                  <a:pt x="94401" y="4076721"/>
                  <a:pt x="104636" y="4086956"/>
                  <a:pt x="104636" y="4099581"/>
                </a:cubicBezTo>
                <a:lnTo>
                  <a:pt x="104635" y="4099581"/>
                </a:lnTo>
                <a:cubicBezTo>
                  <a:pt x="104635" y="4112206"/>
                  <a:pt x="94400" y="4122441"/>
                  <a:pt x="81775" y="4122441"/>
                </a:cubicBezTo>
                <a:lnTo>
                  <a:pt x="0" y="4122441"/>
                </a:lnTo>
                <a:close/>
                <a:moveTo>
                  <a:pt x="0" y="3923193"/>
                </a:moveTo>
                <a:lnTo>
                  <a:pt x="173216" y="3923193"/>
                </a:lnTo>
                <a:cubicBezTo>
                  <a:pt x="185841" y="3923193"/>
                  <a:pt x="196076" y="3933428"/>
                  <a:pt x="196076" y="3946053"/>
                </a:cubicBezTo>
                <a:lnTo>
                  <a:pt x="196075" y="3946053"/>
                </a:lnTo>
                <a:cubicBezTo>
                  <a:pt x="196075" y="3958678"/>
                  <a:pt x="185840" y="3968913"/>
                  <a:pt x="173215" y="3968913"/>
                </a:cubicBezTo>
                <a:lnTo>
                  <a:pt x="0" y="3968913"/>
                </a:lnTo>
                <a:close/>
                <a:moveTo>
                  <a:pt x="0" y="3769665"/>
                </a:moveTo>
                <a:lnTo>
                  <a:pt x="81776" y="3769665"/>
                </a:lnTo>
                <a:cubicBezTo>
                  <a:pt x="94401" y="3769665"/>
                  <a:pt x="104636" y="3779900"/>
                  <a:pt x="104636" y="3792525"/>
                </a:cubicBezTo>
                <a:lnTo>
                  <a:pt x="104635" y="3792525"/>
                </a:lnTo>
                <a:cubicBezTo>
                  <a:pt x="104635" y="3805150"/>
                  <a:pt x="94400" y="3815385"/>
                  <a:pt x="81775" y="3815385"/>
                </a:cubicBezTo>
                <a:lnTo>
                  <a:pt x="0" y="3815385"/>
                </a:lnTo>
                <a:close/>
                <a:moveTo>
                  <a:pt x="0" y="3571882"/>
                </a:moveTo>
                <a:lnTo>
                  <a:pt x="279104" y="3571882"/>
                </a:lnTo>
                <a:cubicBezTo>
                  <a:pt x="303950" y="3571882"/>
                  <a:pt x="324091" y="3592023"/>
                  <a:pt x="324091" y="3616869"/>
                </a:cubicBezTo>
                <a:cubicBezTo>
                  <a:pt x="324091" y="3641715"/>
                  <a:pt x="303950" y="3661856"/>
                  <a:pt x="279104" y="3661856"/>
                </a:cubicBezTo>
                <a:lnTo>
                  <a:pt x="0" y="3661856"/>
                </a:lnTo>
                <a:close/>
                <a:moveTo>
                  <a:pt x="0" y="3394043"/>
                </a:moveTo>
                <a:lnTo>
                  <a:pt x="81776" y="3394043"/>
                </a:lnTo>
                <a:cubicBezTo>
                  <a:pt x="94401" y="3394043"/>
                  <a:pt x="104636" y="3404279"/>
                  <a:pt x="104636" y="3416905"/>
                </a:cubicBezTo>
                <a:lnTo>
                  <a:pt x="104635" y="3416905"/>
                </a:lnTo>
                <a:cubicBezTo>
                  <a:pt x="104635" y="3429528"/>
                  <a:pt x="94400" y="3439763"/>
                  <a:pt x="81775" y="3439763"/>
                </a:cubicBezTo>
                <a:lnTo>
                  <a:pt x="0" y="3439763"/>
                </a:lnTo>
                <a:close/>
                <a:moveTo>
                  <a:pt x="0" y="3240516"/>
                </a:moveTo>
                <a:lnTo>
                  <a:pt x="173216" y="3240516"/>
                </a:lnTo>
                <a:cubicBezTo>
                  <a:pt x="185841" y="3240516"/>
                  <a:pt x="196076" y="3250752"/>
                  <a:pt x="196076" y="3263376"/>
                </a:cubicBezTo>
                <a:lnTo>
                  <a:pt x="196075" y="3263376"/>
                </a:lnTo>
                <a:cubicBezTo>
                  <a:pt x="196075" y="3276001"/>
                  <a:pt x="185840" y="3286236"/>
                  <a:pt x="173215" y="3286236"/>
                </a:cubicBezTo>
                <a:lnTo>
                  <a:pt x="0" y="3286236"/>
                </a:lnTo>
                <a:close/>
                <a:moveTo>
                  <a:pt x="0" y="3086989"/>
                </a:moveTo>
                <a:lnTo>
                  <a:pt x="81776" y="3086989"/>
                </a:lnTo>
                <a:cubicBezTo>
                  <a:pt x="94401" y="3086989"/>
                  <a:pt x="104636" y="3097224"/>
                  <a:pt x="104636" y="3109849"/>
                </a:cubicBezTo>
                <a:lnTo>
                  <a:pt x="104635" y="3109849"/>
                </a:lnTo>
                <a:cubicBezTo>
                  <a:pt x="104635" y="3122474"/>
                  <a:pt x="94400" y="3132709"/>
                  <a:pt x="81775" y="3132709"/>
                </a:cubicBezTo>
                <a:lnTo>
                  <a:pt x="0" y="3132709"/>
                </a:lnTo>
                <a:close/>
                <a:moveTo>
                  <a:pt x="0" y="2889206"/>
                </a:moveTo>
                <a:lnTo>
                  <a:pt x="279104" y="2889206"/>
                </a:lnTo>
                <a:cubicBezTo>
                  <a:pt x="303950" y="2889206"/>
                  <a:pt x="324091" y="2909347"/>
                  <a:pt x="324091" y="2934194"/>
                </a:cubicBezTo>
                <a:cubicBezTo>
                  <a:pt x="324091" y="2959039"/>
                  <a:pt x="303950" y="2979180"/>
                  <a:pt x="279104" y="2979180"/>
                </a:cubicBezTo>
                <a:lnTo>
                  <a:pt x="0" y="2979180"/>
                </a:lnTo>
                <a:close/>
                <a:moveTo>
                  <a:pt x="0" y="2711367"/>
                </a:moveTo>
                <a:lnTo>
                  <a:pt x="81776" y="2711367"/>
                </a:lnTo>
                <a:cubicBezTo>
                  <a:pt x="94401" y="2711367"/>
                  <a:pt x="104636" y="2721602"/>
                  <a:pt x="104636" y="2734227"/>
                </a:cubicBezTo>
                <a:lnTo>
                  <a:pt x="104635" y="2734227"/>
                </a:lnTo>
                <a:cubicBezTo>
                  <a:pt x="104635" y="2746852"/>
                  <a:pt x="94400" y="2757087"/>
                  <a:pt x="81775" y="2757087"/>
                </a:cubicBezTo>
                <a:lnTo>
                  <a:pt x="0" y="2757087"/>
                </a:lnTo>
                <a:close/>
                <a:moveTo>
                  <a:pt x="0" y="2557839"/>
                </a:moveTo>
                <a:lnTo>
                  <a:pt x="173216" y="2557839"/>
                </a:lnTo>
                <a:cubicBezTo>
                  <a:pt x="185841" y="2557839"/>
                  <a:pt x="196076" y="2568074"/>
                  <a:pt x="196076" y="2580699"/>
                </a:cubicBezTo>
                <a:lnTo>
                  <a:pt x="196075" y="2580699"/>
                </a:lnTo>
                <a:cubicBezTo>
                  <a:pt x="196075" y="2593324"/>
                  <a:pt x="185840" y="2603559"/>
                  <a:pt x="173215" y="2603559"/>
                </a:cubicBezTo>
                <a:lnTo>
                  <a:pt x="0" y="2603559"/>
                </a:lnTo>
                <a:close/>
                <a:moveTo>
                  <a:pt x="0" y="2404312"/>
                </a:moveTo>
                <a:lnTo>
                  <a:pt x="81776" y="2404312"/>
                </a:lnTo>
                <a:cubicBezTo>
                  <a:pt x="94401" y="2404312"/>
                  <a:pt x="104636" y="2414546"/>
                  <a:pt x="104636" y="2427171"/>
                </a:cubicBezTo>
                <a:lnTo>
                  <a:pt x="104635" y="2427171"/>
                </a:lnTo>
                <a:cubicBezTo>
                  <a:pt x="104635" y="2439796"/>
                  <a:pt x="94400" y="2450032"/>
                  <a:pt x="81775" y="2450032"/>
                </a:cubicBezTo>
                <a:lnTo>
                  <a:pt x="0" y="2450032"/>
                </a:lnTo>
                <a:close/>
                <a:moveTo>
                  <a:pt x="0" y="2206528"/>
                </a:moveTo>
                <a:lnTo>
                  <a:pt x="279104" y="2206528"/>
                </a:lnTo>
                <a:cubicBezTo>
                  <a:pt x="303950" y="2206528"/>
                  <a:pt x="324091" y="2226669"/>
                  <a:pt x="324091" y="2251515"/>
                </a:cubicBezTo>
                <a:cubicBezTo>
                  <a:pt x="324091" y="2276362"/>
                  <a:pt x="303950" y="2296503"/>
                  <a:pt x="279104" y="2296503"/>
                </a:cubicBezTo>
                <a:lnTo>
                  <a:pt x="0" y="2296503"/>
                </a:lnTo>
                <a:close/>
                <a:moveTo>
                  <a:pt x="0" y="2028689"/>
                </a:moveTo>
                <a:lnTo>
                  <a:pt x="81776" y="2028689"/>
                </a:lnTo>
                <a:cubicBezTo>
                  <a:pt x="94401" y="2028689"/>
                  <a:pt x="104636" y="2038925"/>
                  <a:pt x="104636" y="2051550"/>
                </a:cubicBezTo>
                <a:lnTo>
                  <a:pt x="104635" y="2051550"/>
                </a:lnTo>
                <a:cubicBezTo>
                  <a:pt x="104635" y="2064175"/>
                  <a:pt x="94400" y="2074409"/>
                  <a:pt x="81775" y="2074409"/>
                </a:cubicBezTo>
                <a:lnTo>
                  <a:pt x="0" y="2074409"/>
                </a:lnTo>
                <a:close/>
                <a:moveTo>
                  <a:pt x="0" y="1875162"/>
                </a:moveTo>
                <a:lnTo>
                  <a:pt x="173216" y="1875162"/>
                </a:lnTo>
                <a:cubicBezTo>
                  <a:pt x="185841" y="1875162"/>
                  <a:pt x="196076" y="1885397"/>
                  <a:pt x="196076" y="1898022"/>
                </a:cubicBezTo>
                <a:lnTo>
                  <a:pt x="196075" y="1898022"/>
                </a:lnTo>
                <a:cubicBezTo>
                  <a:pt x="196075" y="1910647"/>
                  <a:pt x="185840" y="1920882"/>
                  <a:pt x="173215" y="1920882"/>
                </a:cubicBezTo>
                <a:lnTo>
                  <a:pt x="0" y="1920882"/>
                </a:lnTo>
                <a:close/>
                <a:moveTo>
                  <a:pt x="0" y="1721635"/>
                </a:moveTo>
                <a:lnTo>
                  <a:pt x="81776" y="1721635"/>
                </a:lnTo>
                <a:cubicBezTo>
                  <a:pt x="94401" y="1721635"/>
                  <a:pt x="104636" y="1731870"/>
                  <a:pt x="104636" y="1744495"/>
                </a:cubicBezTo>
                <a:lnTo>
                  <a:pt x="104635" y="1744495"/>
                </a:lnTo>
                <a:cubicBezTo>
                  <a:pt x="104635" y="1757120"/>
                  <a:pt x="94400" y="1767355"/>
                  <a:pt x="81775" y="1767355"/>
                </a:cubicBezTo>
                <a:lnTo>
                  <a:pt x="0" y="1767355"/>
                </a:lnTo>
                <a:close/>
                <a:moveTo>
                  <a:pt x="0" y="1523851"/>
                </a:moveTo>
                <a:lnTo>
                  <a:pt x="279104" y="1523851"/>
                </a:lnTo>
                <a:cubicBezTo>
                  <a:pt x="303950" y="1523851"/>
                  <a:pt x="324091" y="1543992"/>
                  <a:pt x="324091" y="1568838"/>
                </a:cubicBezTo>
                <a:cubicBezTo>
                  <a:pt x="324091" y="1593684"/>
                  <a:pt x="303950" y="1613826"/>
                  <a:pt x="279104" y="1613826"/>
                </a:cubicBezTo>
                <a:lnTo>
                  <a:pt x="0" y="1613826"/>
                </a:lnTo>
                <a:close/>
                <a:moveTo>
                  <a:pt x="0" y="1346012"/>
                </a:moveTo>
                <a:lnTo>
                  <a:pt x="81776" y="1346012"/>
                </a:lnTo>
                <a:cubicBezTo>
                  <a:pt x="94401" y="1346012"/>
                  <a:pt x="104636" y="1356247"/>
                  <a:pt x="104636" y="1368872"/>
                </a:cubicBezTo>
                <a:lnTo>
                  <a:pt x="104635" y="1368872"/>
                </a:lnTo>
                <a:cubicBezTo>
                  <a:pt x="104635" y="1381497"/>
                  <a:pt x="94400" y="1391732"/>
                  <a:pt x="81775" y="1391732"/>
                </a:cubicBezTo>
                <a:lnTo>
                  <a:pt x="0" y="1391732"/>
                </a:lnTo>
                <a:close/>
                <a:moveTo>
                  <a:pt x="0" y="1192484"/>
                </a:moveTo>
                <a:lnTo>
                  <a:pt x="173216" y="1192484"/>
                </a:lnTo>
                <a:cubicBezTo>
                  <a:pt x="185841" y="1192484"/>
                  <a:pt x="196076" y="1202719"/>
                  <a:pt x="196076" y="1215344"/>
                </a:cubicBezTo>
                <a:lnTo>
                  <a:pt x="196075" y="1215344"/>
                </a:lnTo>
                <a:cubicBezTo>
                  <a:pt x="196075" y="1227969"/>
                  <a:pt x="185840" y="1238205"/>
                  <a:pt x="173215" y="1238205"/>
                </a:cubicBezTo>
                <a:lnTo>
                  <a:pt x="0" y="1238205"/>
                </a:lnTo>
                <a:close/>
                <a:moveTo>
                  <a:pt x="0" y="1038956"/>
                </a:moveTo>
                <a:lnTo>
                  <a:pt x="81776" y="1038956"/>
                </a:lnTo>
                <a:cubicBezTo>
                  <a:pt x="94401" y="1038956"/>
                  <a:pt x="104636" y="1049192"/>
                  <a:pt x="104636" y="1061817"/>
                </a:cubicBezTo>
                <a:lnTo>
                  <a:pt x="104635" y="1061817"/>
                </a:lnTo>
                <a:cubicBezTo>
                  <a:pt x="104635" y="1074442"/>
                  <a:pt x="94400" y="1084677"/>
                  <a:pt x="81775" y="1084677"/>
                </a:cubicBezTo>
                <a:lnTo>
                  <a:pt x="0" y="1084677"/>
                </a:lnTo>
                <a:close/>
                <a:moveTo>
                  <a:pt x="0" y="841173"/>
                </a:moveTo>
                <a:lnTo>
                  <a:pt x="279104" y="841173"/>
                </a:lnTo>
                <a:cubicBezTo>
                  <a:pt x="303950" y="841173"/>
                  <a:pt x="324091" y="861314"/>
                  <a:pt x="324091" y="886160"/>
                </a:cubicBezTo>
                <a:cubicBezTo>
                  <a:pt x="324091" y="911007"/>
                  <a:pt x="303950" y="931147"/>
                  <a:pt x="279104" y="931147"/>
                </a:cubicBezTo>
                <a:lnTo>
                  <a:pt x="0" y="931147"/>
                </a:lnTo>
                <a:close/>
                <a:moveTo>
                  <a:pt x="0" y="663334"/>
                </a:moveTo>
                <a:lnTo>
                  <a:pt x="81776" y="663334"/>
                </a:lnTo>
                <a:cubicBezTo>
                  <a:pt x="94401" y="663334"/>
                  <a:pt x="104636" y="673569"/>
                  <a:pt x="104636" y="686194"/>
                </a:cubicBezTo>
                <a:lnTo>
                  <a:pt x="104635" y="686194"/>
                </a:lnTo>
                <a:cubicBezTo>
                  <a:pt x="104635" y="698819"/>
                  <a:pt x="94400" y="709054"/>
                  <a:pt x="81775" y="709054"/>
                </a:cubicBezTo>
                <a:lnTo>
                  <a:pt x="0" y="709054"/>
                </a:lnTo>
                <a:close/>
                <a:moveTo>
                  <a:pt x="0" y="509806"/>
                </a:moveTo>
                <a:lnTo>
                  <a:pt x="173216" y="509806"/>
                </a:lnTo>
                <a:cubicBezTo>
                  <a:pt x="185841" y="509806"/>
                  <a:pt x="196076" y="520041"/>
                  <a:pt x="196076" y="532666"/>
                </a:cubicBezTo>
                <a:lnTo>
                  <a:pt x="196075" y="532666"/>
                </a:lnTo>
                <a:cubicBezTo>
                  <a:pt x="196075" y="545291"/>
                  <a:pt x="185840" y="555526"/>
                  <a:pt x="173215" y="555526"/>
                </a:cubicBezTo>
                <a:lnTo>
                  <a:pt x="0" y="555526"/>
                </a:lnTo>
                <a:close/>
                <a:moveTo>
                  <a:pt x="0" y="356279"/>
                </a:moveTo>
                <a:lnTo>
                  <a:pt x="81776" y="356279"/>
                </a:lnTo>
                <a:cubicBezTo>
                  <a:pt x="94401" y="356279"/>
                  <a:pt x="104636" y="366514"/>
                  <a:pt x="104636" y="379139"/>
                </a:cubicBezTo>
                <a:lnTo>
                  <a:pt x="104635" y="379139"/>
                </a:lnTo>
                <a:cubicBezTo>
                  <a:pt x="104635" y="391764"/>
                  <a:pt x="94400" y="401999"/>
                  <a:pt x="81775" y="401999"/>
                </a:cubicBezTo>
                <a:lnTo>
                  <a:pt x="0" y="401999"/>
                </a:lnTo>
                <a:close/>
                <a:moveTo>
                  <a:pt x="0" y="158496"/>
                </a:moveTo>
                <a:lnTo>
                  <a:pt x="279104" y="158496"/>
                </a:lnTo>
                <a:cubicBezTo>
                  <a:pt x="303950" y="158496"/>
                  <a:pt x="324091" y="178637"/>
                  <a:pt x="324091" y="203483"/>
                </a:cubicBezTo>
                <a:cubicBezTo>
                  <a:pt x="324091" y="228329"/>
                  <a:pt x="303950" y="248470"/>
                  <a:pt x="279104" y="248470"/>
                </a:cubicBezTo>
                <a:lnTo>
                  <a:pt x="0" y="248470"/>
                </a:lnTo>
                <a:close/>
                <a:moveTo>
                  <a:pt x="0" y="0"/>
                </a:moveTo>
                <a:lnTo>
                  <a:pt x="81776" y="0"/>
                </a:lnTo>
                <a:cubicBezTo>
                  <a:pt x="94401" y="0"/>
                  <a:pt x="104636" y="10235"/>
                  <a:pt x="104636" y="22860"/>
                </a:cubicBezTo>
                <a:lnTo>
                  <a:pt x="104635" y="22860"/>
                </a:lnTo>
                <a:cubicBezTo>
                  <a:pt x="104635" y="35485"/>
                  <a:pt x="94400" y="45720"/>
                  <a:pt x="81775" y="45720"/>
                </a:cubicBezTo>
                <a:lnTo>
                  <a:pt x="0" y="45720"/>
                </a:lnTo>
                <a:close/>
              </a:path>
            </a:pathLst>
          </a:custGeom>
          <a:solidFill>
            <a:schemeClr val="bg1">
              <a:alpha val="3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331113" y="2211598"/>
            <a:ext cx="9108607" cy="165576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3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EEA0213-A3F9-47D1-AEFE-22C187AB23C3}"/>
              </a:ext>
            </a:extLst>
          </p:cNvPr>
          <p:cNvGrpSpPr/>
          <p:nvPr userDrawn="1"/>
        </p:nvGrpSpPr>
        <p:grpSpPr>
          <a:xfrm>
            <a:off x="11803080" y="979776"/>
            <a:ext cx="221196" cy="228600"/>
            <a:chOff x="11806154" y="979776"/>
            <a:chExt cx="221254" cy="228600"/>
          </a:xfrm>
        </p:grpSpPr>
        <p:sp>
          <p:nvSpPr>
            <p:cNvPr id="13" name="Round Same-side Corner of Rectangle 79">
              <a:extLst>
                <a:ext uri="{FF2B5EF4-FFF2-40B4-BE49-F238E27FC236}">
                  <a16:creationId xmlns:a16="http://schemas.microsoft.com/office/drawing/2014/main" id="{812C2910-CAAB-48F9-8068-13C09737DE00}"/>
                </a:ext>
              </a:extLst>
            </p:cNvPr>
            <p:cNvSpPr/>
            <p:nvPr/>
          </p:nvSpPr>
          <p:spPr>
            <a:xfrm rot="5400000">
              <a:off x="11802481" y="983449"/>
              <a:ext cx="228600" cy="221254"/>
            </a:xfrm>
            <a:prstGeom prst="round2SameRect">
              <a:avLst>
                <a:gd name="adj1" fmla="val 0"/>
                <a:gd name="adj2" fmla="val 50000"/>
              </a:avLst>
            </a:prstGeom>
            <a:solidFill>
              <a:schemeClr val="tx2"/>
            </a:solidFill>
            <a:ln w="9525">
              <a:noFill/>
            </a:ln>
            <a:effectLst>
              <a:innerShdw blurRad="63500" dist="25400" dir="5400000">
                <a:prstClr val="black">
                  <a:alpha val="32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D52C0F9A-4396-4332-B60D-325DD8CA962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843840" y="1010005"/>
              <a:ext cx="155448" cy="155448"/>
            </a:xfrm>
            <a:prstGeom prst="rect">
              <a:avLst/>
            </a:prstGeom>
          </p:spPr>
        </p:pic>
      </p:grp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0F8D6F6-BF16-4494-8FA6-ED786EE97319}"/>
              </a:ext>
            </a:extLst>
          </p:cNvPr>
          <p:cNvSpPr/>
          <p:nvPr userDrawn="1"/>
        </p:nvSpPr>
        <p:spPr>
          <a:xfrm>
            <a:off x="558654" y="706397"/>
            <a:ext cx="4012155" cy="977900"/>
          </a:xfrm>
          <a:prstGeom prst="roundRect">
            <a:avLst>
              <a:gd name="adj" fmla="val 50000"/>
            </a:avLst>
          </a:prstGeom>
          <a:solidFill>
            <a:schemeClr val="bg1">
              <a:alpha val="39000"/>
            </a:schemeClr>
          </a:solidFill>
          <a:ln w="190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293027" y="552617"/>
            <a:ext cx="9385073" cy="1304513"/>
          </a:xfrm>
        </p:spPr>
        <p:txBody>
          <a:bodyPr anchor="ctr">
            <a:noAutofit/>
          </a:bodyPr>
          <a:lstStyle>
            <a:lvl1pPr algn="l">
              <a:defRPr sz="3999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4E4E6CBE-6686-4F23-B4F4-999481D1BC1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39628" y="846811"/>
            <a:ext cx="609466" cy="711972"/>
          </a:xfrm>
          <a:custGeom>
            <a:avLst/>
            <a:gdLst>
              <a:gd name="T0" fmla="*/ 708 w 809"/>
              <a:gd name="T1" fmla="*/ 509 h 945"/>
              <a:gd name="T2" fmla="*/ 405 w 809"/>
              <a:gd name="T3" fmla="*/ 838 h 945"/>
              <a:gd name="T4" fmla="*/ 404 w 809"/>
              <a:gd name="T5" fmla="*/ 838 h 945"/>
              <a:gd name="T6" fmla="*/ 404 w 809"/>
              <a:gd name="T7" fmla="*/ 473 h 945"/>
              <a:gd name="T8" fmla="*/ 101 w 809"/>
              <a:gd name="T9" fmla="*/ 473 h 945"/>
              <a:gd name="T10" fmla="*/ 101 w 809"/>
              <a:gd name="T11" fmla="*/ 245 h 945"/>
              <a:gd name="T12" fmla="*/ 404 w 809"/>
              <a:gd name="T13" fmla="*/ 123 h 945"/>
              <a:gd name="T14" fmla="*/ 404 w 809"/>
              <a:gd name="T15" fmla="*/ 473 h 945"/>
              <a:gd name="T16" fmla="*/ 708 w 809"/>
              <a:gd name="T17" fmla="*/ 473 h 945"/>
              <a:gd name="T18" fmla="*/ 708 w 809"/>
              <a:gd name="T19" fmla="*/ 509 h 945"/>
              <a:gd name="T20" fmla="*/ 792 w 809"/>
              <a:gd name="T21" fmla="*/ 150 h 945"/>
              <a:gd name="T22" fmla="*/ 415 w 809"/>
              <a:gd name="T23" fmla="*/ 4 h 945"/>
              <a:gd name="T24" fmla="*/ 394 w 809"/>
              <a:gd name="T25" fmla="*/ 4 h 945"/>
              <a:gd name="T26" fmla="*/ 17 w 809"/>
              <a:gd name="T27" fmla="*/ 150 h 945"/>
              <a:gd name="T28" fmla="*/ 0 w 809"/>
              <a:gd name="T29" fmla="*/ 168 h 945"/>
              <a:gd name="T30" fmla="*/ 0 w 809"/>
              <a:gd name="T31" fmla="*/ 508 h 945"/>
              <a:gd name="T32" fmla="*/ 398 w 809"/>
              <a:gd name="T33" fmla="*/ 944 h 945"/>
              <a:gd name="T34" fmla="*/ 410 w 809"/>
              <a:gd name="T35" fmla="*/ 944 h 945"/>
              <a:gd name="T36" fmla="*/ 809 w 809"/>
              <a:gd name="T37" fmla="*/ 508 h 945"/>
              <a:gd name="T38" fmla="*/ 809 w 809"/>
              <a:gd name="T39" fmla="*/ 168 h 945"/>
              <a:gd name="T40" fmla="*/ 792 w 809"/>
              <a:gd name="T41" fmla="*/ 150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9" h="945">
                <a:moveTo>
                  <a:pt x="708" y="509"/>
                </a:moveTo>
                <a:cubicBezTo>
                  <a:pt x="708" y="713"/>
                  <a:pt x="483" y="811"/>
                  <a:pt x="405" y="838"/>
                </a:cubicBezTo>
                <a:cubicBezTo>
                  <a:pt x="405" y="838"/>
                  <a:pt x="404" y="838"/>
                  <a:pt x="404" y="838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101" y="473"/>
                  <a:pt x="101" y="473"/>
                  <a:pt x="101" y="473"/>
                </a:cubicBezTo>
                <a:cubicBezTo>
                  <a:pt x="101" y="245"/>
                  <a:pt x="101" y="245"/>
                  <a:pt x="101" y="245"/>
                </a:cubicBezTo>
                <a:cubicBezTo>
                  <a:pt x="185" y="231"/>
                  <a:pt x="288" y="197"/>
                  <a:pt x="404" y="123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708" y="473"/>
                  <a:pt x="708" y="473"/>
                  <a:pt x="708" y="473"/>
                </a:cubicBezTo>
                <a:lnTo>
                  <a:pt x="708" y="509"/>
                </a:lnTo>
                <a:close/>
                <a:moveTo>
                  <a:pt x="792" y="150"/>
                </a:moveTo>
                <a:cubicBezTo>
                  <a:pt x="691" y="146"/>
                  <a:pt x="562" y="109"/>
                  <a:pt x="415" y="4"/>
                </a:cubicBezTo>
                <a:cubicBezTo>
                  <a:pt x="409" y="0"/>
                  <a:pt x="400" y="0"/>
                  <a:pt x="394" y="4"/>
                </a:cubicBezTo>
                <a:cubicBezTo>
                  <a:pt x="247" y="109"/>
                  <a:pt x="118" y="146"/>
                  <a:pt x="17" y="150"/>
                </a:cubicBezTo>
                <a:cubicBezTo>
                  <a:pt x="7" y="150"/>
                  <a:pt x="0" y="158"/>
                  <a:pt x="0" y="168"/>
                </a:cubicBezTo>
                <a:cubicBezTo>
                  <a:pt x="0" y="209"/>
                  <a:pt x="0" y="325"/>
                  <a:pt x="0" y="508"/>
                </a:cubicBezTo>
                <a:cubicBezTo>
                  <a:pt x="0" y="792"/>
                  <a:pt x="348" y="926"/>
                  <a:pt x="398" y="944"/>
                </a:cubicBezTo>
                <a:cubicBezTo>
                  <a:pt x="402" y="945"/>
                  <a:pt x="406" y="945"/>
                  <a:pt x="410" y="944"/>
                </a:cubicBezTo>
                <a:cubicBezTo>
                  <a:pt x="460" y="926"/>
                  <a:pt x="809" y="792"/>
                  <a:pt x="809" y="508"/>
                </a:cubicBezTo>
                <a:cubicBezTo>
                  <a:pt x="809" y="325"/>
                  <a:pt x="809" y="209"/>
                  <a:pt x="809" y="168"/>
                </a:cubicBezTo>
                <a:cubicBezTo>
                  <a:pt x="809" y="158"/>
                  <a:pt x="801" y="150"/>
                  <a:pt x="792" y="150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18" name="Picture 17" descr="Logo&#10;&#10;Description automatically generated">
            <a:extLst>
              <a:ext uri="{FF2B5EF4-FFF2-40B4-BE49-F238E27FC236}">
                <a16:creationId xmlns:a16="http://schemas.microsoft.com/office/drawing/2014/main" id="{0CF4F68E-476C-4849-9BF3-14D94F6D94B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32883" y="6120714"/>
            <a:ext cx="1017656" cy="420241"/>
          </a:xfrm>
          <a:prstGeom prst="rect">
            <a:avLst/>
          </a:prstGeom>
        </p:spPr>
      </p:pic>
      <p:sp>
        <p:nvSpPr>
          <p:cNvPr id="19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61BE517C-0EEE-4812-AA28-41D7D839ACBD}"/>
              </a:ext>
            </a:extLst>
          </p:cNvPr>
          <p:cNvSpPr/>
          <p:nvPr userDrawn="1"/>
        </p:nvSpPr>
        <p:spPr>
          <a:xfrm rot="5400000">
            <a:off x="11809682" y="871594"/>
            <a:ext cx="320468" cy="437817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6361154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llar 6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4" name="Round Same-side Corner of Rectangle 79">
            <a:extLst>
              <a:ext uri="{FF2B5EF4-FFF2-40B4-BE49-F238E27FC236}">
                <a16:creationId xmlns:a16="http://schemas.microsoft.com/office/drawing/2014/main" id="{429E155D-7E57-4822-8852-F94F1A49D6FC}"/>
              </a:ext>
            </a:extLst>
          </p:cNvPr>
          <p:cNvSpPr/>
          <p:nvPr userDrawn="1"/>
        </p:nvSpPr>
        <p:spPr>
          <a:xfrm rot="16200000">
            <a:off x="11384856" y="4661233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8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0" name="Round Same-side Corner of Rectangle 79">
            <a:extLst>
              <a:ext uri="{FF2B5EF4-FFF2-40B4-BE49-F238E27FC236}">
                <a16:creationId xmlns:a16="http://schemas.microsoft.com/office/drawing/2014/main" id="{DA632258-7E89-4C63-86BD-EA679E94BCAB}"/>
              </a:ext>
            </a:extLst>
          </p:cNvPr>
          <p:cNvSpPr/>
          <p:nvPr userDrawn="1"/>
        </p:nvSpPr>
        <p:spPr>
          <a:xfrm rot="16200000">
            <a:off x="11384854" y="4208631"/>
            <a:ext cx="388777" cy="104122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7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1" name="Round Same-side Corner of Rectangle 79">
            <a:extLst>
              <a:ext uri="{FF2B5EF4-FFF2-40B4-BE49-F238E27FC236}">
                <a16:creationId xmlns:a16="http://schemas.microsoft.com/office/drawing/2014/main" id="{D4B93879-3513-4875-A1C4-5980915623CE}"/>
              </a:ext>
            </a:extLst>
          </p:cNvPr>
          <p:cNvSpPr/>
          <p:nvPr userDrawn="1"/>
        </p:nvSpPr>
        <p:spPr>
          <a:xfrm rot="16200000">
            <a:off x="11219847" y="3591023"/>
            <a:ext cx="388777" cy="137124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2102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600" b="1"/>
              <a:t>Pillar  </a:t>
            </a:r>
            <a:r>
              <a:rPr lang="en-US" sz="1600" b="1"/>
              <a:t>6</a:t>
            </a:r>
          </a:p>
        </p:txBody>
      </p:sp>
      <p:sp>
        <p:nvSpPr>
          <p:cNvPr id="78" name="Round Same-side Corner of Rectangle 79">
            <a:extLst>
              <a:ext uri="{FF2B5EF4-FFF2-40B4-BE49-F238E27FC236}">
                <a16:creationId xmlns:a16="http://schemas.microsoft.com/office/drawing/2014/main" id="{312255C5-65A9-47AB-B67B-8924547FF7C2}"/>
              </a:ext>
            </a:extLst>
          </p:cNvPr>
          <p:cNvSpPr/>
          <p:nvPr userDrawn="1"/>
        </p:nvSpPr>
        <p:spPr>
          <a:xfrm rot="16200000">
            <a:off x="11384854" y="33034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5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9" name="Round Same-side Corner of Rectangle 79">
            <a:extLst>
              <a:ext uri="{FF2B5EF4-FFF2-40B4-BE49-F238E27FC236}">
                <a16:creationId xmlns:a16="http://schemas.microsoft.com/office/drawing/2014/main" id="{F23596D5-FD36-49E3-B746-F3D7A290DF3D}"/>
              </a:ext>
            </a:extLst>
          </p:cNvPr>
          <p:cNvSpPr/>
          <p:nvPr userDrawn="1"/>
        </p:nvSpPr>
        <p:spPr>
          <a:xfrm rot="16200000">
            <a:off x="11384853" y="28508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4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7" name="Round Same-side Corner of Rectangle 79">
            <a:extLst>
              <a:ext uri="{FF2B5EF4-FFF2-40B4-BE49-F238E27FC236}">
                <a16:creationId xmlns:a16="http://schemas.microsoft.com/office/drawing/2014/main" id="{059574F1-9FE9-480C-B4ED-14EFB4169B0E}"/>
              </a:ext>
            </a:extLst>
          </p:cNvPr>
          <p:cNvSpPr/>
          <p:nvPr userDrawn="1"/>
        </p:nvSpPr>
        <p:spPr>
          <a:xfrm rot="16200000">
            <a:off x="11384854" y="23982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3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8" name="Round Same-side Corner of Rectangle 79">
            <a:extLst>
              <a:ext uri="{FF2B5EF4-FFF2-40B4-BE49-F238E27FC236}">
                <a16:creationId xmlns:a16="http://schemas.microsoft.com/office/drawing/2014/main" id="{82236BCB-3538-4E87-B0C9-CACC40793A57}"/>
              </a:ext>
            </a:extLst>
          </p:cNvPr>
          <p:cNvSpPr/>
          <p:nvPr userDrawn="1"/>
        </p:nvSpPr>
        <p:spPr>
          <a:xfrm rot="16200000">
            <a:off x="11384854" y="19456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2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9" name="Round Same-side Corner of Rectangle 79">
            <a:extLst>
              <a:ext uri="{FF2B5EF4-FFF2-40B4-BE49-F238E27FC236}">
                <a16:creationId xmlns:a16="http://schemas.microsoft.com/office/drawing/2014/main" id="{61090AD0-0469-4342-901A-FC4BE401662F}"/>
              </a:ext>
            </a:extLst>
          </p:cNvPr>
          <p:cNvSpPr/>
          <p:nvPr userDrawn="1"/>
        </p:nvSpPr>
        <p:spPr>
          <a:xfrm rot="16200000">
            <a:off x="11384854" y="1493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1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96" name="Round Same-side Corner of Rectangle 79">
            <a:extLst>
              <a:ext uri="{FF2B5EF4-FFF2-40B4-BE49-F238E27FC236}">
                <a16:creationId xmlns:a16="http://schemas.microsoft.com/office/drawing/2014/main" id="{75C801CE-9FCA-486D-96A7-6973FA449CCA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8" name="Round Same-side Corner of Rectangle 79">
            <a:extLst>
              <a:ext uri="{FF2B5EF4-FFF2-40B4-BE49-F238E27FC236}">
                <a16:creationId xmlns:a16="http://schemas.microsoft.com/office/drawing/2014/main" id="{B358AAFE-318C-4629-9F49-D9DBA46F85EC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1800B4F-17A0-4BC2-91E2-C75BBF9F5CE8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398E23-0D85-4565-8E83-B477C369A432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4" name="Round Same-side Corner of Rectangle 79">
            <a:extLst>
              <a:ext uri="{FF2B5EF4-FFF2-40B4-BE49-F238E27FC236}">
                <a16:creationId xmlns:a16="http://schemas.microsoft.com/office/drawing/2014/main" id="{7B40B4A3-D6F5-4DF1-9525-A127BEACF98F}"/>
              </a:ext>
            </a:extLst>
          </p:cNvPr>
          <p:cNvSpPr/>
          <p:nvPr userDrawn="1"/>
        </p:nvSpPr>
        <p:spPr>
          <a:xfrm rot="16200000">
            <a:off x="11900597" y="4182805"/>
            <a:ext cx="388777" cy="18768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>
              <a:lumMod val="75000"/>
              <a:alpha val="59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17" name="TextBox 16">
            <a:hlinkClick r:id="" action="ppaction://noaction"/>
            <a:extLst>
              <a:ext uri="{FF2B5EF4-FFF2-40B4-BE49-F238E27FC236}">
                <a16:creationId xmlns:a16="http://schemas.microsoft.com/office/drawing/2014/main" id="{69172A22-14B9-4B61-BB8F-5F7D4F577F2C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18" name="TextBox 17">
            <a:hlinkClick r:id="" action="ppaction://noaction"/>
            <a:extLst>
              <a:ext uri="{FF2B5EF4-FFF2-40B4-BE49-F238E27FC236}">
                <a16:creationId xmlns:a16="http://schemas.microsoft.com/office/drawing/2014/main" id="{11BCDEE4-A22D-41C4-990A-EB77412E4AEC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A7D6A814-AACD-4723-A3E6-44532A6F2C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BB6CBAD5-6B1D-4EE6-B7E0-7D327CAB7131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7C03C06-8B4C-4F70-801C-BD3B938CC3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45" name="Freeform 9">
            <a:extLst>
              <a:ext uri="{FF2B5EF4-FFF2-40B4-BE49-F238E27FC236}">
                <a16:creationId xmlns:a16="http://schemas.microsoft.com/office/drawing/2014/main" id="{CF599F60-5A79-42C7-80C4-63F1EB050FB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865109" y="4176118"/>
            <a:ext cx="181694" cy="212254"/>
          </a:xfrm>
          <a:custGeom>
            <a:avLst/>
            <a:gdLst>
              <a:gd name="T0" fmla="*/ 708 w 809"/>
              <a:gd name="T1" fmla="*/ 509 h 945"/>
              <a:gd name="T2" fmla="*/ 405 w 809"/>
              <a:gd name="T3" fmla="*/ 838 h 945"/>
              <a:gd name="T4" fmla="*/ 404 w 809"/>
              <a:gd name="T5" fmla="*/ 838 h 945"/>
              <a:gd name="T6" fmla="*/ 404 w 809"/>
              <a:gd name="T7" fmla="*/ 473 h 945"/>
              <a:gd name="T8" fmla="*/ 101 w 809"/>
              <a:gd name="T9" fmla="*/ 473 h 945"/>
              <a:gd name="T10" fmla="*/ 101 w 809"/>
              <a:gd name="T11" fmla="*/ 245 h 945"/>
              <a:gd name="T12" fmla="*/ 404 w 809"/>
              <a:gd name="T13" fmla="*/ 123 h 945"/>
              <a:gd name="T14" fmla="*/ 404 w 809"/>
              <a:gd name="T15" fmla="*/ 473 h 945"/>
              <a:gd name="T16" fmla="*/ 708 w 809"/>
              <a:gd name="T17" fmla="*/ 473 h 945"/>
              <a:gd name="T18" fmla="*/ 708 w 809"/>
              <a:gd name="T19" fmla="*/ 509 h 945"/>
              <a:gd name="T20" fmla="*/ 792 w 809"/>
              <a:gd name="T21" fmla="*/ 150 h 945"/>
              <a:gd name="T22" fmla="*/ 415 w 809"/>
              <a:gd name="T23" fmla="*/ 4 h 945"/>
              <a:gd name="T24" fmla="*/ 394 w 809"/>
              <a:gd name="T25" fmla="*/ 4 h 945"/>
              <a:gd name="T26" fmla="*/ 17 w 809"/>
              <a:gd name="T27" fmla="*/ 150 h 945"/>
              <a:gd name="T28" fmla="*/ 0 w 809"/>
              <a:gd name="T29" fmla="*/ 168 h 945"/>
              <a:gd name="T30" fmla="*/ 0 w 809"/>
              <a:gd name="T31" fmla="*/ 508 h 945"/>
              <a:gd name="T32" fmla="*/ 398 w 809"/>
              <a:gd name="T33" fmla="*/ 944 h 945"/>
              <a:gd name="T34" fmla="*/ 410 w 809"/>
              <a:gd name="T35" fmla="*/ 944 h 945"/>
              <a:gd name="T36" fmla="*/ 809 w 809"/>
              <a:gd name="T37" fmla="*/ 508 h 945"/>
              <a:gd name="T38" fmla="*/ 809 w 809"/>
              <a:gd name="T39" fmla="*/ 168 h 945"/>
              <a:gd name="T40" fmla="*/ 792 w 809"/>
              <a:gd name="T41" fmla="*/ 150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9" h="945">
                <a:moveTo>
                  <a:pt x="708" y="509"/>
                </a:moveTo>
                <a:cubicBezTo>
                  <a:pt x="708" y="713"/>
                  <a:pt x="483" y="811"/>
                  <a:pt x="405" y="838"/>
                </a:cubicBezTo>
                <a:cubicBezTo>
                  <a:pt x="405" y="838"/>
                  <a:pt x="404" y="838"/>
                  <a:pt x="404" y="838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101" y="473"/>
                  <a:pt x="101" y="473"/>
                  <a:pt x="101" y="473"/>
                </a:cubicBezTo>
                <a:cubicBezTo>
                  <a:pt x="101" y="245"/>
                  <a:pt x="101" y="245"/>
                  <a:pt x="101" y="245"/>
                </a:cubicBezTo>
                <a:cubicBezTo>
                  <a:pt x="185" y="231"/>
                  <a:pt x="288" y="197"/>
                  <a:pt x="404" y="123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708" y="473"/>
                  <a:pt x="708" y="473"/>
                  <a:pt x="708" y="473"/>
                </a:cubicBezTo>
                <a:lnTo>
                  <a:pt x="708" y="509"/>
                </a:lnTo>
                <a:close/>
                <a:moveTo>
                  <a:pt x="792" y="150"/>
                </a:moveTo>
                <a:cubicBezTo>
                  <a:pt x="691" y="146"/>
                  <a:pt x="562" y="109"/>
                  <a:pt x="415" y="4"/>
                </a:cubicBezTo>
                <a:cubicBezTo>
                  <a:pt x="409" y="0"/>
                  <a:pt x="400" y="0"/>
                  <a:pt x="394" y="4"/>
                </a:cubicBezTo>
                <a:cubicBezTo>
                  <a:pt x="247" y="109"/>
                  <a:pt x="118" y="146"/>
                  <a:pt x="17" y="150"/>
                </a:cubicBezTo>
                <a:cubicBezTo>
                  <a:pt x="7" y="150"/>
                  <a:pt x="0" y="158"/>
                  <a:pt x="0" y="168"/>
                </a:cubicBezTo>
                <a:cubicBezTo>
                  <a:pt x="0" y="209"/>
                  <a:pt x="0" y="325"/>
                  <a:pt x="0" y="508"/>
                </a:cubicBezTo>
                <a:cubicBezTo>
                  <a:pt x="0" y="792"/>
                  <a:pt x="348" y="926"/>
                  <a:pt x="398" y="944"/>
                </a:cubicBezTo>
                <a:cubicBezTo>
                  <a:pt x="402" y="945"/>
                  <a:pt x="406" y="945"/>
                  <a:pt x="410" y="944"/>
                </a:cubicBezTo>
                <a:cubicBezTo>
                  <a:pt x="460" y="926"/>
                  <a:pt x="809" y="792"/>
                  <a:pt x="809" y="508"/>
                </a:cubicBezTo>
                <a:cubicBezTo>
                  <a:pt x="809" y="325"/>
                  <a:pt x="809" y="209"/>
                  <a:pt x="809" y="168"/>
                </a:cubicBezTo>
                <a:cubicBezTo>
                  <a:pt x="809" y="158"/>
                  <a:pt x="801" y="150"/>
                  <a:pt x="792" y="15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46" name="Freeform 13">
            <a:extLst>
              <a:ext uri="{FF2B5EF4-FFF2-40B4-BE49-F238E27FC236}">
                <a16:creationId xmlns:a16="http://schemas.microsoft.com/office/drawing/2014/main" id="{EB626790-E27E-4CDE-AA86-FB594AC0BFC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87920" y="5097137"/>
            <a:ext cx="218911" cy="197141"/>
          </a:xfrm>
          <a:custGeom>
            <a:avLst/>
            <a:gdLst>
              <a:gd name="T0" fmla="*/ 757 w 1043"/>
              <a:gd name="T1" fmla="*/ 313 h 939"/>
              <a:gd name="T2" fmla="*/ 313 w 1043"/>
              <a:gd name="T3" fmla="*/ 321 h 939"/>
              <a:gd name="T4" fmla="*/ 321 w 1043"/>
              <a:gd name="T5" fmla="*/ 348 h 939"/>
              <a:gd name="T6" fmla="*/ 765 w 1043"/>
              <a:gd name="T7" fmla="*/ 340 h 939"/>
              <a:gd name="T8" fmla="*/ 765 w 1043"/>
              <a:gd name="T9" fmla="*/ 251 h 939"/>
              <a:gd name="T10" fmla="*/ 321 w 1043"/>
              <a:gd name="T11" fmla="*/ 243 h 939"/>
              <a:gd name="T12" fmla="*/ 313 w 1043"/>
              <a:gd name="T13" fmla="*/ 270 h 939"/>
              <a:gd name="T14" fmla="*/ 757 w 1043"/>
              <a:gd name="T15" fmla="*/ 278 h 939"/>
              <a:gd name="T16" fmla="*/ 765 w 1043"/>
              <a:gd name="T17" fmla="*/ 251 h 939"/>
              <a:gd name="T18" fmla="*/ 757 w 1043"/>
              <a:gd name="T19" fmla="*/ 382 h 939"/>
              <a:gd name="T20" fmla="*/ 313 w 1043"/>
              <a:gd name="T21" fmla="*/ 390 h 939"/>
              <a:gd name="T22" fmla="*/ 321 w 1043"/>
              <a:gd name="T23" fmla="*/ 417 h 939"/>
              <a:gd name="T24" fmla="*/ 765 w 1043"/>
              <a:gd name="T25" fmla="*/ 409 h 939"/>
              <a:gd name="T26" fmla="*/ 765 w 1043"/>
              <a:gd name="T27" fmla="*/ 182 h 939"/>
              <a:gd name="T28" fmla="*/ 321 w 1043"/>
              <a:gd name="T29" fmla="*/ 174 h 939"/>
              <a:gd name="T30" fmla="*/ 313 w 1043"/>
              <a:gd name="T31" fmla="*/ 201 h 939"/>
              <a:gd name="T32" fmla="*/ 757 w 1043"/>
              <a:gd name="T33" fmla="*/ 209 h 939"/>
              <a:gd name="T34" fmla="*/ 765 w 1043"/>
              <a:gd name="T35" fmla="*/ 182 h 939"/>
              <a:gd name="T36" fmla="*/ 1027 w 1043"/>
              <a:gd name="T37" fmla="*/ 730 h 939"/>
              <a:gd name="T38" fmla="*/ 491 w 1043"/>
              <a:gd name="T39" fmla="*/ 735 h 939"/>
              <a:gd name="T40" fmla="*/ 487 w 1043"/>
              <a:gd name="T41" fmla="*/ 747 h 939"/>
              <a:gd name="T42" fmla="*/ 358 w 1043"/>
              <a:gd name="T43" fmla="*/ 869 h 939"/>
              <a:gd name="T44" fmla="*/ 243 w 1043"/>
              <a:gd name="T45" fmla="*/ 757 h 939"/>
              <a:gd name="T46" fmla="*/ 243 w 1043"/>
              <a:gd name="T47" fmla="*/ 139 h 939"/>
              <a:gd name="T48" fmla="*/ 742 w 1043"/>
              <a:gd name="T49" fmla="*/ 69 h 939"/>
              <a:gd name="T50" fmla="*/ 834 w 1043"/>
              <a:gd name="T51" fmla="*/ 695 h 939"/>
              <a:gd name="T52" fmla="*/ 904 w 1043"/>
              <a:gd name="T53" fmla="*/ 161 h 939"/>
              <a:gd name="T54" fmla="*/ 685 w 1043"/>
              <a:gd name="T55" fmla="*/ 0 h 939"/>
              <a:gd name="T56" fmla="*/ 0 w 1043"/>
              <a:gd name="T57" fmla="*/ 174 h 939"/>
              <a:gd name="T58" fmla="*/ 16 w 1043"/>
              <a:gd name="T59" fmla="*/ 209 h 939"/>
              <a:gd name="T60" fmla="*/ 174 w 1043"/>
              <a:gd name="T61" fmla="*/ 757 h 939"/>
              <a:gd name="T62" fmla="*/ 820 w 1043"/>
              <a:gd name="T63" fmla="*/ 939 h 939"/>
              <a:gd name="T64" fmla="*/ 1043 w 1043"/>
              <a:gd name="T65" fmla="*/ 765 h 939"/>
              <a:gd name="T66" fmla="*/ 765 w 1043"/>
              <a:gd name="T67" fmla="*/ 529 h 939"/>
              <a:gd name="T68" fmla="*/ 321 w 1043"/>
              <a:gd name="T69" fmla="*/ 522 h 939"/>
              <a:gd name="T70" fmla="*/ 313 w 1043"/>
              <a:gd name="T71" fmla="*/ 548 h 939"/>
              <a:gd name="T72" fmla="*/ 757 w 1043"/>
              <a:gd name="T73" fmla="*/ 556 h 939"/>
              <a:gd name="T74" fmla="*/ 765 w 1043"/>
              <a:gd name="T75" fmla="*/ 529 h 939"/>
              <a:gd name="T76" fmla="*/ 757 w 1043"/>
              <a:gd name="T77" fmla="*/ 452 h 939"/>
              <a:gd name="T78" fmla="*/ 313 w 1043"/>
              <a:gd name="T79" fmla="*/ 460 h 939"/>
              <a:gd name="T80" fmla="*/ 321 w 1043"/>
              <a:gd name="T81" fmla="*/ 487 h 939"/>
              <a:gd name="T82" fmla="*/ 765 w 1043"/>
              <a:gd name="T83" fmla="*/ 479 h 939"/>
              <a:gd name="T84" fmla="*/ 765 w 1043"/>
              <a:gd name="T85" fmla="*/ 599 h 939"/>
              <a:gd name="T86" fmla="*/ 757 w 1043"/>
              <a:gd name="T87" fmla="*/ 626 h 939"/>
              <a:gd name="T88" fmla="*/ 313 w 1043"/>
              <a:gd name="T89" fmla="*/ 618 h 939"/>
              <a:gd name="T90" fmla="*/ 321 w 1043"/>
              <a:gd name="T91" fmla="*/ 591 h 939"/>
              <a:gd name="T92" fmla="*/ 765 w 1043"/>
              <a:gd name="T93" fmla="*/ 59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43" h="939">
                <a:moveTo>
                  <a:pt x="765" y="321"/>
                </a:moveTo>
                <a:cubicBezTo>
                  <a:pt x="765" y="316"/>
                  <a:pt x="761" y="313"/>
                  <a:pt x="757" y="313"/>
                </a:cubicBezTo>
                <a:cubicBezTo>
                  <a:pt x="321" y="313"/>
                  <a:pt x="321" y="313"/>
                  <a:pt x="321" y="313"/>
                </a:cubicBezTo>
                <a:cubicBezTo>
                  <a:pt x="316" y="313"/>
                  <a:pt x="313" y="316"/>
                  <a:pt x="313" y="321"/>
                </a:cubicBezTo>
                <a:cubicBezTo>
                  <a:pt x="313" y="340"/>
                  <a:pt x="313" y="340"/>
                  <a:pt x="313" y="340"/>
                </a:cubicBezTo>
                <a:cubicBezTo>
                  <a:pt x="313" y="344"/>
                  <a:pt x="316" y="348"/>
                  <a:pt x="321" y="348"/>
                </a:cubicBezTo>
                <a:cubicBezTo>
                  <a:pt x="757" y="348"/>
                  <a:pt x="757" y="348"/>
                  <a:pt x="757" y="348"/>
                </a:cubicBezTo>
                <a:cubicBezTo>
                  <a:pt x="761" y="348"/>
                  <a:pt x="765" y="344"/>
                  <a:pt x="765" y="340"/>
                </a:cubicBezTo>
                <a:lnTo>
                  <a:pt x="765" y="321"/>
                </a:lnTo>
                <a:close/>
                <a:moveTo>
                  <a:pt x="765" y="251"/>
                </a:moveTo>
                <a:cubicBezTo>
                  <a:pt x="765" y="247"/>
                  <a:pt x="761" y="243"/>
                  <a:pt x="757" y="243"/>
                </a:cubicBezTo>
                <a:cubicBezTo>
                  <a:pt x="321" y="243"/>
                  <a:pt x="321" y="243"/>
                  <a:pt x="321" y="243"/>
                </a:cubicBezTo>
                <a:cubicBezTo>
                  <a:pt x="316" y="243"/>
                  <a:pt x="313" y="247"/>
                  <a:pt x="313" y="251"/>
                </a:cubicBezTo>
                <a:cubicBezTo>
                  <a:pt x="313" y="270"/>
                  <a:pt x="313" y="270"/>
                  <a:pt x="313" y="270"/>
                </a:cubicBezTo>
                <a:cubicBezTo>
                  <a:pt x="313" y="275"/>
                  <a:pt x="316" y="278"/>
                  <a:pt x="321" y="278"/>
                </a:cubicBezTo>
                <a:cubicBezTo>
                  <a:pt x="757" y="278"/>
                  <a:pt x="757" y="278"/>
                  <a:pt x="757" y="278"/>
                </a:cubicBezTo>
                <a:cubicBezTo>
                  <a:pt x="761" y="278"/>
                  <a:pt x="765" y="275"/>
                  <a:pt x="765" y="270"/>
                </a:cubicBezTo>
                <a:lnTo>
                  <a:pt x="765" y="251"/>
                </a:lnTo>
                <a:close/>
                <a:moveTo>
                  <a:pt x="765" y="390"/>
                </a:moveTo>
                <a:cubicBezTo>
                  <a:pt x="765" y="386"/>
                  <a:pt x="761" y="382"/>
                  <a:pt x="757" y="382"/>
                </a:cubicBezTo>
                <a:cubicBezTo>
                  <a:pt x="321" y="382"/>
                  <a:pt x="321" y="382"/>
                  <a:pt x="321" y="382"/>
                </a:cubicBezTo>
                <a:cubicBezTo>
                  <a:pt x="316" y="382"/>
                  <a:pt x="313" y="386"/>
                  <a:pt x="313" y="390"/>
                </a:cubicBezTo>
                <a:cubicBezTo>
                  <a:pt x="313" y="409"/>
                  <a:pt x="313" y="409"/>
                  <a:pt x="313" y="409"/>
                </a:cubicBezTo>
                <a:cubicBezTo>
                  <a:pt x="313" y="414"/>
                  <a:pt x="316" y="417"/>
                  <a:pt x="321" y="417"/>
                </a:cubicBezTo>
                <a:cubicBezTo>
                  <a:pt x="757" y="417"/>
                  <a:pt x="757" y="417"/>
                  <a:pt x="757" y="417"/>
                </a:cubicBezTo>
                <a:cubicBezTo>
                  <a:pt x="761" y="417"/>
                  <a:pt x="765" y="414"/>
                  <a:pt x="765" y="409"/>
                </a:cubicBezTo>
                <a:lnTo>
                  <a:pt x="765" y="390"/>
                </a:lnTo>
                <a:close/>
                <a:moveTo>
                  <a:pt x="765" y="182"/>
                </a:moveTo>
                <a:cubicBezTo>
                  <a:pt x="765" y="177"/>
                  <a:pt x="761" y="174"/>
                  <a:pt x="757" y="174"/>
                </a:cubicBezTo>
                <a:cubicBezTo>
                  <a:pt x="321" y="174"/>
                  <a:pt x="321" y="174"/>
                  <a:pt x="321" y="174"/>
                </a:cubicBezTo>
                <a:cubicBezTo>
                  <a:pt x="316" y="174"/>
                  <a:pt x="313" y="177"/>
                  <a:pt x="313" y="182"/>
                </a:cubicBezTo>
                <a:cubicBezTo>
                  <a:pt x="313" y="201"/>
                  <a:pt x="313" y="201"/>
                  <a:pt x="313" y="201"/>
                </a:cubicBezTo>
                <a:cubicBezTo>
                  <a:pt x="313" y="205"/>
                  <a:pt x="316" y="209"/>
                  <a:pt x="321" y="209"/>
                </a:cubicBezTo>
                <a:cubicBezTo>
                  <a:pt x="757" y="209"/>
                  <a:pt x="757" y="209"/>
                  <a:pt x="757" y="209"/>
                </a:cubicBezTo>
                <a:cubicBezTo>
                  <a:pt x="761" y="209"/>
                  <a:pt x="765" y="205"/>
                  <a:pt x="765" y="201"/>
                </a:cubicBezTo>
                <a:lnTo>
                  <a:pt x="765" y="182"/>
                </a:lnTo>
                <a:close/>
                <a:moveTo>
                  <a:pt x="1041" y="743"/>
                </a:moveTo>
                <a:cubicBezTo>
                  <a:pt x="1041" y="736"/>
                  <a:pt x="1034" y="730"/>
                  <a:pt x="1027" y="730"/>
                </a:cubicBezTo>
                <a:cubicBezTo>
                  <a:pt x="501" y="730"/>
                  <a:pt x="501" y="730"/>
                  <a:pt x="501" y="730"/>
                </a:cubicBezTo>
                <a:cubicBezTo>
                  <a:pt x="497" y="730"/>
                  <a:pt x="494" y="732"/>
                  <a:pt x="491" y="735"/>
                </a:cubicBezTo>
                <a:cubicBezTo>
                  <a:pt x="488" y="737"/>
                  <a:pt x="486" y="741"/>
                  <a:pt x="487" y="745"/>
                </a:cubicBezTo>
                <a:cubicBezTo>
                  <a:pt x="487" y="746"/>
                  <a:pt x="487" y="747"/>
                  <a:pt x="487" y="747"/>
                </a:cubicBezTo>
                <a:cubicBezTo>
                  <a:pt x="487" y="815"/>
                  <a:pt x="432" y="869"/>
                  <a:pt x="365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295" y="869"/>
                  <a:pt x="243" y="819"/>
                  <a:pt x="243" y="757"/>
                </a:cubicBezTo>
                <a:cubicBezTo>
                  <a:pt x="243" y="757"/>
                  <a:pt x="243" y="243"/>
                  <a:pt x="243" y="174"/>
                </a:cubicBezTo>
                <a:cubicBezTo>
                  <a:pt x="243" y="139"/>
                  <a:pt x="243" y="139"/>
                  <a:pt x="243" y="139"/>
                </a:cubicBezTo>
                <a:cubicBezTo>
                  <a:pt x="243" y="100"/>
                  <a:pt x="212" y="69"/>
                  <a:pt x="174" y="69"/>
                </a:cubicBezTo>
                <a:cubicBezTo>
                  <a:pt x="742" y="69"/>
                  <a:pt x="742" y="69"/>
                  <a:pt x="742" y="69"/>
                </a:cubicBezTo>
                <a:cubicBezTo>
                  <a:pt x="793" y="69"/>
                  <a:pt x="834" y="111"/>
                  <a:pt x="834" y="161"/>
                </a:cubicBezTo>
                <a:cubicBezTo>
                  <a:pt x="834" y="695"/>
                  <a:pt x="834" y="695"/>
                  <a:pt x="834" y="695"/>
                </a:cubicBezTo>
                <a:cubicBezTo>
                  <a:pt x="904" y="695"/>
                  <a:pt x="904" y="695"/>
                  <a:pt x="904" y="695"/>
                </a:cubicBezTo>
                <a:cubicBezTo>
                  <a:pt x="904" y="573"/>
                  <a:pt x="904" y="326"/>
                  <a:pt x="904" y="161"/>
                </a:cubicBezTo>
                <a:cubicBezTo>
                  <a:pt x="904" y="72"/>
                  <a:pt x="832" y="0"/>
                  <a:pt x="742" y="0"/>
                </a:cubicBezTo>
                <a:cubicBezTo>
                  <a:pt x="685" y="0"/>
                  <a:pt x="685" y="0"/>
                  <a:pt x="685" y="0"/>
                </a:cubicBezTo>
                <a:cubicBezTo>
                  <a:pt x="174" y="0"/>
                  <a:pt x="174" y="0"/>
                  <a:pt x="174" y="0"/>
                </a:cubicBezTo>
                <a:cubicBezTo>
                  <a:pt x="78" y="0"/>
                  <a:pt x="0" y="78"/>
                  <a:pt x="0" y="174"/>
                </a:cubicBezTo>
                <a:cubicBezTo>
                  <a:pt x="0" y="181"/>
                  <a:pt x="0" y="188"/>
                  <a:pt x="1" y="196"/>
                </a:cubicBezTo>
                <a:cubicBezTo>
                  <a:pt x="2" y="203"/>
                  <a:pt x="8" y="209"/>
                  <a:pt x="16" y="209"/>
                </a:cubicBezTo>
                <a:cubicBezTo>
                  <a:pt x="174" y="209"/>
                  <a:pt x="174" y="209"/>
                  <a:pt x="174" y="209"/>
                </a:cubicBezTo>
                <a:cubicBezTo>
                  <a:pt x="174" y="410"/>
                  <a:pt x="174" y="694"/>
                  <a:pt x="174" y="757"/>
                </a:cubicBezTo>
                <a:cubicBezTo>
                  <a:pt x="174" y="857"/>
                  <a:pt x="256" y="939"/>
                  <a:pt x="358" y="939"/>
                </a:cubicBezTo>
                <a:cubicBezTo>
                  <a:pt x="820" y="939"/>
                  <a:pt x="820" y="939"/>
                  <a:pt x="820" y="939"/>
                </a:cubicBezTo>
                <a:cubicBezTo>
                  <a:pt x="869" y="939"/>
                  <a:pt x="869" y="939"/>
                  <a:pt x="869" y="939"/>
                </a:cubicBezTo>
                <a:cubicBezTo>
                  <a:pt x="965" y="939"/>
                  <a:pt x="1043" y="861"/>
                  <a:pt x="1043" y="765"/>
                </a:cubicBezTo>
                <a:cubicBezTo>
                  <a:pt x="1043" y="757"/>
                  <a:pt x="1042" y="750"/>
                  <a:pt x="1041" y="743"/>
                </a:cubicBezTo>
                <a:close/>
                <a:moveTo>
                  <a:pt x="765" y="529"/>
                </a:moveTo>
                <a:cubicBezTo>
                  <a:pt x="765" y="525"/>
                  <a:pt x="761" y="522"/>
                  <a:pt x="757" y="522"/>
                </a:cubicBezTo>
                <a:cubicBezTo>
                  <a:pt x="321" y="522"/>
                  <a:pt x="321" y="522"/>
                  <a:pt x="321" y="522"/>
                </a:cubicBezTo>
                <a:cubicBezTo>
                  <a:pt x="316" y="522"/>
                  <a:pt x="313" y="525"/>
                  <a:pt x="313" y="529"/>
                </a:cubicBezTo>
                <a:cubicBezTo>
                  <a:pt x="313" y="548"/>
                  <a:pt x="313" y="548"/>
                  <a:pt x="313" y="548"/>
                </a:cubicBezTo>
                <a:cubicBezTo>
                  <a:pt x="313" y="553"/>
                  <a:pt x="316" y="556"/>
                  <a:pt x="321" y="556"/>
                </a:cubicBezTo>
                <a:cubicBezTo>
                  <a:pt x="757" y="556"/>
                  <a:pt x="757" y="556"/>
                  <a:pt x="757" y="556"/>
                </a:cubicBezTo>
                <a:cubicBezTo>
                  <a:pt x="761" y="556"/>
                  <a:pt x="765" y="553"/>
                  <a:pt x="765" y="548"/>
                </a:cubicBezTo>
                <a:lnTo>
                  <a:pt x="765" y="529"/>
                </a:lnTo>
                <a:close/>
                <a:moveTo>
                  <a:pt x="765" y="460"/>
                </a:moveTo>
                <a:cubicBezTo>
                  <a:pt x="765" y="456"/>
                  <a:pt x="761" y="452"/>
                  <a:pt x="757" y="452"/>
                </a:cubicBezTo>
                <a:cubicBezTo>
                  <a:pt x="321" y="452"/>
                  <a:pt x="321" y="452"/>
                  <a:pt x="321" y="452"/>
                </a:cubicBezTo>
                <a:cubicBezTo>
                  <a:pt x="316" y="452"/>
                  <a:pt x="313" y="456"/>
                  <a:pt x="313" y="460"/>
                </a:cubicBezTo>
                <a:cubicBezTo>
                  <a:pt x="313" y="479"/>
                  <a:pt x="313" y="479"/>
                  <a:pt x="313" y="479"/>
                </a:cubicBezTo>
                <a:cubicBezTo>
                  <a:pt x="313" y="483"/>
                  <a:pt x="316" y="487"/>
                  <a:pt x="321" y="487"/>
                </a:cubicBezTo>
                <a:cubicBezTo>
                  <a:pt x="757" y="487"/>
                  <a:pt x="757" y="487"/>
                  <a:pt x="757" y="487"/>
                </a:cubicBezTo>
                <a:cubicBezTo>
                  <a:pt x="761" y="487"/>
                  <a:pt x="765" y="483"/>
                  <a:pt x="765" y="479"/>
                </a:cubicBezTo>
                <a:lnTo>
                  <a:pt x="765" y="460"/>
                </a:lnTo>
                <a:close/>
                <a:moveTo>
                  <a:pt x="765" y="599"/>
                </a:moveTo>
                <a:cubicBezTo>
                  <a:pt x="765" y="618"/>
                  <a:pt x="765" y="618"/>
                  <a:pt x="765" y="618"/>
                </a:cubicBezTo>
                <a:cubicBezTo>
                  <a:pt x="765" y="622"/>
                  <a:pt x="761" y="626"/>
                  <a:pt x="757" y="626"/>
                </a:cubicBezTo>
                <a:cubicBezTo>
                  <a:pt x="321" y="626"/>
                  <a:pt x="321" y="626"/>
                  <a:pt x="321" y="626"/>
                </a:cubicBezTo>
                <a:cubicBezTo>
                  <a:pt x="316" y="626"/>
                  <a:pt x="313" y="622"/>
                  <a:pt x="313" y="618"/>
                </a:cubicBezTo>
                <a:cubicBezTo>
                  <a:pt x="313" y="599"/>
                  <a:pt x="313" y="599"/>
                  <a:pt x="313" y="599"/>
                </a:cubicBezTo>
                <a:cubicBezTo>
                  <a:pt x="313" y="595"/>
                  <a:pt x="316" y="591"/>
                  <a:pt x="321" y="591"/>
                </a:cubicBezTo>
                <a:cubicBezTo>
                  <a:pt x="757" y="591"/>
                  <a:pt x="757" y="591"/>
                  <a:pt x="757" y="591"/>
                </a:cubicBezTo>
                <a:cubicBezTo>
                  <a:pt x="761" y="591"/>
                  <a:pt x="765" y="595"/>
                  <a:pt x="765" y="5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5F7DC15-B507-40FE-94AA-2B8C77CEBB8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200260" y="2340801"/>
            <a:ext cx="182832" cy="231961"/>
            <a:chOff x="849313" y="-539751"/>
            <a:chExt cx="8375650" cy="10623551"/>
          </a:xfrm>
          <a:solidFill>
            <a:schemeClr val="bg1">
              <a:alpha val="70000"/>
            </a:schemeClr>
          </a:solidFill>
        </p:grpSpPr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D8B2E3F3-B1F7-4A33-956D-7D447A8672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3" y="2670175"/>
              <a:ext cx="8375650" cy="7413625"/>
            </a:xfrm>
            <a:custGeom>
              <a:avLst/>
              <a:gdLst>
                <a:gd name="T0" fmla="*/ 116 w 741"/>
                <a:gd name="T1" fmla="*/ 656 h 656"/>
                <a:gd name="T2" fmla="*/ 165 w 741"/>
                <a:gd name="T3" fmla="*/ 561 h 656"/>
                <a:gd name="T4" fmla="*/ 92 w 741"/>
                <a:gd name="T5" fmla="*/ 506 h 656"/>
                <a:gd name="T6" fmla="*/ 0 w 741"/>
                <a:gd name="T7" fmla="*/ 284 h 656"/>
                <a:gd name="T8" fmla="*/ 181 w 741"/>
                <a:gd name="T9" fmla="*/ 0 h 656"/>
                <a:gd name="T10" fmla="*/ 210 w 741"/>
                <a:gd name="T11" fmla="*/ 118 h 656"/>
                <a:gd name="T12" fmla="*/ 118 w 741"/>
                <a:gd name="T13" fmla="*/ 275 h 656"/>
                <a:gd name="T14" fmla="*/ 347 w 741"/>
                <a:gd name="T15" fmla="*/ 437 h 656"/>
                <a:gd name="T16" fmla="*/ 663 w 741"/>
                <a:gd name="T17" fmla="*/ 353 h 656"/>
                <a:gd name="T18" fmla="*/ 699 w 741"/>
                <a:gd name="T19" fmla="*/ 374 h 656"/>
                <a:gd name="T20" fmla="*/ 678 w 741"/>
                <a:gd name="T21" fmla="*/ 410 h 656"/>
                <a:gd name="T22" fmla="*/ 373 w 741"/>
                <a:gd name="T23" fmla="*/ 491 h 656"/>
                <a:gd name="T24" fmla="*/ 386 w 741"/>
                <a:gd name="T25" fmla="*/ 539 h 656"/>
                <a:gd name="T26" fmla="*/ 623 w 741"/>
                <a:gd name="T27" fmla="*/ 539 h 656"/>
                <a:gd name="T28" fmla="*/ 741 w 741"/>
                <a:gd name="T29" fmla="*/ 656 h 656"/>
                <a:gd name="T30" fmla="*/ 116 w 741"/>
                <a:gd name="T31" fmla="*/ 656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1" h="656">
                  <a:moveTo>
                    <a:pt x="116" y="656"/>
                  </a:moveTo>
                  <a:cubicBezTo>
                    <a:pt x="116" y="617"/>
                    <a:pt x="136" y="582"/>
                    <a:pt x="165" y="561"/>
                  </a:cubicBezTo>
                  <a:cubicBezTo>
                    <a:pt x="138" y="546"/>
                    <a:pt x="113" y="528"/>
                    <a:pt x="92" y="506"/>
                  </a:cubicBezTo>
                  <a:cubicBezTo>
                    <a:pt x="35" y="449"/>
                    <a:pt x="0" y="371"/>
                    <a:pt x="0" y="284"/>
                  </a:cubicBezTo>
                  <a:cubicBezTo>
                    <a:pt x="0" y="162"/>
                    <a:pt x="71" y="52"/>
                    <a:pt x="181" y="0"/>
                  </a:cubicBezTo>
                  <a:cubicBezTo>
                    <a:pt x="171" y="41"/>
                    <a:pt x="182" y="86"/>
                    <a:pt x="210" y="118"/>
                  </a:cubicBezTo>
                  <a:cubicBezTo>
                    <a:pt x="156" y="151"/>
                    <a:pt x="120" y="210"/>
                    <a:pt x="118" y="275"/>
                  </a:cubicBezTo>
                  <a:cubicBezTo>
                    <a:pt x="114" y="385"/>
                    <a:pt x="226" y="466"/>
                    <a:pt x="347" y="437"/>
                  </a:cubicBezTo>
                  <a:cubicBezTo>
                    <a:pt x="663" y="353"/>
                    <a:pt x="663" y="353"/>
                    <a:pt x="663" y="353"/>
                  </a:cubicBezTo>
                  <a:cubicBezTo>
                    <a:pt x="678" y="349"/>
                    <a:pt x="694" y="358"/>
                    <a:pt x="699" y="374"/>
                  </a:cubicBezTo>
                  <a:cubicBezTo>
                    <a:pt x="703" y="389"/>
                    <a:pt x="693" y="406"/>
                    <a:pt x="678" y="410"/>
                  </a:cubicBezTo>
                  <a:cubicBezTo>
                    <a:pt x="373" y="491"/>
                    <a:pt x="373" y="491"/>
                    <a:pt x="373" y="491"/>
                  </a:cubicBezTo>
                  <a:cubicBezTo>
                    <a:pt x="386" y="539"/>
                    <a:pt x="386" y="539"/>
                    <a:pt x="386" y="539"/>
                  </a:cubicBezTo>
                  <a:cubicBezTo>
                    <a:pt x="623" y="539"/>
                    <a:pt x="623" y="539"/>
                    <a:pt x="623" y="539"/>
                  </a:cubicBezTo>
                  <a:cubicBezTo>
                    <a:pt x="688" y="539"/>
                    <a:pt x="741" y="591"/>
                    <a:pt x="741" y="656"/>
                  </a:cubicBezTo>
                  <a:lnTo>
                    <a:pt x="116" y="6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43EC5FD8-B597-4ADC-BDDF-9E73CF58E20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1" y="5043487"/>
              <a:ext cx="2587625" cy="1231900"/>
            </a:xfrm>
            <a:custGeom>
              <a:avLst/>
              <a:gdLst>
                <a:gd name="T0" fmla="*/ 40 w 229"/>
                <a:gd name="T1" fmla="*/ 104 h 109"/>
                <a:gd name="T2" fmla="*/ 4 w 229"/>
                <a:gd name="T3" fmla="*/ 84 h 109"/>
                <a:gd name="T4" fmla="*/ 25 w 229"/>
                <a:gd name="T5" fmla="*/ 48 h 109"/>
                <a:gd name="T6" fmla="*/ 188 w 229"/>
                <a:gd name="T7" fmla="*/ 4 h 109"/>
                <a:gd name="T8" fmla="*/ 224 w 229"/>
                <a:gd name="T9" fmla="*/ 25 h 109"/>
                <a:gd name="T10" fmla="*/ 204 w 229"/>
                <a:gd name="T11" fmla="*/ 61 h 109"/>
                <a:gd name="T12" fmla="*/ 40 w 229"/>
                <a:gd name="T13" fmla="*/ 10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109">
                  <a:moveTo>
                    <a:pt x="40" y="104"/>
                  </a:moveTo>
                  <a:cubicBezTo>
                    <a:pt x="25" y="109"/>
                    <a:pt x="9" y="99"/>
                    <a:pt x="4" y="84"/>
                  </a:cubicBezTo>
                  <a:cubicBezTo>
                    <a:pt x="0" y="68"/>
                    <a:pt x="10" y="52"/>
                    <a:pt x="25" y="48"/>
                  </a:cubicBezTo>
                  <a:cubicBezTo>
                    <a:pt x="188" y="4"/>
                    <a:pt x="188" y="4"/>
                    <a:pt x="188" y="4"/>
                  </a:cubicBezTo>
                  <a:cubicBezTo>
                    <a:pt x="204" y="0"/>
                    <a:pt x="220" y="9"/>
                    <a:pt x="224" y="25"/>
                  </a:cubicBezTo>
                  <a:cubicBezTo>
                    <a:pt x="229" y="40"/>
                    <a:pt x="219" y="57"/>
                    <a:pt x="204" y="61"/>
                  </a:cubicBezTo>
                  <a:lnTo>
                    <a:pt x="4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BDEF051B-20D8-466F-A16C-F20C58D543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4851" y="-539751"/>
              <a:ext cx="4092575" cy="5910263"/>
            </a:xfrm>
            <a:custGeom>
              <a:avLst/>
              <a:gdLst>
                <a:gd name="T0" fmla="*/ 105 w 362"/>
                <a:gd name="T1" fmla="*/ 348 h 523"/>
                <a:gd name="T2" fmla="*/ 69 w 362"/>
                <a:gd name="T3" fmla="*/ 327 h 523"/>
                <a:gd name="T4" fmla="*/ 90 w 362"/>
                <a:gd name="T5" fmla="*/ 291 h 523"/>
                <a:gd name="T6" fmla="*/ 126 w 362"/>
                <a:gd name="T7" fmla="*/ 312 h 523"/>
                <a:gd name="T8" fmla="*/ 105 w 362"/>
                <a:gd name="T9" fmla="*/ 348 h 523"/>
                <a:gd name="T10" fmla="*/ 358 w 362"/>
                <a:gd name="T11" fmla="*/ 441 h 523"/>
                <a:gd name="T12" fmla="*/ 271 w 362"/>
                <a:gd name="T13" fmla="*/ 115 h 523"/>
                <a:gd name="T14" fmla="*/ 233 w 362"/>
                <a:gd name="T15" fmla="*/ 93 h 523"/>
                <a:gd name="T16" fmla="*/ 206 w 362"/>
                <a:gd name="T17" fmla="*/ 101 h 523"/>
                <a:gd name="T18" fmla="*/ 182 w 362"/>
                <a:gd name="T19" fmla="*/ 12 h 523"/>
                <a:gd name="T20" fmla="*/ 164 w 362"/>
                <a:gd name="T21" fmla="*/ 2 h 523"/>
                <a:gd name="T22" fmla="*/ 93 w 362"/>
                <a:gd name="T23" fmla="*/ 21 h 523"/>
                <a:gd name="T24" fmla="*/ 83 w 362"/>
                <a:gd name="T25" fmla="*/ 39 h 523"/>
                <a:gd name="T26" fmla="*/ 107 w 362"/>
                <a:gd name="T27" fmla="*/ 127 h 523"/>
                <a:gd name="T28" fmla="*/ 80 w 362"/>
                <a:gd name="T29" fmla="*/ 135 h 523"/>
                <a:gd name="T30" fmla="*/ 58 w 362"/>
                <a:gd name="T31" fmla="*/ 172 h 523"/>
                <a:gd name="T32" fmla="*/ 75 w 362"/>
                <a:gd name="T33" fmla="*/ 235 h 523"/>
                <a:gd name="T34" fmla="*/ 12 w 362"/>
                <a:gd name="T35" fmla="*/ 342 h 523"/>
                <a:gd name="T36" fmla="*/ 120 w 362"/>
                <a:gd name="T37" fmla="*/ 405 h 523"/>
                <a:gd name="T38" fmla="*/ 120 w 362"/>
                <a:gd name="T39" fmla="*/ 405 h 523"/>
                <a:gd name="T40" fmla="*/ 145 w 362"/>
                <a:gd name="T41" fmla="*/ 498 h 523"/>
                <a:gd name="T42" fmla="*/ 181 w 362"/>
                <a:gd name="T43" fmla="*/ 518 h 523"/>
                <a:gd name="T44" fmla="*/ 337 w 362"/>
                <a:gd name="T45" fmla="*/ 477 h 523"/>
                <a:gd name="T46" fmla="*/ 358 w 362"/>
                <a:gd name="T47" fmla="*/ 441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2" h="523">
                  <a:moveTo>
                    <a:pt x="105" y="348"/>
                  </a:moveTo>
                  <a:cubicBezTo>
                    <a:pt x="89" y="352"/>
                    <a:pt x="73" y="343"/>
                    <a:pt x="69" y="327"/>
                  </a:cubicBezTo>
                  <a:cubicBezTo>
                    <a:pt x="65" y="311"/>
                    <a:pt x="74" y="295"/>
                    <a:pt x="90" y="291"/>
                  </a:cubicBezTo>
                  <a:cubicBezTo>
                    <a:pt x="106" y="287"/>
                    <a:pt x="122" y="296"/>
                    <a:pt x="126" y="312"/>
                  </a:cubicBezTo>
                  <a:cubicBezTo>
                    <a:pt x="130" y="328"/>
                    <a:pt x="121" y="344"/>
                    <a:pt x="105" y="348"/>
                  </a:cubicBezTo>
                  <a:close/>
                  <a:moveTo>
                    <a:pt x="358" y="441"/>
                  </a:moveTo>
                  <a:cubicBezTo>
                    <a:pt x="271" y="115"/>
                    <a:pt x="271" y="115"/>
                    <a:pt x="271" y="115"/>
                  </a:cubicBezTo>
                  <a:cubicBezTo>
                    <a:pt x="266" y="99"/>
                    <a:pt x="250" y="89"/>
                    <a:pt x="233" y="93"/>
                  </a:cubicBezTo>
                  <a:cubicBezTo>
                    <a:pt x="206" y="101"/>
                    <a:pt x="206" y="101"/>
                    <a:pt x="206" y="101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0" y="4"/>
                    <a:pt x="172" y="0"/>
                    <a:pt x="164" y="2"/>
                  </a:cubicBezTo>
                  <a:cubicBezTo>
                    <a:pt x="93" y="21"/>
                    <a:pt x="93" y="21"/>
                    <a:pt x="93" y="21"/>
                  </a:cubicBezTo>
                  <a:cubicBezTo>
                    <a:pt x="86" y="23"/>
                    <a:pt x="81" y="31"/>
                    <a:pt x="83" y="39"/>
                  </a:cubicBezTo>
                  <a:cubicBezTo>
                    <a:pt x="107" y="127"/>
                    <a:pt x="107" y="127"/>
                    <a:pt x="107" y="127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63" y="139"/>
                    <a:pt x="54" y="156"/>
                    <a:pt x="58" y="172"/>
                  </a:cubicBezTo>
                  <a:cubicBezTo>
                    <a:pt x="75" y="235"/>
                    <a:pt x="75" y="235"/>
                    <a:pt x="75" y="235"/>
                  </a:cubicBezTo>
                  <a:cubicBezTo>
                    <a:pt x="28" y="247"/>
                    <a:pt x="0" y="295"/>
                    <a:pt x="12" y="342"/>
                  </a:cubicBezTo>
                  <a:cubicBezTo>
                    <a:pt x="25" y="389"/>
                    <a:pt x="73" y="417"/>
                    <a:pt x="120" y="405"/>
                  </a:cubicBezTo>
                  <a:cubicBezTo>
                    <a:pt x="120" y="405"/>
                    <a:pt x="120" y="405"/>
                    <a:pt x="120" y="405"/>
                  </a:cubicBezTo>
                  <a:cubicBezTo>
                    <a:pt x="145" y="498"/>
                    <a:pt x="145" y="498"/>
                    <a:pt x="145" y="498"/>
                  </a:cubicBezTo>
                  <a:cubicBezTo>
                    <a:pt x="150" y="513"/>
                    <a:pt x="166" y="523"/>
                    <a:pt x="181" y="518"/>
                  </a:cubicBezTo>
                  <a:cubicBezTo>
                    <a:pt x="337" y="477"/>
                    <a:pt x="337" y="477"/>
                    <a:pt x="337" y="477"/>
                  </a:cubicBezTo>
                  <a:cubicBezTo>
                    <a:pt x="353" y="472"/>
                    <a:pt x="362" y="456"/>
                    <a:pt x="358" y="4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51" name="Freeform 47">
            <a:extLst>
              <a:ext uri="{FF2B5EF4-FFF2-40B4-BE49-F238E27FC236}">
                <a16:creationId xmlns:a16="http://schemas.microsoft.com/office/drawing/2014/main" id="{94333BD0-42EC-44ED-9BAE-7757918387B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74781" y="3268800"/>
            <a:ext cx="201116" cy="201139"/>
          </a:xfrm>
          <a:custGeom>
            <a:avLst/>
            <a:gdLst>
              <a:gd name="T0" fmla="*/ 951 w 981"/>
              <a:gd name="T1" fmla="*/ 842 h 981"/>
              <a:gd name="T2" fmla="*/ 711 w 981"/>
              <a:gd name="T3" fmla="*/ 603 h 981"/>
              <a:gd name="T4" fmla="*/ 603 w 981"/>
              <a:gd name="T5" fmla="*/ 107 h 981"/>
              <a:gd name="T6" fmla="*/ 107 w 981"/>
              <a:gd name="T7" fmla="*/ 216 h 981"/>
              <a:gd name="T8" fmla="*/ 216 w 981"/>
              <a:gd name="T9" fmla="*/ 712 h 981"/>
              <a:gd name="T10" fmla="*/ 603 w 981"/>
              <a:gd name="T11" fmla="*/ 712 h 981"/>
              <a:gd name="T12" fmla="*/ 842 w 981"/>
              <a:gd name="T13" fmla="*/ 951 h 981"/>
              <a:gd name="T14" fmla="*/ 951 w 981"/>
              <a:gd name="T15" fmla="*/ 951 h 981"/>
              <a:gd name="T16" fmla="*/ 951 w 981"/>
              <a:gd name="T17" fmla="*/ 843 h 981"/>
              <a:gd name="T18" fmla="*/ 951 w 981"/>
              <a:gd name="T19" fmla="*/ 842 h 981"/>
              <a:gd name="T20" fmla="*/ 153 w 981"/>
              <a:gd name="T21" fmla="*/ 410 h 981"/>
              <a:gd name="T22" fmla="*/ 410 w 981"/>
              <a:gd name="T23" fmla="*/ 153 h 981"/>
              <a:gd name="T24" fmla="*/ 666 w 981"/>
              <a:gd name="T25" fmla="*/ 410 h 981"/>
              <a:gd name="T26" fmla="*/ 410 w 981"/>
              <a:gd name="T27" fmla="*/ 666 h 981"/>
              <a:gd name="T28" fmla="*/ 153 w 981"/>
              <a:gd name="T29" fmla="*/ 410 h 9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81" h="981">
                <a:moveTo>
                  <a:pt x="951" y="842"/>
                </a:moveTo>
                <a:cubicBezTo>
                  <a:pt x="711" y="603"/>
                  <a:pt x="711" y="603"/>
                  <a:pt x="711" y="603"/>
                </a:cubicBezTo>
                <a:cubicBezTo>
                  <a:pt x="818" y="436"/>
                  <a:pt x="770" y="214"/>
                  <a:pt x="603" y="107"/>
                </a:cubicBezTo>
                <a:cubicBezTo>
                  <a:pt x="436" y="0"/>
                  <a:pt x="214" y="49"/>
                  <a:pt x="107" y="216"/>
                </a:cubicBezTo>
                <a:cubicBezTo>
                  <a:pt x="0" y="383"/>
                  <a:pt x="49" y="605"/>
                  <a:pt x="216" y="712"/>
                </a:cubicBezTo>
                <a:cubicBezTo>
                  <a:pt x="334" y="787"/>
                  <a:pt x="485" y="787"/>
                  <a:pt x="603" y="712"/>
                </a:cubicBezTo>
                <a:cubicBezTo>
                  <a:pt x="842" y="951"/>
                  <a:pt x="842" y="951"/>
                  <a:pt x="842" y="951"/>
                </a:cubicBezTo>
                <a:cubicBezTo>
                  <a:pt x="872" y="981"/>
                  <a:pt x="921" y="981"/>
                  <a:pt x="951" y="951"/>
                </a:cubicBezTo>
                <a:cubicBezTo>
                  <a:pt x="981" y="921"/>
                  <a:pt x="981" y="873"/>
                  <a:pt x="951" y="843"/>
                </a:cubicBezTo>
                <a:cubicBezTo>
                  <a:pt x="951" y="843"/>
                  <a:pt x="951" y="842"/>
                  <a:pt x="951" y="842"/>
                </a:cubicBezTo>
                <a:close/>
                <a:moveTo>
                  <a:pt x="153" y="410"/>
                </a:moveTo>
                <a:cubicBezTo>
                  <a:pt x="153" y="268"/>
                  <a:pt x="268" y="153"/>
                  <a:pt x="410" y="153"/>
                </a:cubicBezTo>
                <a:cubicBezTo>
                  <a:pt x="551" y="153"/>
                  <a:pt x="666" y="268"/>
                  <a:pt x="666" y="410"/>
                </a:cubicBezTo>
                <a:cubicBezTo>
                  <a:pt x="666" y="551"/>
                  <a:pt x="551" y="666"/>
                  <a:pt x="410" y="666"/>
                </a:cubicBezTo>
                <a:cubicBezTo>
                  <a:pt x="268" y="666"/>
                  <a:pt x="153" y="551"/>
                  <a:pt x="153" y="41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ACAE36B3-AF2D-478D-88C9-3CE0A8C01AB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6706" y="918349"/>
            <a:ext cx="9963591" cy="5673283"/>
          </a:xfrm>
        </p:spPr>
        <p:txBody>
          <a:bodyPr/>
          <a:lstStyle>
            <a:lvl1pPr marL="0" indent="0">
              <a:spcBef>
                <a:spcPts val="1200"/>
              </a:spcBef>
              <a:buFontTx/>
              <a:buNone/>
              <a:defRPr sz="1799" b="1">
                <a:solidFill>
                  <a:schemeClr val="accent1">
                    <a:lumMod val="75000"/>
                  </a:schemeClr>
                </a:solidFill>
              </a:defRPr>
            </a:lvl1pPr>
            <a:lvl2pPr marL="319944" indent="-319944">
              <a:spcBef>
                <a:spcPts val="1200"/>
              </a:spcBef>
              <a:buFont typeface="+mj-lt"/>
              <a:buAutoNum type="alphaUcPeriod"/>
              <a:defRPr/>
            </a:lvl2pPr>
            <a:lvl3pPr marL="511910" indent="-173684">
              <a:spcBef>
                <a:spcPts val="600"/>
              </a:spcBef>
              <a:buFont typeface="+mj-lt"/>
              <a:buAutoNum type="romanLcPeriod"/>
              <a:defRPr sz="1300"/>
            </a:lvl3pPr>
            <a:lvl4pPr marL="795289" indent="-173684">
              <a:spcBef>
                <a:spcPts val="400"/>
              </a:spcBef>
              <a:buFont typeface="+mj-lt"/>
              <a:buAutoNum type="alphaLcPeriod"/>
              <a:defRPr sz="1300"/>
            </a:lvl4pPr>
            <a:lvl5pPr marL="1144245" indent="-115853">
              <a:spcBef>
                <a:spcPts val="200"/>
              </a:spcBef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52B0B944-6CE6-43E0-999B-D9E7C8E5B28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84359" y="2786642"/>
            <a:ext cx="219317" cy="283896"/>
            <a:chOff x="10758416" y="1419641"/>
            <a:chExt cx="3297184" cy="4266944"/>
          </a:xfrm>
          <a:solidFill>
            <a:schemeClr val="bg1">
              <a:alpha val="80000"/>
            </a:schemeClr>
          </a:solidFill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602608E7-C0B3-429D-9481-53C1000009CA}"/>
                </a:ext>
              </a:extLst>
            </p:cNvPr>
            <p:cNvSpPr/>
            <p:nvPr/>
          </p:nvSpPr>
          <p:spPr>
            <a:xfrm>
              <a:off x="10758416" y="1419641"/>
              <a:ext cx="3297184" cy="4266944"/>
            </a:xfrm>
            <a:custGeom>
              <a:avLst/>
              <a:gdLst>
                <a:gd name="connsiteX0" fmla="*/ 2763817 w 3297184"/>
                <a:gd name="connsiteY0" fmla="*/ 1939520 h 4266944"/>
                <a:gd name="connsiteX1" fmla="*/ 2424401 w 3297184"/>
                <a:gd name="connsiteY1" fmla="*/ 1600104 h 4266944"/>
                <a:gd name="connsiteX2" fmla="*/ 2763817 w 3297184"/>
                <a:gd name="connsiteY2" fmla="*/ 1260688 h 4266944"/>
                <a:gd name="connsiteX3" fmla="*/ 3103233 w 3297184"/>
                <a:gd name="connsiteY3" fmla="*/ 1600104 h 4266944"/>
                <a:gd name="connsiteX4" fmla="*/ 2763817 w 3297184"/>
                <a:gd name="connsiteY4" fmla="*/ 1939520 h 4266944"/>
                <a:gd name="connsiteX5" fmla="*/ 3297185 w 3297184"/>
                <a:gd name="connsiteY5" fmla="*/ 1600104 h 4266944"/>
                <a:gd name="connsiteX6" fmla="*/ 2763817 w 3297184"/>
                <a:gd name="connsiteY6" fmla="*/ 1066736 h 4266944"/>
                <a:gd name="connsiteX7" fmla="*/ 2230449 w 3297184"/>
                <a:gd name="connsiteY7" fmla="*/ 1600104 h 4266944"/>
                <a:gd name="connsiteX8" fmla="*/ 2618353 w 3297184"/>
                <a:gd name="connsiteY8" fmla="*/ 2114077 h 4266944"/>
                <a:gd name="connsiteX9" fmla="*/ 2618353 w 3297184"/>
                <a:gd name="connsiteY9" fmla="*/ 3248697 h 4266944"/>
                <a:gd name="connsiteX10" fmla="*/ 1891032 w 3297184"/>
                <a:gd name="connsiteY10" fmla="*/ 3976017 h 4266944"/>
                <a:gd name="connsiteX11" fmla="*/ 1163712 w 3297184"/>
                <a:gd name="connsiteY11" fmla="*/ 3248697 h 4266944"/>
                <a:gd name="connsiteX12" fmla="*/ 1163712 w 3297184"/>
                <a:gd name="connsiteY12" fmla="*/ 2754119 h 4266944"/>
                <a:gd name="connsiteX13" fmla="*/ 2036496 w 3297184"/>
                <a:gd name="connsiteY13" fmla="*/ 1745568 h 4266944"/>
                <a:gd name="connsiteX14" fmla="*/ 1939520 w 3297184"/>
                <a:gd name="connsiteY14" fmla="*/ 1580709 h 4266944"/>
                <a:gd name="connsiteX15" fmla="*/ 1939520 w 3297184"/>
                <a:gd name="connsiteY15" fmla="*/ 387904 h 4266944"/>
                <a:gd name="connsiteX16" fmla="*/ 1687383 w 3297184"/>
                <a:gd name="connsiteY16" fmla="*/ 101825 h 4266944"/>
                <a:gd name="connsiteX17" fmla="*/ 1551616 w 3297184"/>
                <a:gd name="connsiteY17" fmla="*/ 0 h 4266944"/>
                <a:gd name="connsiteX18" fmla="*/ 1503128 w 3297184"/>
                <a:gd name="connsiteY18" fmla="*/ 0 h 4266944"/>
                <a:gd name="connsiteX19" fmla="*/ 1309176 w 3297184"/>
                <a:gd name="connsiteY19" fmla="*/ 193952 h 4266944"/>
                <a:gd name="connsiteX20" fmla="*/ 1503128 w 3297184"/>
                <a:gd name="connsiteY20" fmla="*/ 387904 h 4266944"/>
                <a:gd name="connsiteX21" fmla="*/ 1551616 w 3297184"/>
                <a:gd name="connsiteY21" fmla="*/ 387904 h 4266944"/>
                <a:gd name="connsiteX22" fmla="*/ 1687383 w 3297184"/>
                <a:gd name="connsiteY22" fmla="*/ 300626 h 4266944"/>
                <a:gd name="connsiteX23" fmla="*/ 1745568 w 3297184"/>
                <a:gd name="connsiteY23" fmla="*/ 387904 h 4266944"/>
                <a:gd name="connsiteX24" fmla="*/ 1745568 w 3297184"/>
                <a:gd name="connsiteY24" fmla="*/ 1580709 h 4266944"/>
                <a:gd name="connsiteX25" fmla="*/ 1648592 w 3297184"/>
                <a:gd name="connsiteY25" fmla="*/ 1745568 h 4266944"/>
                <a:gd name="connsiteX26" fmla="*/ 1018248 w 3297184"/>
                <a:gd name="connsiteY26" fmla="*/ 2375913 h 4266944"/>
                <a:gd name="connsiteX27" fmla="*/ 387904 w 3297184"/>
                <a:gd name="connsiteY27" fmla="*/ 1745568 h 4266944"/>
                <a:gd name="connsiteX28" fmla="*/ 290928 w 3297184"/>
                <a:gd name="connsiteY28" fmla="*/ 1580709 h 4266944"/>
                <a:gd name="connsiteX29" fmla="*/ 290928 w 3297184"/>
                <a:gd name="connsiteY29" fmla="*/ 387904 h 4266944"/>
                <a:gd name="connsiteX30" fmla="*/ 349114 w 3297184"/>
                <a:gd name="connsiteY30" fmla="*/ 300626 h 4266944"/>
                <a:gd name="connsiteX31" fmla="*/ 484880 w 3297184"/>
                <a:gd name="connsiteY31" fmla="*/ 387904 h 4266944"/>
                <a:gd name="connsiteX32" fmla="*/ 533368 w 3297184"/>
                <a:gd name="connsiteY32" fmla="*/ 387904 h 4266944"/>
                <a:gd name="connsiteX33" fmla="*/ 727320 w 3297184"/>
                <a:gd name="connsiteY33" fmla="*/ 193952 h 4266944"/>
                <a:gd name="connsiteX34" fmla="*/ 533368 w 3297184"/>
                <a:gd name="connsiteY34" fmla="*/ 0 h 4266944"/>
                <a:gd name="connsiteX35" fmla="*/ 484880 w 3297184"/>
                <a:gd name="connsiteY35" fmla="*/ 0 h 4266944"/>
                <a:gd name="connsiteX36" fmla="*/ 349114 w 3297184"/>
                <a:gd name="connsiteY36" fmla="*/ 101825 h 4266944"/>
                <a:gd name="connsiteX37" fmla="*/ 96976 w 3297184"/>
                <a:gd name="connsiteY37" fmla="*/ 387904 h 4266944"/>
                <a:gd name="connsiteX38" fmla="*/ 96976 w 3297184"/>
                <a:gd name="connsiteY38" fmla="*/ 1580709 h 4266944"/>
                <a:gd name="connsiteX39" fmla="*/ 0 w 3297184"/>
                <a:gd name="connsiteY39" fmla="*/ 1745568 h 4266944"/>
                <a:gd name="connsiteX40" fmla="*/ 872784 w 3297184"/>
                <a:gd name="connsiteY40" fmla="*/ 2754119 h 4266944"/>
                <a:gd name="connsiteX41" fmla="*/ 872784 w 3297184"/>
                <a:gd name="connsiteY41" fmla="*/ 3248697 h 4266944"/>
                <a:gd name="connsiteX42" fmla="*/ 1891032 w 3297184"/>
                <a:gd name="connsiteY42" fmla="*/ 4266945 h 4266944"/>
                <a:gd name="connsiteX43" fmla="*/ 2909281 w 3297184"/>
                <a:gd name="connsiteY43" fmla="*/ 3248697 h 4266944"/>
                <a:gd name="connsiteX44" fmla="*/ 2909281 w 3297184"/>
                <a:gd name="connsiteY44" fmla="*/ 2114077 h 4266944"/>
                <a:gd name="connsiteX45" fmla="*/ 3297185 w 3297184"/>
                <a:gd name="connsiteY45" fmla="*/ 1600104 h 4266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3297184" h="4266944">
                  <a:moveTo>
                    <a:pt x="2763817" y="1939520"/>
                  </a:moveTo>
                  <a:cubicBezTo>
                    <a:pt x="2574713" y="1939520"/>
                    <a:pt x="2424401" y="1789208"/>
                    <a:pt x="2424401" y="1600104"/>
                  </a:cubicBezTo>
                  <a:cubicBezTo>
                    <a:pt x="2424401" y="1411001"/>
                    <a:pt x="2574713" y="1260688"/>
                    <a:pt x="2763817" y="1260688"/>
                  </a:cubicBezTo>
                  <a:cubicBezTo>
                    <a:pt x="2952920" y="1260688"/>
                    <a:pt x="3103233" y="1411001"/>
                    <a:pt x="3103233" y="1600104"/>
                  </a:cubicBezTo>
                  <a:cubicBezTo>
                    <a:pt x="3103233" y="1789208"/>
                    <a:pt x="2952920" y="1939520"/>
                    <a:pt x="2763817" y="1939520"/>
                  </a:cubicBezTo>
                  <a:close/>
                  <a:moveTo>
                    <a:pt x="3297185" y="1600104"/>
                  </a:moveTo>
                  <a:cubicBezTo>
                    <a:pt x="3297185" y="1304328"/>
                    <a:pt x="3059594" y="1066736"/>
                    <a:pt x="2763817" y="1066736"/>
                  </a:cubicBezTo>
                  <a:cubicBezTo>
                    <a:pt x="2468040" y="1066736"/>
                    <a:pt x="2230449" y="1304328"/>
                    <a:pt x="2230449" y="1600104"/>
                  </a:cubicBezTo>
                  <a:cubicBezTo>
                    <a:pt x="2230449" y="1842544"/>
                    <a:pt x="2395308" y="2051043"/>
                    <a:pt x="2618353" y="2114077"/>
                  </a:cubicBezTo>
                  <a:lnTo>
                    <a:pt x="2618353" y="3248697"/>
                  </a:lnTo>
                  <a:cubicBezTo>
                    <a:pt x="2618353" y="3651147"/>
                    <a:pt x="2293483" y="3976017"/>
                    <a:pt x="1891032" y="3976017"/>
                  </a:cubicBezTo>
                  <a:cubicBezTo>
                    <a:pt x="1488582" y="3976017"/>
                    <a:pt x="1163712" y="3651147"/>
                    <a:pt x="1163712" y="3248697"/>
                  </a:cubicBezTo>
                  <a:lnTo>
                    <a:pt x="1163712" y="2754119"/>
                  </a:lnTo>
                  <a:cubicBezTo>
                    <a:pt x="1658290" y="2681387"/>
                    <a:pt x="2036496" y="2259541"/>
                    <a:pt x="2036496" y="1745568"/>
                  </a:cubicBezTo>
                  <a:cubicBezTo>
                    <a:pt x="2036496" y="1672836"/>
                    <a:pt x="1997706" y="1609802"/>
                    <a:pt x="1939520" y="1580709"/>
                  </a:cubicBezTo>
                  <a:lnTo>
                    <a:pt x="1939520" y="387904"/>
                  </a:lnTo>
                  <a:cubicBezTo>
                    <a:pt x="1939520" y="242440"/>
                    <a:pt x="1827998" y="121220"/>
                    <a:pt x="1687383" y="101825"/>
                  </a:cubicBezTo>
                  <a:cubicBezTo>
                    <a:pt x="1667988" y="43639"/>
                    <a:pt x="1614651" y="0"/>
                    <a:pt x="1551616" y="0"/>
                  </a:cubicBezTo>
                  <a:lnTo>
                    <a:pt x="1503128" y="0"/>
                  </a:lnTo>
                  <a:cubicBezTo>
                    <a:pt x="1396455" y="0"/>
                    <a:pt x="1309176" y="87278"/>
                    <a:pt x="1309176" y="193952"/>
                  </a:cubicBezTo>
                  <a:cubicBezTo>
                    <a:pt x="1309176" y="300626"/>
                    <a:pt x="1396455" y="387904"/>
                    <a:pt x="1503128" y="387904"/>
                  </a:cubicBezTo>
                  <a:lnTo>
                    <a:pt x="1551616" y="387904"/>
                  </a:lnTo>
                  <a:cubicBezTo>
                    <a:pt x="1609802" y="387904"/>
                    <a:pt x="1663139" y="349114"/>
                    <a:pt x="1687383" y="300626"/>
                  </a:cubicBezTo>
                  <a:cubicBezTo>
                    <a:pt x="1721324" y="315172"/>
                    <a:pt x="1745568" y="349114"/>
                    <a:pt x="1745568" y="387904"/>
                  </a:cubicBezTo>
                  <a:lnTo>
                    <a:pt x="1745568" y="1580709"/>
                  </a:lnTo>
                  <a:cubicBezTo>
                    <a:pt x="1687383" y="1614651"/>
                    <a:pt x="1648592" y="1677685"/>
                    <a:pt x="1648592" y="1745568"/>
                  </a:cubicBezTo>
                  <a:cubicBezTo>
                    <a:pt x="1648592" y="2094682"/>
                    <a:pt x="1367362" y="2375913"/>
                    <a:pt x="1018248" y="2375913"/>
                  </a:cubicBezTo>
                  <a:cubicBezTo>
                    <a:pt x="669135" y="2375913"/>
                    <a:pt x="387904" y="2094682"/>
                    <a:pt x="387904" y="1745568"/>
                  </a:cubicBezTo>
                  <a:cubicBezTo>
                    <a:pt x="387904" y="1672836"/>
                    <a:pt x="349114" y="1609802"/>
                    <a:pt x="290928" y="1580709"/>
                  </a:cubicBezTo>
                  <a:lnTo>
                    <a:pt x="290928" y="387904"/>
                  </a:lnTo>
                  <a:cubicBezTo>
                    <a:pt x="290928" y="349114"/>
                    <a:pt x="315172" y="315172"/>
                    <a:pt x="349114" y="300626"/>
                  </a:cubicBezTo>
                  <a:cubicBezTo>
                    <a:pt x="373358" y="353963"/>
                    <a:pt x="421846" y="387904"/>
                    <a:pt x="484880" y="387904"/>
                  </a:cubicBezTo>
                  <a:lnTo>
                    <a:pt x="533368" y="387904"/>
                  </a:lnTo>
                  <a:cubicBezTo>
                    <a:pt x="640042" y="387904"/>
                    <a:pt x="727320" y="300626"/>
                    <a:pt x="727320" y="193952"/>
                  </a:cubicBezTo>
                  <a:cubicBezTo>
                    <a:pt x="727320" y="87278"/>
                    <a:pt x="640042" y="0"/>
                    <a:pt x="533368" y="0"/>
                  </a:cubicBezTo>
                  <a:lnTo>
                    <a:pt x="484880" y="0"/>
                  </a:lnTo>
                  <a:cubicBezTo>
                    <a:pt x="421846" y="0"/>
                    <a:pt x="368509" y="43639"/>
                    <a:pt x="349114" y="101825"/>
                  </a:cubicBezTo>
                  <a:cubicBezTo>
                    <a:pt x="208498" y="121220"/>
                    <a:pt x="96976" y="242440"/>
                    <a:pt x="96976" y="387904"/>
                  </a:cubicBezTo>
                  <a:lnTo>
                    <a:pt x="96976" y="1580709"/>
                  </a:lnTo>
                  <a:cubicBezTo>
                    <a:pt x="38790" y="1614651"/>
                    <a:pt x="0" y="1677685"/>
                    <a:pt x="0" y="1745568"/>
                  </a:cubicBezTo>
                  <a:cubicBezTo>
                    <a:pt x="0" y="2259541"/>
                    <a:pt x="378206" y="2681387"/>
                    <a:pt x="872784" y="2754119"/>
                  </a:cubicBezTo>
                  <a:lnTo>
                    <a:pt x="872784" y="3248697"/>
                  </a:lnTo>
                  <a:cubicBezTo>
                    <a:pt x="872784" y="3811158"/>
                    <a:pt x="1328572" y="4266945"/>
                    <a:pt x="1891032" y="4266945"/>
                  </a:cubicBezTo>
                  <a:cubicBezTo>
                    <a:pt x="2453493" y="4266945"/>
                    <a:pt x="2909281" y="3811158"/>
                    <a:pt x="2909281" y="3248697"/>
                  </a:cubicBezTo>
                  <a:lnTo>
                    <a:pt x="2909281" y="2114077"/>
                  </a:lnTo>
                  <a:cubicBezTo>
                    <a:pt x="3132326" y="2051043"/>
                    <a:pt x="3297185" y="1842544"/>
                    <a:pt x="3297185" y="1600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009E2E02-B3C0-4173-B07B-BD3340CD07C6}"/>
                </a:ext>
              </a:extLst>
            </p:cNvPr>
            <p:cNvSpPr/>
            <p:nvPr/>
          </p:nvSpPr>
          <p:spPr>
            <a:xfrm>
              <a:off x="13279792" y="2777305"/>
              <a:ext cx="484880" cy="484880"/>
            </a:xfrm>
            <a:custGeom>
              <a:avLst/>
              <a:gdLst>
                <a:gd name="connsiteX0" fmla="*/ 484880 w 484880"/>
                <a:gd name="connsiteY0" fmla="*/ 242440 h 484880"/>
                <a:gd name="connsiteX1" fmla="*/ 242440 w 484880"/>
                <a:gd name="connsiteY1" fmla="*/ 484880 h 484880"/>
                <a:gd name="connsiteX2" fmla="*/ 0 w 484880"/>
                <a:gd name="connsiteY2" fmla="*/ 242440 h 484880"/>
                <a:gd name="connsiteX3" fmla="*/ 242440 w 484880"/>
                <a:gd name="connsiteY3" fmla="*/ 0 h 484880"/>
                <a:gd name="connsiteX4" fmla="*/ 484880 w 484880"/>
                <a:gd name="connsiteY4" fmla="*/ 242440 h 484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880" h="484880">
                  <a:moveTo>
                    <a:pt x="484880" y="242440"/>
                  </a:moveTo>
                  <a:cubicBezTo>
                    <a:pt x="484880" y="376336"/>
                    <a:pt x="376336" y="484880"/>
                    <a:pt x="242440" y="484880"/>
                  </a:cubicBezTo>
                  <a:cubicBezTo>
                    <a:pt x="108544" y="484880"/>
                    <a:pt x="0" y="376336"/>
                    <a:pt x="0" y="242440"/>
                  </a:cubicBezTo>
                  <a:cubicBezTo>
                    <a:pt x="0" y="108544"/>
                    <a:pt x="108544" y="0"/>
                    <a:pt x="242440" y="0"/>
                  </a:cubicBezTo>
                  <a:cubicBezTo>
                    <a:pt x="376336" y="0"/>
                    <a:pt x="484880" y="108544"/>
                    <a:pt x="484880" y="2424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57713616-F8CB-42DC-8F3C-A105AD1996D9}"/>
              </a:ext>
            </a:extLst>
          </p:cNvPr>
          <p:cNvGrpSpPr/>
          <p:nvPr userDrawn="1"/>
        </p:nvGrpSpPr>
        <p:grpSpPr>
          <a:xfrm>
            <a:off x="11169212" y="3702633"/>
            <a:ext cx="229989" cy="225311"/>
            <a:chOff x="2634853" y="3844528"/>
            <a:chExt cx="261938" cy="268319"/>
          </a:xfrm>
          <a:solidFill>
            <a:schemeClr val="bg1">
              <a:alpha val="80000"/>
            </a:schemeClr>
          </a:solidFill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1DF4E35F-0620-419F-AC23-1CAE73B99162}"/>
                </a:ext>
              </a:extLst>
            </p:cNvPr>
            <p:cNvSpPr/>
            <p:nvPr/>
          </p:nvSpPr>
          <p:spPr>
            <a:xfrm>
              <a:off x="2634853" y="3965972"/>
              <a:ext cx="34366" cy="108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C905438A-30B3-4FAD-8295-B6600B3CBABF}"/>
                </a:ext>
              </a:extLst>
            </p:cNvPr>
            <p:cNvSpPr/>
            <p:nvPr/>
          </p:nvSpPr>
          <p:spPr>
            <a:xfrm>
              <a:off x="2691746" y="3894534"/>
              <a:ext cx="34366" cy="18024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B25973A6-48B5-4681-A44D-6B999B4D9B43}"/>
                </a:ext>
              </a:extLst>
            </p:cNvPr>
            <p:cNvSpPr/>
            <p:nvPr/>
          </p:nvSpPr>
          <p:spPr>
            <a:xfrm>
              <a:off x="2748639" y="3992166"/>
              <a:ext cx="34366" cy="826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ABBA2432-C455-4BF3-B283-F60B381A61CB}"/>
                </a:ext>
              </a:extLst>
            </p:cNvPr>
            <p:cNvSpPr/>
            <p:nvPr/>
          </p:nvSpPr>
          <p:spPr>
            <a:xfrm>
              <a:off x="2805532" y="3942160"/>
              <a:ext cx="34366" cy="13261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740C72F1-01BB-4671-8ED5-46478A70A88A}"/>
                </a:ext>
              </a:extLst>
            </p:cNvPr>
            <p:cNvSpPr/>
            <p:nvPr/>
          </p:nvSpPr>
          <p:spPr>
            <a:xfrm>
              <a:off x="2862425" y="3844528"/>
              <a:ext cx="34366" cy="2302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A30A050B-8204-4B35-B948-AD2497B8BEF7}"/>
                </a:ext>
              </a:extLst>
            </p:cNvPr>
            <p:cNvSpPr/>
            <p:nvPr/>
          </p:nvSpPr>
          <p:spPr>
            <a:xfrm>
              <a:off x="2634853" y="4094559"/>
              <a:ext cx="261938" cy="1828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F90AE251-C3C2-4ED6-8127-B39554E1A9F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43494" y="4609169"/>
            <a:ext cx="247314" cy="241130"/>
            <a:chOff x="2578100" y="0"/>
            <a:chExt cx="11628438" cy="11334750"/>
          </a:xfrm>
          <a:solidFill>
            <a:schemeClr val="bg1">
              <a:alpha val="80000"/>
            </a:schemeClr>
          </a:solidFill>
        </p:grpSpPr>
        <p:sp>
          <p:nvSpPr>
            <p:cNvPr id="56" name="Freeform 15">
              <a:extLst>
                <a:ext uri="{FF2B5EF4-FFF2-40B4-BE49-F238E27FC236}">
                  <a16:creationId xmlns:a16="http://schemas.microsoft.com/office/drawing/2014/main" id="{195CB80E-0DB2-4434-BE9A-007989458A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2263" y="0"/>
              <a:ext cx="4994275" cy="5073650"/>
            </a:xfrm>
            <a:custGeom>
              <a:avLst/>
              <a:gdLst>
                <a:gd name="T0" fmla="*/ 211 w 442"/>
                <a:gd name="T1" fmla="*/ 137 h 449"/>
                <a:gd name="T2" fmla="*/ 308 w 442"/>
                <a:gd name="T3" fmla="*/ 215 h 449"/>
                <a:gd name="T4" fmla="*/ 231 w 442"/>
                <a:gd name="T5" fmla="*/ 312 h 449"/>
                <a:gd name="T6" fmla="*/ 133 w 442"/>
                <a:gd name="T7" fmla="*/ 235 h 449"/>
                <a:gd name="T8" fmla="*/ 211 w 442"/>
                <a:gd name="T9" fmla="*/ 137 h 449"/>
                <a:gd name="T10" fmla="*/ 65 w 442"/>
                <a:gd name="T11" fmla="*/ 283 h 449"/>
                <a:gd name="T12" fmla="*/ 16 w 442"/>
                <a:gd name="T13" fmla="*/ 320 h 449"/>
                <a:gd name="T14" fmla="*/ 71 w 442"/>
                <a:gd name="T15" fmla="*/ 394 h 449"/>
                <a:gd name="T16" fmla="*/ 121 w 442"/>
                <a:gd name="T17" fmla="*/ 357 h 449"/>
                <a:gd name="T18" fmla="*/ 194 w 442"/>
                <a:gd name="T19" fmla="*/ 389 h 449"/>
                <a:gd name="T20" fmla="*/ 201 w 442"/>
                <a:gd name="T21" fmla="*/ 449 h 449"/>
                <a:gd name="T22" fmla="*/ 292 w 442"/>
                <a:gd name="T23" fmla="*/ 439 h 449"/>
                <a:gd name="T24" fmla="*/ 285 w 442"/>
                <a:gd name="T25" fmla="*/ 378 h 449"/>
                <a:gd name="T26" fmla="*/ 349 w 442"/>
                <a:gd name="T27" fmla="*/ 330 h 449"/>
                <a:gd name="T28" fmla="*/ 405 w 442"/>
                <a:gd name="T29" fmla="*/ 354 h 449"/>
                <a:gd name="T30" fmla="*/ 442 w 442"/>
                <a:gd name="T31" fmla="*/ 270 h 449"/>
                <a:gd name="T32" fmla="*/ 385 w 442"/>
                <a:gd name="T33" fmla="*/ 246 h 449"/>
                <a:gd name="T34" fmla="*/ 376 w 442"/>
                <a:gd name="T35" fmla="*/ 166 h 449"/>
                <a:gd name="T36" fmla="*/ 425 w 442"/>
                <a:gd name="T37" fmla="*/ 130 h 449"/>
                <a:gd name="T38" fmla="*/ 370 w 442"/>
                <a:gd name="T39" fmla="*/ 56 h 449"/>
                <a:gd name="T40" fmla="*/ 321 w 442"/>
                <a:gd name="T41" fmla="*/ 93 h 449"/>
                <a:gd name="T42" fmla="*/ 248 w 442"/>
                <a:gd name="T43" fmla="*/ 61 h 449"/>
                <a:gd name="T44" fmla="*/ 241 w 442"/>
                <a:gd name="T45" fmla="*/ 0 h 449"/>
                <a:gd name="T46" fmla="*/ 149 w 442"/>
                <a:gd name="T47" fmla="*/ 11 h 449"/>
                <a:gd name="T48" fmla="*/ 156 w 442"/>
                <a:gd name="T49" fmla="*/ 72 h 449"/>
                <a:gd name="T50" fmla="*/ 93 w 442"/>
                <a:gd name="T51" fmla="*/ 119 h 449"/>
                <a:gd name="T52" fmla="*/ 36 w 442"/>
                <a:gd name="T53" fmla="*/ 95 h 449"/>
                <a:gd name="T54" fmla="*/ 0 w 442"/>
                <a:gd name="T55" fmla="*/ 180 h 449"/>
                <a:gd name="T56" fmla="*/ 56 w 442"/>
                <a:gd name="T57" fmla="*/ 204 h 449"/>
                <a:gd name="T58" fmla="*/ 65 w 442"/>
                <a:gd name="T59" fmla="*/ 283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2" h="449">
                  <a:moveTo>
                    <a:pt x="211" y="137"/>
                  </a:moveTo>
                  <a:cubicBezTo>
                    <a:pt x="259" y="132"/>
                    <a:pt x="303" y="166"/>
                    <a:pt x="308" y="215"/>
                  </a:cubicBezTo>
                  <a:cubicBezTo>
                    <a:pt x="314" y="263"/>
                    <a:pt x="279" y="307"/>
                    <a:pt x="231" y="312"/>
                  </a:cubicBezTo>
                  <a:cubicBezTo>
                    <a:pt x="183" y="318"/>
                    <a:pt x="139" y="283"/>
                    <a:pt x="133" y="235"/>
                  </a:cubicBezTo>
                  <a:cubicBezTo>
                    <a:pt x="128" y="187"/>
                    <a:pt x="162" y="143"/>
                    <a:pt x="211" y="137"/>
                  </a:cubicBezTo>
                  <a:close/>
                  <a:moveTo>
                    <a:pt x="65" y="283"/>
                  </a:moveTo>
                  <a:cubicBezTo>
                    <a:pt x="16" y="320"/>
                    <a:pt x="16" y="320"/>
                    <a:pt x="16" y="320"/>
                  </a:cubicBezTo>
                  <a:cubicBezTo>
                    <a:pt x="71" y="394"/>
                    <a:pt x="71" y="394"/>
                    <a:pt x="71" y="394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94" y="389"/>
                    <a:pt x="194" y="389"/>
                    <a:pt x="194" y="389"/>
                  </a:cubicBezTo>
                  <a:cubicBezTo>
                    <a:pt x="201" y="449"/>
                    <a:pt x="201" y="449"/>
                    <a:pt x="201" y="449"/>
                  </a:cubicBezTo>
                  <a:cubicBezTo>
                    <a:pt x="292" y="439"/>
                    <a:pt x="292" y="439"/>
                    <a:pt x="292" y="439"/>
                  </a:cubicBezTo>
                  <a:cubicBezTo>
                    <a:pt x="285" y="378"/>
                    <a:pt x="285" y="378"/>
                    <a:pt x="285" y="378"/>
                  </a:cubicBezTo>
                  <a:cubicBezTo>
                    <a:pt x="349" y="330"/>
                    <a:pt x="349" y="330"/>
                    <a:pt x="349" y="330"/>
                  </a:cubicBezTo>
                  <a:cubicBezTo>
                    <a:pt x="405" y="354"/>
                    <a:pt x="405" y="354"/>
                    <a:pt x="405" y="354"/>
                  </a:cubicBezTo>
                  <a:cubicBezTo>
                    <a:pt x="442" y="270"/>
                    <a:pt x="442" y="270"/>
                    <a:pt x="442" y="270"/>
                  </a:cubicBezTo>
                  <a:cubicBezTo>
                    <a:pt x="385" y="246"/>
                    <a:pt x="385" y="246"/>
                    <a:pt x="385" y="246"/>
                  </a:cubicBezTo>
                  <a:cubicBezTo>
                    <a:pt x="376" y="166"/>
                    <a:pt x="376" y="166"/>
                    <a:pt x="376" y="166"/>
                  </a:cubicBezTo>
                  <a:cubicBezTo>
                    <a:pt x="425" y="130"/>
                    <a:pt x="425" y="130"/>
                    <a:pt x="425" y="130"/>
                  </a:cubicBezTo>
                  <a:cubicBezTo>
                    <a:pt x="370" y="56"/>
                    <a:pt x="370" y="56"/>
                    <a:pt x="370" y="56"/>
                  </a:cubicBezTo>
                  <a:cubicBezTo>
                    <a:pt x="321" y="93"/>
                    <a:pt x="321" y="93"/>
                    <a:pt x="321" y="93"/>
                  </a:cubicBezTo>
                  <a:cubicBezTo>
                    <a:pt x="248" y="61"/>
                    <a:pt x="248" y="61"/>
                    <a:pt x="248" y="61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56" y="72"/>
                    <a:pt x="156" y="72"/>
                    <a:pt x="156" y="72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36" y="95"/>
                    <a:pt x="36" y="95"/>
                    <a:pt x="36" y="95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56" y="204"/>
                    <a:pt x="56" y="204"/>
                    <a:pt x="56" y="204"/>
                  </a:cubicBezTo>
                  <a:lnTo>
                    <a:pt x="65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9631905B-5549-437E-925A-4F077325E8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0313" y="6340475"/>
              <a:ext cx="5073650" cy="4994275"/>
            </a:xfrm>
            <a:custGeom>
              <a:avLst/>
              <a:gdLst>
                <a:gd name="T0" fmla="*/ 306 w 449"/>
                <a:gd name="T1" fmla="*/ 256 h 442"/>
                <a:gd name="T2" fmla="*/ 190 w 449"/>
                <a:gd name="T3" fmla="*/ 302 h 442"/>
                <a:gd name="T4" fmla="*/ 144 w 449"/>
                <a:gd name="T5" fmla="*/ 186 h 442"/>
                <a:gd name="T6" fmla="*/ 259 w 449"/>
                <a:gd name="T7" fmla="*/ 140 h 442"/>
                <a:gd name="T8" fmla="*/ 306 w 449"/>
                <a:gd name="T9" fmla="*/ 256 h 442"/>
                <a:gd name="T10" fmla="*/ 449 w 449"/>
                <a:gd name="T11" fmla="*/ 240 h 442"/>
                <a:gd name="T12" fmla="*/ 438 w 449"/>
                <a:gd name="T13" fmla="*/ 149 h 442"/>
                <a:gd name="T14" fmla="*/ 377 w 449"/>
                <a:gd name="T15" fmla="*/ 156 h 442"/>
                <a:gd name="T16" fmla="*/ 330 w 449"/>
                <a:gd name="T17" fmla="*/ 92 h 442"/>
                <a:gd name="T18" fmla="*/ 354 w 449"/>
                <a:gd name="T19" fmla="*/ 36 h 442"/>
                <a:gd name="T20" fmla="*/ 269 w 449"/>
                <a:gd name="T21" fmla="*/ 0 h 442"/>
                <a:gd name="T22" fmla="*/ 245 w 449"/>
                <a:gd name="T23" fmla="*/ 56 h 442"/>
                <a:gd name="T24" fmla="*/ 166 w 449"/>
                <a:gd name="T25" fmla="*/ 66 h 442"/>
                <a:gd name="T26" fmla="*/ 129 w 449"/>
                <a:gd name="T27" fmla="*/ 17 h 442"/>
                <a:gd name="T28" fmla="*/ 55 w 449"/>
                <a:gd name="T29" fmla="*/ 72 h 442"/>
                <a:gd name="T30" fmla="*/ 92 w 449"/>
                <a:gd name="T31" fmla="*/ 121 h 442"/>
                <a:gd name="T32" fmla="*/ 61 w 449"/>
                <a:gd name="T33" fmla="*/ 194 h 442"/>
                <a:gd name="T34" fmla="*/ 0 w 449"/>
                <a:gd name="T35" fmla="*/ 202 h 442"/>
                <a:gd name="T36" fmla="*/ 11 w 449"/>
                <a:gd name="T37" fmla="*/ 293 h 442"/>
                <a:gd name="T38" fmla="*/ 72 w 449"/>
                <a:gd name="T39" fmla="*/ 286 h 442"/>
                <a:gd name="T40" fmla="*/ 120 w 449"/>
                <a:gd name="T41" fmla="*/ 350 h 442"/>
                <a:gd name="T42" fmla="*/ 96 w 449"/>
                <a:gd name="T43" fmla="*/ 406 h 442"/>
                <a:gd name="T44" fmla="*/ 180 w 449"/>
                <a:gd name="T45" fmla="*/ 442 h 442"/>
                <a:gd name="T46" fmla="*/ 205 w 449"/>
                <a:gd name="T47" fmla="*/ 386 h 442"/>
                <a:gd name="T48" fmla="*/ 284 w 449"/>
                <a:gd name="T49" fmla="*/ 376 h 442"/>
                <a:gd name="T50" fmla="*/ 320 w 449"/>
                <a:gd name="T51" fmla="*/ 425 h 442"/>
                <a:gd name="T52" fmla="*/ 394 w 449"/>
                <a:gd name="T53" fmla="*/ 370 h 442"/>
                <a:gd name="T54" fmla="*/ 357 w 449"/>
                <a:gd name="T55" fmla="*/ 321 h 442"/>
                <a:gd name="T56" fmla="*/ 389 w 449"/>
                <a:gd name="T57" fmla="*/ 248 h 442"/>
                <a:gd name="T58" fmla="*/ 449 w 449"/>
                <a:gd name="T59" fmla="*/ 24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9" h="442">
                  <a:moveTo>
                    <a:pt x="306" y="256"/>
                  </a:moveTo>
                  <a:cubicBezTo>
                    <a:pt x="287" y="300"/>
                    <a:pt x="235" y="321"/>
                    <a:pt x="190" y="302"/>
                  </a:cubicBezTo>
                  <a:cubicBezTo>
                    <a:pt x="145" y="283"/>
                    <a:pt x="125" y="231"/>
                    <a:pt x="144" y="186"/>
                  </a:cubicBezTo>
                  <a:cubicBezTo>
                    <a:pt x="163" y="142"/>
                    <a:pt x="215" y="121"/>
                    <a:pt x="259" y="140"/>
                  </a:cubicBezTo>
                  <a:cubicBezTo>
                    <a:pt x="304" y="159"/>
                    <a:pt x="325" y="211"/>
                    <a:pt x="306" y="256"/>
                  </a:cubicBezTo>
                  <a:close/>
                  <a:moveTo>
                    <a:pt x="449" y="240"/>
                  </a:moveTo>
                  <a:cubicBezTo>
                    <a:pt x="438" y="149"/>
                    <a:pt x="438" y="149"/>
                    <a:pt x="438" y="149"/>
                  </a:cubicBezTo>
                  <a:cubicBezTo>
                    <a:pt x="377" y="156"/>
                    <a:pt x="377" y="156"/>
                    <a:pt x="377" y="156"/>
                  </a:cubicBezTo>
                  <a:cubicBezTo>
                    <a:pt x="330" y="92"/>
                    <a:pt x="330" y="92"/>
                    <a:pt x="330" y="92"/>
                  </a:cubicBezTo>
                  <a:cubicBezTo>
                    <a:pt x="354" y="36"/>
                    <a:pt x="354" y="36"/>
                    <a:pt x="354" y="36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245" y="56"/>
                    <a:pt x="245" y="56"/>
                    <a:pt x="245" y="56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92" y="121"/>
                    <a:pt x="92" y="121"/>
                    <a:pt x="92" y="121"/>
                  </a:cubicBezTo>
                  <a:cubicBezTo>
                    <a:pt x="61" y="194"/>
                    <a:pt x="61" y="194"/>
                    <a:pt x="61" y="194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11" y="293"/>
                    <a:pt x="11" y="293"/>
                    <a:pt x="11" y="293"/>
                  </a:cubicBezTo>
                  <a:cubicBezTo>
                    <a:pt x="72" y="286"/>
                    <a:pt x="72" y="286"/>
                    <a:pt x="72" y="286"/>
                  </a:cubicBezTo>
                  <a:cubicBezTo>
                    <a:pt x="120" y="350"/>
                    <a:pt x="120" y="350"/>
                    <a:pt x="120" y="350"/>
                  </a:cubicBezTo>
                  <a:cubicBezTo>
                    <a:pt x="96" y="406"/>
                    <a:pt x="96" y="406"/>
                    <a:pt x="96" y="406"/>
                  </a:cubicBezTo>
                  <a:cubicBezTo>
                    <a:pt x="180" y="442"/>
                    <a:pt x="180" y="442"/>
                    <a:pt x="180" y="442"/>
                  </a:cubicBezTo>
                  <a:cubicBezTo>
                    <a:pt x="205" y="386"/>
                    <a:pt x="205" y="386"/>
                    <a:pt x="205" y="386"/>
                  </a:cubicBezTo>
                  <a:cubicBezTo>
                    <a:pt x="284" y="376"/>
                    <a:pt x="284" y="376"/>
                    <a:pt x="284" y="376"/>
                  </a:cubicBezTo>
                  <a:cubicBezTo>
                    <a:pt x="320" y="425"/>
                    <a:pt x="320" y="425"/>
                    <a:pt x="320" y="425"/>
                  </a:cubicBezTo>
                  <a:cubicBezTo>
                    <a:pt x="394" y="370"/>
                    <a:pt x="394" y="370"/>
                    <a:pt x="394" y="370"/>
                  </a:cubicBezTo>
                  <a:cubicBezTo>
                    <a:pt x="357" y="321"/>
                    <a:pt x="357" y="321"/>
                    <a:pt x="357" y="321"/>
                  </a:cubicBezTo>
                  <a:cubicBezTo>
                    <a:pt x="389" y="248"/>
                    <a:pt x="389" y="248"/>
                    <a:pt x="389" y="248"/>
                  </a:cubicBezTo>
                  <a:lnTo>
                    <a:pt x="449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2F4615F2-BAC3-439E-AFEA-A993F145C1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8100" y="1638300"/>
              <a:ext cx="7627938" cy="7616825"/>
            </a:xfrm>
            <a:custGeom>
              <a:avLst/>
              <a:gdLst>
                <a:gd name="T0" fmla="*/ 337 w 675"/>
                <a:gd name="T1" fmla="*/ 485 h 674"/>
                <a:gd name="T2" fmla="*/ 189 w 675"/>
                <a:gd name="T3" fmla="*/ 337 h 674"/>
                <a:gd name="T4" fmla="*/ 337 w 675"/>
                <a:gd name="T5" fmla="*/ 189 h 674"/>
                <a:gd name="T6" fmla="*/ 486 w 675"/>
                <a:gd name="T7" fmla="*/ 337 h 674"/>
                <a:gd name="T8" fmla="*/ 337 w 675"/>
                <a:gd name="T9" fmla="*/ 485 h 674"/>
                <a:gd name="T10" fmla="*/ 571 w 675"/>
                <a:gd name="T11" fmla="*/ 479 h 674"/>
                <a:gd name="T12" fmla="*/ 602 w 675"/>
                <a:gd name="T13" fmla="*/ 401 h 674"/>
                <a:gd name="T14" fmla="*/ 675 w 675"/>
                <a:gd name="T15" fmla="*/ 395 h 674"/>
                <a:gd name="T16" fmla="*/ 675 w 675"/>
                <a:gd name="T17" fmla="*/ 279 h 674"/>
                <a:gd name="T18" fmla="*/ 602 w 675"/>
                <a:gd name="T19" fmla="*/ 272 h 674"/>
                <a:gd name="T20" fmla="*/ 571 w 675"/>
                <a:gd name="T21" fmla="*/ 195 h 674"/>
                <a:gd name="T22" fmla="*/ 617 w 675"/>
                <a:gd name="T23" fmla="*/ 139 h 674"/>
                <a:gd name="T24" fmla="*/ 535 w 675"/>
                <a:gd name="T25" fmla="*/ 57 h 674"/>
                <a:gd name="T26" fmla="*/ 479 w 675"/>
                <a:gd name="T27" fmla="*/ 104 h 674"/>
                <a:gd name="T28" fmla="*/ 402 w 675"/>
                <a:gd name="T29" fmla="*/ 72 h 674"/>
                <a:gd name="T30" fmla="*/ 395 w 675"/>
                <a:gd name="T31" fmla="*/ 0 h 674"/>
                <a:gd name="T32" fmla="*/ 279 w 675"/>
                <a:gd name="T33" fmla="*/ 0 h 674"/>
                <a:gd name="T34" fmla="*/ 273 w 675"/>
                <a:gd name="T35" fmla="*/ 72 h 674"/>
                <a:gd name="T36" fmla="*/ 195 w 675"/>
                <a:gd name="T37" fmla="*/ 103 h 674"/>
                <a:gd name="T38" fmla="*/ 140 w 675"/>
                <a:gd name="T39" fmla="*/ 57 h 674"/>
                <a:gd name="T40" fmla="*/ 58 w 675"/>
                <a:gd name="T41" fmla="*/ 139 h 674"/>
                <a:gd name="T42" fmla="*/ 104 w 675"/>
                <a:gd name="T43" fmla="*/ 195 h 674"/>
                <a:gd name="T44" fmla="*/ 72 w 675"/>
                <a:gd name="T45" fmla="*/ 272 h 674"/>
                <a:gd name="T46" fmla="*/ 0 w 675"/>
                <a:gd name="T47" fmla="*/ 279 h 674"/>
                <a:gd name="T48" fmla="*/ 0 w 675"/>
                <a:gd name="T49" fmla="*/ 395 h 674"/>
                <a:gd name="T50" fmla="*/ 72 w 675"/>
                <a:gd name="T51" fmla="*/ 401 h 674"/>
                <a:gd name="T52" fmla="*/ 104 w 675"/>
                <a:gd name="T53" fmla="*/ 479 h 674"/>
                <a:gd name="T54" fmla="*/ 58 w 675"/>
                <a:gd name="T55" fmla="*/ 534 h 674"/>
                <a:gd name="T56" fmla="*/ 140 w 675"/>
                <a:gd name="T57" fmla="*/ 616 h 674"/>
                <a:gd name="T58" fmla="*/ 195 w 675"/>
                <a:gd name="T59" fmla="*/ 570 h 674"/>
                <a:gd name="T60" fmla="*/ 273 w 675"/>
                <a:gd name="T61" fmla="*/ 602 h 674"/>
                <a:gd name="T62" fmla="*/ 279 w 675"/>
                <a:gd name="T63" fmla="*/ 674 h 674"/>
                <a:gd name="T64" fmla="*/ 395 w 675"/>
                <a:gd name="T65" fmla="*/ 674 h 674"/>
                <a:gd name="T66" fmla="*/ 402 w 675"/>
                <a:gd name="T67" fmla="*/ 602 h 674"/>
                <a:gd name="T68" fmla="*/ 479 w 675"/>
                <a:gd name="T69" fmla="*/ 570 h 674"/>
                <a:gd name="T70" fmla="*/ 535 w 675"/>
                <a:gd name="T71" fmla="*/ 616 h 674"/>
                <a:gd name="T72" fmla="*/ 617 w 675"/>
                <a:gd name="T73" fmla="*/ 534 h 674"/>
                <a:gd name="T74" fmla="*/ 571 w 675"/>
                <a:gd name="T75" fmla="*/ 479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5" h="674">
                  <a:moveTo>
                    <a:pt x="337" y="485"/>
                  </a:moveTo>
                  <a:cubicBezTo>
                    <a:pt x="255" y="485"/>
                    <a:pt x="189" y="419"/>
                    <a:pt x="189" y="337"/>
                  </a:cubicBezTo>
                  <a:cubicBezTo>
                    <a:pt x="189" y="255"/>
                    <a:pt x="255" y="189"/>
                    <a:pt x="337" y="189"/>
                  </a:cubicBezTo>
                  <a:cubicBezTo>
                    <a:pt x="419" y="189"/>
                    <a:pt x="486" y="255"/>
                    <a:pt x="486" y="337"/>
                  </a:cubicBezTo>
                  <a:cubicBezTo>
                    <a:pt x="486" y="419"/>
                    <a:pt x="419" y="485"/>
                    <a:pt x="337" y="485"/>
                  </a:cubicBezTo>
                  <a:close/>
                  <a:moveTo>
                    <a:pt x="571" y="479"/>
                  </a:moveTo>
                  <a:cubicBezTo>
                    <a:pt x="602" y="401"/>
                    <a:pt x="602" y="401"/>
                    <a:pt x="602" y="401"/>
                  </a:cubicBezTo>
                  <a:cubicBezTo>
                    <a:pt x="675" y="395"/>
                    <a:pt x="675" y="395"/>
                    <a:pt x="675" y="395"/>
                  </a:cubicBezTo>
                  <a:cubicBezTo>
                    <a:pt x="675" y="279"/>
                    <a:pt x="675" y="279"/>
                    <a:pt x="675" y="279"/>
                  </a:cubicBezTo>
                  <a:cubicBezTo>
                    <a:pt x="602" y="272"/>
                    <a:pt x="602" y="272"/>
                    <a:pt x="602" y="272"/>
                  </a:cubicBezTo>
                  <a:cubicBezTo>
                    <a:pt x="571" y="195"/>
                    <a:pt x="571" y="195"/>
                    <a:pt x="571" y="195"/>
                  </a:cubicBezTo>
                  <a:cubicBezTo>
                    <a:pt x="617" y="139"/>
                    <a:pt x="617" y="139"/>
                    <a:pt x="617" y="139"/>
                  </a:cubicBezTo>
                  <a:cubicBezTo>
                    <a:pt x="535" y="57"/>
                    <a:pt x="535" y="57"/>
                    <a:pt x="535" y="57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02" y="72"/>
                    <a:pt x="402" y="72"/>
                    <a:pt x="402" y="72"/>
                  </a:cubicBezTo>
                  <a:cubicBezTo>
                    <a:pt x="395" y="0"/>
                    <a:pt x="395" y="0"/>
                    <a:pt x="395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3" y="72"/>
                    <a:pt x="273" y="72"/>
                    <a:pt x="273" y="72"/>
                  </a:cubicBezTo>
                  <a:cubicBezTo>
                    <a:pt x="195" y="103"/>
                    <a:pt x="195" y="103"/>
                    <a:pt x="195" y="103"/>
                  </a:cubicBezTo>
                  <a:cubicBezTo>
                    <a:pt x="140" y="57"/>
                    <a:pt x="140" y="57"/>
                    <a:pt x="140" y="57"/>
                  </a:cubicBezTo>
                  <a:cubicBezTo>
                    <a:pt x="58" y="139"/>
                    <a:pt x="58" y="139"/>
                    <a:pt x="58" y="139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72" y="272"/>
                    <a:pt x="72" y="272"/>
                    <a:pt x="72" y="272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0" y="395"/>
                    <a:pt x="0" y="395"/>
                    <a:pt x="0" y="395"/>
                  </a:cubicBezTo>
                  <a:cubicBezTo>
                    <a:pt x="72" y="401"/>
                    <a:pt x="72" y="401"/>
                    <a:pt x="72" y="401"/>
                  </a:cubicBezTo>
                  <a:cubicBezTo>
                    <a:pt x="104" y="479"/>
                    <a:pt x="104" y="479"/>
                    <a:pt x="104" y="479"/>
                  </a:cubicBezTo>
                  <a:cubicBezTo>
                    <a:pt x="58" y="534"/>
                    <a:pt x="58" y="534"/>
                    <a:pt x="58" y="534"/>
                  </a:cubicBezTo>
                  <a:cubicBezTo>
                    <a:pt x="140" y="616"/>
                    <a:pt x="140" y="616"/>
                    <a:pt x="140" y="616"/>
                  </a:cubicBezTo>
                  <a:cubicBezTo>
                    <a:pt x="195" y="570"/>
                    <a:pt x="195" y="570"/>
                    <a:pt x="195" y="570"/>
                  </a:cubicBezTo>
                  <a:cubicBezTo>
                    <a:pt x="273" y="602"/>
                    <a:pt x="273" y="602"/>
                    <a:pt x="273" y="602"/>
                  </a:cubicBezTo>
                  <a:cubicBezTo>
                    <a:pt x="279" y="674"/>
                    <a:pt x="279" y="674"/>
                    <a:pt x="279" y="674"/>
                  </a:cubicBezTo>
                  <a:cubicBezTo>
                    <a:pt x="395" y="674"/>
                    <a:pt x="395" y="674"/>
                    <a:pt x="395" y="674"/>
                  </a:cubicBezTo>
                  <a:cubicBezTo>
                    <a:pt x="402" y="602"/>
                    <a:pt x="402" y="602"/>
                    <a:pt x="402" y="602"/>
                  </a:cubicBezTo>
                  <a:cubicBezTo>
                    <a:pt x="479" y="570"/>
                    <a:pt x="479" y="570"/>
                    <a:pt x="479" y="570"/>
                  </a:cubicBezTo>
                  <a:cubicBezTo>
                    <a:pt x="535" y="616"/>
                    <a:pt x="535" y="616"/>
                    <a:pt x="535" y="616"/>
                  </a:cubicBezTo>
                  <a:cubicBezTo>
                    <a:pt x="617" y="534"/>
                    <a:pt x="617" y="534"/>
                    <a:pt x="617" y="534"/>
                  </a:cubicBezTo>
                  <a:lnTo>
                    <a:pt x="571" y="4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38BFDA64-DCFA-429C-908B-AE9194E33A8F}"/>
              </a:ext>
            </a:extLst>
          </p:cNvPr>
          <p:cNvGrpSpPr/>
          <p:nvPr userDrawn="1"/>
        </p:nvGrpSpPr>
        <p:grpSpPr>
          <a:xfrm>
            <a:off x="11217797" y="1860685"/>
            <a:ext cx="192111" cy="290045"/>
            <a:chOff x="-3947158" y="1719597"/>
            <a:chExt cx="3385092" cy="5109416"/>
          </a:xfrm>
          <a:solidFill>
            <a:schemeClr val="bg1">
              <a:alpha val="80000"/>
            </a:schemeClr>
          </a:solidFill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0558731B-2AF7-40E9-9672-CDCACAA51CBE}"/>
                </a:ext>
              </a:extLst>
            </p:cNvPr>
            <p:cNvSpPr/>
            <p:nvPr/>
          </p:nvSpPr>
          <p:spPr>
            <a:xfrm>
              <a:off x="-3624517" y="2322583"/>
              <a:ext cx="3062451" cy="218046"/>
            </a:xfrm>
            <a:prstGeom prst="rect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C4D286A2-820B-46C8-909A-BC6F3A862C20}"/>
                </a:ext>
              </a:extLst>
            </p:cNvPr>
            <p:cNvSpPr/>
            <p:nvPr/>
          </p:nvSpPr>
          <p:spPr>
            <a:xfrm>
              <a:off x="-3947158" y="3738067"/>
              <a:ext cx="1988090" cy="3089947"/>
            </a:xfrm>
            <a:custGeom>
              <a:avLst/>
              <a:gdLst>
                <a:gd name="connsiteX0" fmla="*/ 1536585 w 1988090"/>
                <a:gd name="connsiteY0" fmla="*/ 279 h 3089947"/>
                <a:gd name="connsiteX1" fmla="*/ 1493799 w 1988090"/>
                <a:gd name="connsiteY1" fmla="*/ 6084 h 3089947"/>
                <a:gd name="connsiteX2" fmla="*/ 994045 w 1988090"/>
                <a:gd name="connsiteY2" fmla="*/ 201257 h 3089947"/>
                <a:gd name="connsiteX3" fmla="*/ 494330 w 1988090"/>
                <a:gd name="connsiteY3" fmla="*/ 6122 h 3089947"/>
                <a:gd name="connsiteX4" fmla="*/ 451390 w 1988090"/>
                <a:gd name="connsiteY4" fmla="*/ 317 h 3089947"/>
                <a:gd name="connsiteX5" fmla="*/ 362549 w 1988090"/>
                <a:gd name="connsiteY5" fmla="*/ 12004 h 3089947"/>
                <a:gd name="connsiteX6" fmla="*/ 126819 w 1988090"/>
                <a:gd name="connsiteY6" fmla="*/ 305590 h 3089947"/>
                <a:gd name="connsiteX7" fmla="*/ 36 w 1988090"/>
                <a:gd name="connsiteY7" fmla="*/ 1551706 h 3089947"/>
                <a:gd name="connsiteX8" fmla="*/ 56470 w 1988090"/>
                <a:gd name="connsiteY8" fmla="*/ 1695481 h 3089947"/>
                <a:gd name="connsiteX9" fmla="*/ 198053 w 1988090"/>
                <a:gd name="connsiteY9" fmla="*/ 1757220 h 3089947"/>
                <a:gd name="connsiteX10" fmla="*/ 199975 w 1988090"/>
                <a:gd name="connsiteY10" fmla="*/ 1757258 h 3089947"/>
                <a:gd name="connsiteX11" fmla="*/ 201898 w 1988090"/>
                <a:gd name="connsiteY11" fmla="*/ 1757258 h 3089947"/>
                <a:gd name="connsiteX12" fmla="*/ 290969 w 1988090"/>
                <a:gd name="connsiteY12" fmla="*/ 1736154 h 3089947"/>
                <a:gd name="connsiteX13" fmla="*/ 359743 w 1988090"/>
                <a:gd name="connsiteY13" fmla="*/ 1679873 h 3089947"/>
                <a:gd name="connsiteX14" fmla="*/ 359743 w 1988090"/>
                <a:gd name="connsiteY14" fmla="*/ 2240751 h 3089947"/>
                <a:gd name="connsiteX15" fmla="*/ 359743 w 1988090"/>
                <a:gd name="connsiteY15" fmla="*/ 2801628 h 3089947"/>
                <a:gd name="connsiteX16" fmla="*/ 444201 w 1988090"/>
                <a:gd name="connsiteY16" fmla="*/ 3005489 h 3089947"/>
                <a:gd name="connsiteX17" fmla="*/ 648062 w 1988090"/>
                <a:gd name="connsiteY17" fmla="*/ 3089947 h 3089947"/>
                <a:gd name="connsiteX18" fmla="*/ 851923 w 1988090"/>
                <a:gd name="connsiteY18" fmla="*/ 3005489 h 3089947"/>
                <a:gd name="connsiteX19" fmla="*/ 936382 w 1988090"/>
                <a:gd name="connsiteY19" fmla="*/ 2801628 h 3089947"/>
                <a:gd name="connsiteX20" fmla="*/ 936382 w 1988090"/>
                <a:gd name="connsiteY20" fmla="*/ 2340317 h 3089947"/>
                <a:gd name="connsiteX21" fmla="*/ 936382 w 1988090"/>
                <a:gd name="connsiteY21" fmla="*/ 1879006 h 3089947"/>
                <a:gd name="connsiteX22" fmla="*/ 994045 w 1988090"/>
                <a:gd name="connsiteY22" fmla="*/ 1879006 h 3089947"/>
                <a:gd name="connsiteX23" fmla="*/ 1051709 w 1988090"/>
                <a:gd name="connsiteY23" fmla="*/ 1879006 h 3089947"/>
                <a:gd name="connsiteX24" fmla="*/ 1051709 w 1988090"/>
                <a:gd name="connsiteY24" fmla="*/ 2340317 h 3089947"/>
                <a:gd name="connsiteX25" fmla="*/ 1051709 w 1988090"/>
                <a:gd name="connsiteY25" fmla="*/ 2801628 h 3089947"/>
                <a:gd name="connsiteX26" fmla="*/ 1136167 w 1988090"/>
                <a:gd name="connsiteY26" fmla="*/ 3005489 h 3089947"/>
                <a:gd name="connsiteX27" fmla="*/ 1340029 w 1988090"/>
                <a:gd name="connsiteY27" fmla="*/ 3089947 h 3089947"/>
                <a:gd name="connsiteX28" fmla="*/ 1543889 w 1988090"/>
                <a:gd name="connsiteY28" fmla="*/ 3005489 h 3089947"/>
                <a:gd name="connsiteX29" fmla="*/ 1628348 w 1988090"/>
                <a:gd name="connsiteY29" fmla="*/ 2801628 h 3089947"/>
                <a:gd name="connsiteX30" fmla="*/ 1628348 w 1988090"/>
                <a:gd name="connsiteY30" fmla="*/ 2263432 h 3089947"/>
                <a:gd name="connsiteX31" fmla="*/ 1628348 w 1988090"/>
                <a:gd name="connsiteY31" fmla="*/ 1725313 h 3089947"/>
                <a:gd name="connsiteX32" fmla="*/ 1628348 w 1988090"/>
                <a:gd name="connsiteY32" fmla="*/ 1725236 h 3089947"/>
                <a:gd name="connsiteX33" fmla="*/ 1628348 w 1988090"/>
                <a:gd name="connsiteY33" fmla="*/ 1725159 h 3089947"/>
                <a:gd name="connsiteX34" fmla="*/ 1628348 w 1988090"/>
                <a:gd name="connsiteY34" fmla="*/ 1702478 h 3089947"/>
                <a:gd name="connsiteX35" fmla="*/ 1628348 w 1988090"/>
                <a:gd name="connsiteY35" fmla="*/ 1679797 h 3089947"/>
                <a:gd name="connsiteX36" fmla="*/ 1697122 w 1988090"/>
                <a:gd name="connsiteY36" fmla="*/ 1736115 h 3089947"/>
                <a:gd name="connsiteX37" fmla="*/ 1786193 w 1988090"/>
                <a:gd name="connsiteY37" fmla="*/ 1757220 h 3089947"/>
                <a:gd name="connsiteX38" fmla="*/ 1788115 w 1988090"/>
                <a:gd name="connsiteY38" fmla="*/ 1757220 h 3089947"/>
                <a:gd name="connsiteX39" fmla="*/ 1790037 w 1988090"/>
                <a:gd name="connsiteY39" fmla="*/ 1757182 h 3089947"/>
                <a:gd name="connsiteX40" fmla="*/ 1931621 w 1988090"/>
                <a:gd name="connsiteY40" fmla="*/ 1695443 h 3089947"/>
                <a:gd name="connsiteX41" fmla="*/ 1988055 w 1988090"/>
                <a:gd name="connsiteY41" fmla="*/ 1551668 h 3089947"/>
                <a:gd name="connsiteX42" fmla="*/ 1861233 w 1988090"/>
                <a:gd name="connsiteY42" fmla="*/ 305552 h 3089947"/>
                <a:gd name="connsiteX43" fmla="*/ 1625465 w 1988090"/>
                <a:gd name="connsiteY43" fmla="*/ 11966 h 3089947"/>
                <a:gd name="connsiteX44" fmla="*/ 1536585 w 1988090"/>
                <a:gd name="connsiteY44" fmla="*/ 279 h 308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988090" h="3089947">
                  <a:moveTo>
                    <a:pt x="1536585" y="279"/>
                  </a:moveTo>
                  <a:cubicBezTo>
                    <a:pt x="1521939" y="971"/>
                    <a:pt x="1507676" y="3008"/>
                    <a:pt x="1493799" y="6084"/>
                  </a:cubicBezTo>
                  <a:cubicBezTo>
                    <a:pt x="1361787" y="126870"/>
                    <a:pt x="1186643" y="201257"/>
                    <a:pt x="994045" y="201257"/>
                  </a:cubicBezTo>
                  <a:cubicBezTo>
                    <a:pt x="801448" y="201257"/>
                    <a:pt x="626342" y="126870"/>
                    <a:pt x="494330" y="6122"/>
                  </a:cubicBezTo>
                  <a:cubicBezTo>
                    <a:pt x="480414" y="3047"/>
                    <a:pt x="466075" y="1009"/>
                    <a:pt x="451390" y="317"/>
                  </a:cubicBezTo>
                  <a:cubicBezTo>
                    <a:pt x="422827" y="-1028"/>
                    <a:pt x="392996" y="2432"/>
                    <a:pt x="362549" y="12004"/>
                  </a:cubicBezTo>
                  <a:cubicBezTo>
                    <a:pt x="277591" y="38683"/>
                    <a:pt x="193133" y="92772"/>
                    <a:pt x="126819" y="305590"/>
                  </a:cubicBezTo>
                  <a:cubicBezTo>
                    <a:pt x="60506" y="518408"/>
                    <a:pt x="12337" y="889994"/>
                    <a:pt x="36" y="1551706"/>
                  </a:cubicBezTo>
                  <a:cubicBezTo>
                    <a:pt x="-1002" y="1607409"/>
                    <a:pt x="20641" y="1658308"/>
                    <a:pt x="56470" y="1695481"/>
                  </a:cubicBezTo>
                  <a:cubicBezTo>
                    <a:pt x="92298" y="1732655"/>
                    <a:pt x="142312" y="1756221"/>
                    <a:pt x="198053" y="1757220"/>
                  </a:cubicBezTo>
                  <a:cubicBezTo>
                    <a:pt x="198707" y="1757220"/>
                    <a:pt x="199322" y="1757220"/>
                    <a:pt x="199975" y="1757258"/>
                  </a:cubicBezTo>
                  <a:cubicBezTo>
                    <a:pt x="200629" y="1757297"/>
                    <a:pt x="201244" y="1757258"/>
                    <a:pt x="201898" y="1757258"/>
                  </a:cubicBezTo>
                  <a:cubicBezTo>
                    <a:pt x="233920" y="1757258"/>
                    <a:pt x="264136" y="1749647"/>
                    <a:pt x="290969" y="1736154"/>
                  </a:cubicBezTo>
                  <a:cubicBezTo>
                    <a:pt x="317802" y="1722660"/>
                    <a:pt x="341214" y="1703323"/>
                    <a:pt x="359743" y="1679873"/>
                  </a:cubicBezTo>
                  <a:lnTo>
                    <a:pt x="359743" y="2240751"/>
                  </a:lnTo>
                  <a:lnTo>
                    <a:pt x="359743" y="2801628"/>
                  </a:lnTo>
                  <a:cubicBezTo>
                    <a:pt x="359743" y="2881243"/>
                    <a:pt x="391996" y="2953323"/>
                    <a:pt x="444201" y="3005489"/>
                  </a:cubicBezTo>
                  <a:cubicBezTo>
                    <a:pt x="496406" y="3057656"/>
                    <a:pt x="568447" y="3089947"/>
                    <a:pt x="648062" y="3089947"/>
                  </a:cubicBezTo>
                  <a:cubicBezTo>
                    <a:pt x="727677" y="3089947"/>
                    <a:pt x="799757" y="3057694"/>
                    <a:pt x="851923" y="3005489"/>
                  </a:cubicBezTo>
                  <a:cubicBezTo>
                    <a:pt x="904090" y="2953284"/>
                    <a:pt x="936382" y="2881243"/>
                    <a:pt x="936382" y="2801628"/>
                  </a:cubicBezTo>
                  <a:lnTo>
                    <a:pt x="936382" y="2340317"/>
                  </a:lnTo>
                  <a:lnTo>
                    <a:pt x="936382" y="1879006"/>
                  </a:lnTo>
                  <a:lnTo>
                    <a:pt x="994045" y="1879006"/>
                  </a:lnTo>
                  <a:lnTo>
                    <a:pt x="1051709" y="1879006"/>
                  </a:lnTo>
                  <a:lnTo>
                    <a:pt x="1051709" y="2340317"/>
                  </a:lnTo>
                  <a:lnTo>
                    <a:pt x="1051709" y="2801628"/>
                  </a:lnTo>
                  <a:cubicBezTo>
                    <a:pt x="1051709" y="2881243"/>
                    <a:pt x="1083962" y="2953323"/>
                    <a:pt x="1136167" y="3005489"/>
                  </a:cubicBezTo>
                  <a:cubicBezTo>
                    <a:pt x="1188372" y="3057656"/>
                    <a:pt x="1260414" y="3089947"/>
                    <a:pt x="1340029" y="3089947"/>
                  </a:cubicBezTo>
                  <a:cubicBezTo>
                    <a:pt x="1419643" y="3089947"/>
                    <a:pt x="1491723" y="3057694"/>
                    <a:pt x="1543889" y="3005489"/>
                  </a:cubicBezTo>
                  <a:cubicBezTo>
                    <a:pt x="1596056" y="2953284"/>
                    <a:pt x="1628348" y="2881243"/>
                    <a:pt x="1628348" y="2801628"/>
                  </a:cubicBezTo>
                  <a:lnTo>
                    <a:pt x="1628348" y="2263432"/>
                  </a:lnTo>
                  <a:lnTo>
                    <a:pt x="1628348" y="1725313"/>
                  </a:lnTo>
                  <a:cubicBezTo>
                    <a:pt x="1628348" y="1725274"/>
                    <a:pt x="1628348" y="1725274"/>
                    <a:pt x="1628348" y="1725236"/>
                  </a:cubicBezTo>
                  <a:cubicBezTo>
                    <a:pt x="1628348" y="1725197"/>
                    <a:pt x="1628348" y="1725197"/>
                    <a:pt x="1628348" y="1725159"/>
                  </a:cubicBezTo>
                  <a:lnTo>
                    <a:pt x="1628348" y="1702478"/>
                  </a:lnTo>
                  <a:lnTo>
                    <a:pt x="1628348" y="1679797"/>
                  </a:lnTo>
                  <a:cubicBezTo>
                    <a:pt x="1646839" y="1703247"/>
                    <a:pt x="1670289" y="1722622"/>
                    <a:pt x="1697122" y="1736115"/>
                  </a:cubicBezTo>
                  <a:cubicBezTo>
                    <a:pt x="1723955" y="1749609"/>
                    <a:pt x="1754170" y="1757220"/>
                    <a:pt x="1786193" y="1757220"/>
                  </a:cubicBezTo>
                  <a:cubicBezTo>
                    <a:pt x="1786847" y="1757220"/>
                    <a:pt x="1787461" y="1757220"/>
                    <a:pt x="1788115" y="1757220"/>
                  </a:cubicBezTo>
                  <a:cubicBezTo>
                    <a:pt x="1788769" y="1757220"/>
                    <a:pt x="1789384" y="1757220"/>
                    <a:pt x="1790037" y="1757182"/>
                  </a:cubicBezTo>
                  <a:cubicBezTo>
                    <a:pt x="1845779" y="1756144"/>
                    <a:pt x="1895793" y="1732617"/>
                    <a:pt x="1931621" y="1695443"/>
                  </a:cubicBezTo>
                  <a:cubicBezTo>
                    <a:pt x="1967450" y="1658269"/>
                    <a:pt x="1989093" y="1607371"/>
                    <a:pt x="1988055" y="1551668"/>
                  </a:cubicBezTo>
                  <a:cubicBezTo>
                    <a:pt x="1975715" y="889955"/>
                    <a:pt x="1927585" y="518370"/>
                    <a:pt x="1861233" y="305552"/>
                  </a:cubicBezTo>
                  <a:cubicBezTo>
                    <a:pt x="1794881" y="92733"/>
                    <a:pt x="1710423" y="38683"/>
                    <a:pt x="1625465" y="11966"/>
                  </a:cubicBezTo>
                  <a:cubicBezTo>
                    <a:pt x="1594980" y="2393"/>
                    <a:pt x="1565148" y="-1066"/>
                    <a:pt x="1536585" y="27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115CEA46-0FF0-4548-B245-746E976768B1}"/>
                </a:ext>
              </a:extLst>
            </p:cNvPr>
            <p:cNvSpPr/>
            <p:nvPr/>
          </p:nvSpPr>
          <p:spPr>
            <a:xfrm>
              <a:off x="-3541246" y="2609288"/>
              <a:ext cx="1176265" cy="1176265"/>
            </a:xfrm>
            <a:custGeom>
              <a:avLst/>
              <a:gdLst>
                <a:gd name="connsiteX0" fmla="*/ 1176266 w 1176265"/>
                <a:gd name="connsiteY0" fmla="*/ 588133 h 1176265"/>
                <a:gd name="connsiteX1" fmla="*/ 588133 w 1176265"/>
                <a:gd name="connsiteY1" fmla="*/ 1176266 h 1176265"/>
                <a:gd name="connsiteX2" fmla="*/ 0 w 1176265"/>
                <a:gd name="connsiteY2" fmla="*/ 588133 h 1176265"/>
                <a:gd name="connsiteX3" fmla="*/ 588133 w 1176265"/>
                <a:gd name="connsiteY3" fmla="*/ 0 h 1176265"/>
                <a:gd name="connsiteX4" fmla="*/ 1176266 w 1176265"/>
                <a:gd name="connsiteY4" fmla="*/ 588133 h 117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6265" h="1176265">
                  <a:moveTo>
                    <a:pt x="1176266" y="588133"/>
                  </a:moveTo>
                  <a:cubicBezTo>
                    <a:pt x="1176266" y="912950"/>
                    <a:pt x="912950" y="1176266"/>
                    <a:pt x="588133" y="1176266"/>
                  </a:cubicBezTo>
                  <a:cubicBezTo>
                    <a:pt x="263316" y="1176266"/>
                    <a:pt x="0" y="912950"/>
                    <a:pt x="0" y="588133"/>
                  </a:cubicBezTo>
                  <a:cubicBezTo>
                    <a:pt x="0" y="263316"/>
                    <a:pt x="263316" y="0"/>
                    <a:pt x="588133" y="0"/>
                  </a:cubicBezTo>
                  <a:cubicBezTo>
                    <a:pt x="912950" y="0"/>
                    <a:pt x="1176266" y="263316"/>
                    <a:pt x="1176266" y="5881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6495C889-D5E3-4272-82B5-F3B4A3908E0A}"/>
                </a:ext>
              </a:extLst>
            </p:cNvPr>
            <p:cNvSpPr/>
            <p:nvPr/>
          </p:nvSpPr>
          <p:spPr>
            <a:xfrm>
              <a:off x="-1697617" y="2605328"/>
              <a:ext cx="956528" cy="4223685"/>
            </a:xfrm>
            <a:custGeom>
              <a:avLst/>
              <a:gdLst>
                <a:gd name="connsiteX0" fmla="*/ 956528 w 956528"/>
                <a:gd name="connsiteY0" fmla="*/ 4223686 h 4223685"/>
                <a:gd name="connsiteX1" fmla="*/ 956528 w 956528"/>
                <a:gd name="connsiteY1" fmla="*/ 0 h 4223685"/>
                <a:gd name="connsiteX2" fmla="*/ 900248 w 956528"/>
                <a:gd name="connsiteY2" fmla="*/ 0 h 4223685"/>
                <a:gd name="connsiteX3" fmla="*/ 900248 w 956528"/>
                <a:gd name="connsiteY3" fmla="*/ 4167445 h 4223685"/>
                <a:gd name="connsiteX4" fmla="*/ 56280 w 956528"/>
                <a:gd name="connsiteY4" fmla="*/ 4167445 h 4223685"/>
                <a:gd name="connsiteX5" fmla="*/ 56280 w 956528"/>
                <a:gd name="connsiteY5" fmla="*/ 3998643 h 4223685"/>
                <a:gd name="connsiteX6" fmla="*/ 337603 w 956528"/>
                <a:gd name="connsiteY6" fmla="*/ 3998643 h 4223685"/>
                <a:gd name="connsiteX7" fmla="*/ 337603 w 956528"/>
                <a:gd name="connsiteY7" fmla="*/ 3942363 h 4223685"/>
                <a:gd name="connsiteX8" fmla="*/ 56280 w 956528"/>
                <a:gd name="connsiteY8" fmla="*/ 3942363 h 4223685"/>
                <a:gd name="connsiteX9" fmla="*/ 56280 w 956528"/>
                <a:gd name="connsiteY9" fmla="*/ 3773562 h 4223685"/>
                <a:gd name="connsiteX10" fmla="*/ 337603 w 956528"/>
                <a:gd name="connsiteY10" fmla="*/ 3773562 h 4223685"/>
                <a:gd name="connsiteX11" fmla="*/ 337603 w 956528"/>
                <a:gd name="connsiteY11" fmla="*/ 3717321 h 4223685"/>
                <a:gd name="connsiteX12" fmla="*/ 56280 w 956528"/>
                <a:gd name="connsiteY12" fmla="*/ 3717321 h 4223685"/>
                <a:gd name="connsiteX13" fmla="*/ 56280 w 956528"/>
                <a:gd name="connsiteY13" fmla="*/ 3548519 h 4223685"/>
                <a:gd name="connsiteX14" fmla="*/ 337603 w 956528"/>
                <a:gd name="connsiteY14" fmla="*/ 3548519 h 4223685"/>
                <a:gd name="connsiteX15" fmla="*/ 337603 w 956528"/>
                <a:gd name="connsiteY15" fmla="*/ 3492239 h 4223685"/>
                <a:gd name="connsiteX16" fmla="*/ 56280 w 956528"/>
                <a:gd name="connsiteY16" fmla="*/ 3492239 h 4223685"/>
                <a:gd name="connsiteX17" fmla="*/ 56280 w 956528"/>
                <a:gd name="connsiteY17" fmla="*/ 3323438 h 4223685"/>
                <a:gd name="connsiteX18" fmla="*/ 675205 w 956528"/>
                <a:gd name="connsiteY18" fmla="*/ 3323438 h 4223685"/>
                <a:gd name="connsiteX19" fmla="*/ 675205 w 956528"/>
                <a:gd name="connsiteY19" fmla="*/ 3267158 h 4223685"/>
                <a:gd name="connsiteX20" fmla="*/ 56280 w 956528"/>
                <a:gd name="connsiteY20" fmla="*/ 3267158 h 4223685"/>
                <a:gd name="connsiteX21" fmla="*/ 56280 w 956528"/>
                <a:gd name="connsiteY21" fmla="*/ 3098395 h 4223685"/>
                <a:gd name="connsiteX22" fmla="*/ 337603 w 956528"/>
                <a:gd name="connsiteY22" fmla="*/ 3098395 h 4223685"/>
                <a:gd name="connsiteX23" fmla="*/ 337603 w 956528"/>
                <a:gd name="connsiteY23" fmla="*/ 3042115 h 4223685"/>
                <a:gd name="connsiteX24" fmla="*/ 56280 w 956528"/>
                <a:gd name="connsiteY24" fmla="*/ 3042115 h 4223685"/>
                <a:gd name="connsiteX25" fmla="*/ 56280 w 956528"/>
                <a:gd name="connsiteY25" fmla="*/ 2873314 h 4223685"/>
                <a:gd name="connsiteX26" fmla="*/ 337603 w 956528"/>
                <a:gd name="connsiteY26" fmla="*/ 2873314 h 4223685"/>
                <a:gd name="connsiteX27" fmla="*/ 337603 w 956528"/>
                <a:gd name="connsiteY27" fmla="*/ 2817034 h 4223685"/>
                <a:gd name="connsiteX28" fmla="*/ 56280 w 956528"/>
                <a:gd name="connsiteY28" fmla="*/ 2817034 h 4223685"/>
                <a:gd name="connsiteX29" fmla="*/ 56280 w 956528"/>
                <a:gd name="connsiteY29" fmla="*/ 2648233 h 4223685"/>
                <a:gd name="connsiteX30" fmla="*/ 337603 w 956528"/>
                <a:gd name="connsiteY30" fmla="*/ 2648233 h 4223685"/>
                <a:gd name="connsiteX31" fmla="*/ 337603 w 956528"/>
                <a:gd name="connsiteY31" fmla="*/ 2591991 h 4223685"/>
                <a:gd name="connsiteX32" fmla="*/ 56280 w 956528"/>
                <a:gd name="connsiteY32" fmla="*/ 2591991 h 4223685"/>
                <a:gd name="connsiteX33" fmla="*/ 56280 w 956528"/>
                <a:gd name="connsiteY33" fmla="*/ 2423190 h 4223685"/>
                <a:gd name="connsiteX34" fmla="*/ 675205 w 956528"/>
                <a:gd name="connsiteY34" fmla="*/ 2423190 h 4223685"/>
                <a:gd name="connsiteX35" fmla="*/ 675205 w 956528"/>
                <a:gd name="connsiteY35" fmla="*/ 2366909 h 4223685"/>
                <a:gd name="connsiteX36" fmla="*/ 56280 w 956528"/>
                <a:gd name="connsiteY36" fmla="*/ 2366909 h 4223685"/>
                <a:gd name="connsiteX37" fmla="*/ 56280 w 956528"/>
                <a:gd name="connsiteY37" fmla="*/ 2198108 h 4223685"/>
                <a:gd name="connsiteX38" fmla="*/ 337603 w 956528"/>
                <a:gd name="connsiteY38" fmla="*/ 2198108 h 4223685"/>
                <a:gd name="connsiteX39" fmla="*/ 337603 w 956528"/>
                <a:gd name="connsiteY39" fmla="*/ 2141867 h 4223685"/>
                <a:gd name="connsiteX40" fmla="*/ 56280 w 956528"/>
                <a:gd name="connsiteY40" fmla="*/ 2141867 h 4223685"/>
                <a:gd name="connsiteX41" fmla="*/ 56280 w 956528"/>
                <a:gd name="connsiteY41" fmla="*/ 1973065 h 4223685"/>
                <a:gd name="connsiteX42" fmla="*/ 337603 w 956528"/>
                <a:gd name="connsiteY42" fmla="*/ 1973065 h 4223685"/>
                <a:gd name="connsiteX43" fmla="*/ 337603 w 956528"/>
                <a:gd name="connsiteY43" fmla="*/ 1916785 h 4223685"/>
                <a:gd name="connsiteX44" fmla="*/ 56280 w 956528"/>
                <a:gd name="connsiteY44" fmla="*/ 1916785 h 4223685"/>
                <a:gd name="connsiteX45" fmla="*/ 56280 w 956528"/>
                <a:gd name="connsiteY45" fmla="*/ 1747984 h 4223685"/>
                <a:gd name="connsiteX46" fmla="*/ 337603 w 956528"/>
                <a:gd name="connsiteY46" fmla="*/ 1747984 h 4223685"/>
                <a:gd name="connsiteX47" fmla="*/ 337603 w 956528"/>
                <a:gd name="connsiteY47" fmla="*/ 1691704 h 4223685"/>
                <a:gd name="connsiteX48" fmla="*/ 56280 w 956528"/>
                <a:gd name="connsiteY48" fmla="*/ 1691704 h 4223685"/>
                <a:gd name="connsiteX49" fmla="*/ 56280 w 956528"/>
                <a:gd name="connsiteY49" fmla="*/ 1522941 h 4223685"/>
                <a:gd name="connsiteX50" fmla="*/ 675205 w 956528"/>
                <a:gd name="connsiteY50" fmla="*/ 1522941 h 4223685"/>
                <a:gd name="connsiteX51" fmla="*/ 675205 w 956528"/>
                <a:gd name="connsiteY51" fmla="*/ 1466661 h 4223685"/>
                <a:gd name="connsiteX52" fmla="*/ 56280 w 956528"/>
                <a:gd name="connsiteY52" fmla="*/ 1466661 h 4223685"/>
                <a:gd name="connsiteX53" fmla="*/ 56280 w 956528"/>
                <a:gd name="connsiteY53" fmla="*/ 1297860 h 4223685"/>
                <a:gd name="connsiteX54" fmla="*/ 337603 w 956528"/>
                <a:gd name="connsiteY54" fmla="*/ 1297860 h 4223685"/>
                <a:gd name="connsiteX55" fmla="*/ 337603 w 956528"/>
                <a:gd name="connsiteY55" fmla="*/ 1241580 h 4223685"/>
                <a:gd name="connsiteX56" fmla="*/ 56280 w 956528"/>
                <a:gd name="connsiteY56" fmla="*/ 1241580 h 4223685"/>
                <a:gd name="connsiteX57" fmla="*/ 56280 w 956528"/>
                <a:gd name="connsiteY57" fmla="*/ 1072779 h 4223685"/>
                <a:gd name="connsiteX58" fmla="*/ 337603 w 956528"/>
                <a:gd name="connsiteY58" fmla="*/ 1072779 h 4223685"/>
                <a:gd name="connsiteX59" fmla="*/ 337603 w 956528"/>
                <a:gd name="connsiteY59" fmla="*/ 1016537 h 4223685"/>
                <a:gd name="connsiteX60" fmla="*/ 56280 w 956528"/>
                <a:gd name="connsiteY60" fmla="*/ 1016537 h 4223685"/>
                <a:gd name="connsiteX61" fmla="*/ 56280 w 956528"/>
                <a:gd name="connsiteY61" fmla="*/ 847736 h 4223685"/>
                <a:gd name="connsiteX62" fmla="*/ 337603 w 956528"/>
                <a:gd name="connsiteY62" fmla="*/ 847736 h 4223685"/>
                <a:gd name="connsiteX63" fmla="*/ 337603 w 956528"/>
                <a:gd name="connsiteY63" fmla="*/ 791456 h 4223685"/>
                <a:gd name="connsiteX64" fmla="*/ 56280 w 956528"/>
                <a:gd name="connsiteY64" fmla="*/ 791456 h 4223685"/>
                <a:gd name="connsiteX65" fmla="*/ 56280 w 956528"/>
                <a:gd name="connsiteY65" fmla="*/ 622654 h 4223685"/>
                <a:gd name="connsiteX66" fmla="*/ 675205 w 956528"/>
                <a:gd name="connsiteY66" fmla="*/ 622654 h 4223685"/>
                <a:gd name="connsiteX67" fmla="*/ 675205 w 956528"/>
                <a:gd name="connsiteY67" fmla="*/ 566413 h 4223685"/>
                <a:gd name="connsiteX68" fmla="*/ 56280 w 956528"/>
                <a:gd name="connsiteY68" fmla="*/ 566413 h 4223685"/>
                <a:gd name="connsiteX69" fmla="*/ 56280 w 956528"/>
                <a:gd name="connsiteY69" fmla="*/ 397612 h 4223685"/>
                <a:gd name="connsiteX70" fmla="*/ 337603 w 956528"/>
                <a:gd name="connsiteY70" fmla="*/ 397612 h 4223685"/>
                <a:gd name="connsiteX71" fmla="*/ 337603 w 956528"/>
                <a:gd name="connsiteY71" fmla="*/ 341332 h 4223685"/>
                <a:gd name="connsiteX72" fmla="*/ 56280 w 956528"/>
                <a:gd name="connsiteY72" fmla="*/ 341332 h 4223685"/>
                <a:gd name="connsiteX73" fmla="*/ 56280 w 956528"/>
                <a:gd name="connsiteY73" fmla="*/ 172530 h 4223685"/>
                <a:gd name="connsiteX74" fmla="*/ 337603 w 956528"/>
                <a:gd name="connsiteY74" fmla="*/ 172530 h 4223685"/>
                <a:gd name="connsiteX75" fmla="*/ 337603 w 956528"/>
                <a:gd name="connsiteY75" fmla="*/ 116250 h 4223685"/>
                <a:gd name="connsiteX76" fmla="*/ 56280 w 956528"/>
                <a:gd name="connsiteY76" fmla="*/ 116250 h 4223685"/>
                <a:gd name="connsiteX77" fmla="*/ 56280 w 956528"/>
                <a:gd name="connsiteY77" fmla="*/ 0 h 4223685"/>
                <a:gd name="connsiteX78" fmla="*/ 0 w 956528"/>
                <a:gd name="connsiteY78" fmla="*/ 0 h 4223685"/>
                <a:gd name="connsiteX79" fmla="*/ 0 w 956528"/>
                <a:gd name="connsiteY79" fmla="*/ 4223686 h 4223685"/>
                <a:gd name="connsiteX80" fmla="*/ 56280 w 956528"/>
                <a:gd name="connsiteY80" fmla="*/ 4223686 h 4223685"/>
                <a:gd name="connsiteX81" fmla="*/ 900248 w 956528"/>
                <a:gd name="connsiteY81" fmla="*/ 4223686 h 422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956528" h="4223685">
                  <a:moveTo>
                    <a:pt x="956528" y="4223686"/>
                  </a:moveTo>
                  <a:lnTo>
                    <a:pt x="956528" y="0"/>
                  </a:lnTo>
                  <a:lnTo>
                    <a:pt x="900248" y="0"/>
                  </a:lnTo>
                  <a:lnTo>
                    <a:pt x="900248" y="4167445"/>
                  </a:lnTo>
                  <a:lnTo>
                    <a:pt x="56280" y="4167445"/>
                  </a:lnTo>
                  <a:lnTo>
                    <a:pt x="56280" y="3998643"/>
                  </a:lnTo>
                  <a:lnTo>
                    <a:pt x="337603" y="3998643"/>
                  </a:lnTo>
                  <a:lnTo>
                    <a:pt x="337603" y="3942363"/>
                  </a:lnTo>
                  <a:lnTo>
                    <a:pt x="56280" y="3942363"/>
                  </a:lnTo>
                  <a:lnTo>
                    <a:pt x="56280" y="3773562"/>
                  </a:lnTo>
                  <a:lnTo>
                    <a:pt x="337603" y="3773562"/>
                  </a:lnTo>
                  <a:lnTo>
                    <a:pt x="337603" y="3717321"/>
                  </a:lnTo>
                  <a:lnTo>
                    <a:pt x="56280" y="3717321"/>
                  </a:lnTo>
                  <a:lnTo>
                    <a:pt x="56280" y="3548519"/>
                  </a:lnTo>
                  <a:lnTo>
                    <a:pt x="337603" y="3548519"/>
                  </a:lnTo>
                  <a:lnTo>
                    <a:pt x="337603" y="3492239"/>
                  </a:lnTo>
                  <a:lnTo>
                    <a:pt x="56280" y="3492239"/>
                  </a:lnTo>
                  <a:lnTo>
                    <a:pt x="56280" y="3323438"/>
                  </a:lnTo>
                  <a:lnTo>
                    <a:pt x="675205" y="3323438"/>
                  </a:lnTo>
                  <a:lnTo>
                    <a:pt x="675205" y="3267158"/>
                  </a:lnTo>
                  <a:lnTo>
                    <a:pt x="56280" y="3267158"/>
                  </a:lnTo>
                  <a:lnTo>
                    <a:pt x="56280" y="3098395"/>
                  </a:lnTo>
                  <a:lnTo>
                    <a:pt x="337603" y="3098395"/>
                  </a:lnTo>
                  <a:lnTo>
                    <a:pt x="337603" y="3042115"/>
                  </a:lnTo>
                  <a:lnTo>
                    <a:pt x="56280" y="3042115"/>
                  </a:lnTo>
                  <a:lnTo>
                    <a:pt x="56280" y="2873314"/>
                  </a:lnTo>
                  <a:lnTo>
                    <a:pt x="337603" y="2873314"/>
                  </a:lnTo>
                  <a:lnTo>
                    <a:pt x="337603" y="2817034"/>
                  </a:lnTo>
                  <a:lnTo>
                    <a:pt x="56280" y="2817034"/>
                  </a:lnTo>
                  <a:lnTo>
                    <a:pt x="56280" y="2648233"/>
                  </a:lnTo>
                  <a:lnTo>
                    <a:pt x="337603" y="2648233"/>
                  </a:lnTo>
                  <a:lnTo>
                    <a:pt x="337603" y="2591991"/>
                  </a:lnTo>
                  <a:lnTo>
                    <a:pt x="56280" y="2591991"/>
                  </a:lnTo>
                  <a:lnTo>
                    <a:pt x="56280" y="2423190"/>
                  </a:lnTo>
                  <a:lnTo>
                    <a:pt x="675205" y="2423190"/>
                  </a:lnTo>
                  <a:lnTo>
                    <a:pt x="675205" y="2366909"/>
                  </a:lnTo>
                  <a:lnTo>
                    <a:pt x="56280" y="2366909"/>
                  </a:lnTo>
                  <a:lnTo>
                    <a:pt x="56280" y="2198108"/>
                  </a:lnTo>
                  <a:lnTo>
                    <a:pt x="337603" y="2198108"/>
                  </a:lnTo>
                  <a:lnTo>
                    <a:pt x="337603" y="2141867"/>
                  </a:lnTo>
                  <a:lnTo>
                    <a:pt x="56280" y="2141867"/>
                  </a:lnTo>
                  <a:lnTo>
                    <a:pt x="56280" y="1973065"/>
                  </a:lnTo>
                  <a:lnTo>
                    <a:pt x="337603" y="1973065"/>
                  </a:lnTo>
                  <a:lnTo>
                    <a:pt x="337603" y="1916785"/>
                  </a:lnTo>
                  <a:lnTo>
                    <a:pt x="56280" y="1916785"/>
                  </a:lnTo>
                  <a:lnTo>
                    <a:pt x="56280" y="1747984"/>
                  </a:lnTo>
                  <a:lnTo>
                    <a:pt x="337603" y="1747984"/>
                  </a:lnTo>
                  <a:lnTo>
                    <a:pt x="337603" y="1691704"/>
                  </a:lnTo>
                  <a:lnTo>
                    <a:pt x="56280" y="1691704"/>
                  </a:lnTo>
                  <a:lnTo>
                    <a:pt x="56280" y="1522941"/>
                  </a:lnTo>
                  <a:lnTo>
                    <a:pt x="675205" y="1522941"/>
                  </a:lnTo>
                  <a:lnTo>
                    <a:pt x="675205" y="1466661"/>
                  </a:lnTo>
                  <a:lnTo>
                    <a:pt x="56280" y="1466661"/>
                  </a:lnTo>
                  <a:lnTo>
                    <a:pt x="56280" y="1297860"/>
                  </a:lnTo>
                  <a:lnTo>
                    <a:pt x="337603" y="1297860"/>
                  </a:lnTo>
                  <a:lnTo>
                    <a:pt x="337603" y="1241580"/>
                  </a:lnTo>
                  <a:lnTo>
                    <a:pt x="56280" y="1241580"/>
                  </a:lnTo>
                  <a:lnTo>
                    <a:pt x="56280" y="1072779"/>
                  </a:lnTo>
                  <a:lnTo>
                    <a:pt x="337603" y="1072779"/>
                  </a:lnTo>
                  <a:lnTo>
                    <a:pt x="337603" y="1016537"/>
                  </a:lnTo>
                  <a:lnTo>
                    <a:pt x="56280" y="1016537"/>
                  </a:lnTo>
                  <a:lnTo>
                    <a:pt x="56280" y="847736"/>
                  </a:lnTo>
                  <a:lnTo>
                    <a:pt x="337603" y="847736"/>
                  </a:lnTo>
                  <a:lnTo>
                    <a:pt x="337603" y="791456"/>
                  </a:lnTo>
                  <a:lnTo>
                    <a:pt x="56280" y="791456"/>
                  </a:lnTo>
                  <a:lnTo>
                    <a:pt x="56280" y="622654"/>
                  </a:lnTo>
                  <a:lnTo>
                    <a:pt x="675205" y="622654"/>
                  </a:lnTo>
                  <a:lnTo>
                    <a:pt x="675205" y="566413"/>
                  </a:lnTo>
                  <a:lnTo>
                    <a:pt x="56280" y="566413"/>
                  </a:lnTo>
                  <a:lnTo>
                    <a:pt x="56280" y="397612"/>
                  </a:lnTo>
                  <a:lnTo>
                    <a:pt x="337603" y="397612"/>
                  </a:lnTo>
                  <a:lnTo>
                    <a:pt x="337603" y="341332"/>
                  </a:lnTo>
                  <a:lnTo>
                    <a:pt x="56280" y="341332"/>
                  </a:lnTo>
                  <a:lnTo>
                    <a:pt x="56280" y="172530"/>
                  </a:lnTo>
                  <a:lnTo>
                    <a:pt x="337603" y="172530"/>
                  </a:lnTo>
                  <a:lnTo>
                    <a:pt x="337603" y="116250"/>
                  </a:lnTo>
                  <a:lnTo>
                    <a:pt x="56280" y="116250"/>
                  </a:lnTo>
                  <a:lnTo>
                    <a:pt x="56280" y="0"/>
                  </a:lnTo>
                  <a:lnTo>
                    <a:pt x="0" y="0"/>
                  </a:lnTo>
                  <a:lnTo>
                    <a:pt x="0" y="4223686"/>
                  </a:lnTo>
                  <a:lnTo>
                    <a:pt x="56280" y="4223686"/>
                  </a:lnTo>
                  <a:lnTo>
                    <a:pt x="900248" y="42236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BEBE7BA3-6132-4003-A79D-CFA4B4D9E19B}"/>
                </a:ext>
              </a:extLst>
            </p:cNvPr>
            <p:cNvSpPr/>
            <p:nvPr/>
          </p:nvSpPr>
          <p:spPr>
            <a:xfrm>
              <a:off x="-1697617" y="1719597"/>
              <a:ext cx="337603" cy="538326"/>
            </a:xfrm>
            <a:custGeom>
              <a:avLst/>
              <a:gdLst>
                <a:gd name="connsiteX0" fmla="*/ 0 w 337603"/>
                <a:gd name="connsiteY0" fmla="*/ 0 h 538326"/>
                <a:gd name="connsiteX1" fmla="*/ 56280 w 337603"/>
                <a:gd name="connsiteY1" fmla="*/ 0 h 538326"/>
                <a:gd name="connsiteX2" fmla="*/ 56280 w 337603"/>
                <a:gd name="connsiteY2" fmla="*/ 101734 h 538326"/>
                <a:gd name="connsiteX3" fmla="*/ 337603 w 337603"/>
                <a:gd name="connsiteY3" fmla="*/ 101734 h 538326"/>
                <a:gd name="connsiteX4" fmla="*/ 337603 w 337603"/>
                <a:gd name="connsiteY4" fmla="*/ 158014 h 538326"/>
                <a:gd name="connsiteX5" fmla="*/ 56280 w 337603"/>
                <a:gd name="connsiteY5" fmla="*/ 158014 h 538326"/>
                <a:gd name="connsiteX6" fmla="*/ 56280 w 337603"/>
                <a:gd name="connsiteY6" fmla="*/ 326815 h 538326"/>
                <a:gd name="connsiteX7" fmla="*/ 337603 w 337603"/>
                <a:gd name="connsiteY7" fmla="*/ 326815 h 538326"/>
                <a:gd name="connsiteX8" fmla="*/ 337603 w 337603"/>
                <a:gd name="connsiteY8" fmla="*/ 383056 h 538326"/>
                <a:gd name="connsiteX9" fmla="*/ 56280 w 337603"/>
                <a:gd name="connsiteY9" fmla="*/ 383056 h 538326"/>
                <a:gd name="connsiteX10" fmla="*/ 56280 w 337603"/>
                <a:gd name="connsiteY10" fmla="*/ 538326 h 538326"/>
                <a:gd name="connsiteX11" fmla="*/ 0 w 337603"/>
                <a:gd name="connsiteY11" fmla="*/ 538326 h 538326"/>
                <a:gd name="connsiteX12" fmla="*/ 0 w 337603"/>
                <a:gd name="connsiteY12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7603" h="538326">
                  <a:moveTo>
                    <a:pt x="0" y="0"/>
                  </a:moveTo>
                  <a:lnTo>
                    <a:pt x="56280" y="0"/>
                  </a:lnTo>
                  <a:lnTo>
                    <a:pt x="56280" y="101734"/>
                  </a:lnTo>
                  <a:lnTo>
                    <a:pt x="337603" y="101734"/>
                  </a:lnTo>
                  <a:lnTo>
                    <a:pt x="337603" y="158014"/>
                  </a:lnTo>
                  <a:lnTo>
                    <a:pt x="56280" y="158014"/>
                  </a:lnTo>
                  <a:lnTo>
                    <a:pt x="56280" y="326815"/>
                  </a:lnTo>
                  <a:lnTo>
                    <a:pt x="337603" y="326815"/>
                  </a:lnTo>
                  <a:lnTo>
                    <a:pt x="337603" y="383056"/>
                  </a:lnTo>
                  <a:lnTo>
                    <a:pt x="56280" y="383056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7F77523A-164C-4AD4-8373-108A4C516730}"/>
                </a:ext>
              </a:extLst>
            </p:cNvPr>
            <p:cNvSpPr/>
            <p:nvPr/>
          </p:nvSpPr>
          <p:spPr>
            <a:xfrm>
              <a:off x="-797368" y="1719597"/>
              <a:ext cx="56280" cy="538326"/>
            </a:xfrm>
            <a:custGeom>
              <a:avLst/>
              <a:gdLst>
                <a:gd name="connsiteX0" fmla="*/ 0 w 56280"/>
                <a:gd name="connsiteY0" fmla="*/ 0 h 538326"/>
                <a:gd name="connsiteX1" fmla="*/ 56280 w 56280"/>
                <a:gd name="connsiteY1" fmla="*/ 0 h 538326"/>
                <a:gd name="connsiteX2" fmla="*/ 56280 w 56280"/>
                <a:gd name="connsiteY2" fmla="*/ 538326 h 538326"/>
                <a:gd name="connsiteX3" fmla="*/ 0 w 56280"/>
                <a:gd name="connsiteY3" fmla="*/ 538326 h 538326"/>
                <a:gd name="connsiteX4" fmla="*/ 0 w 56280"/>
                <a:gd name="connsiteY4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80" h="538326">
                  <a:moveTo>
                    <a:pt x="0" y="0"/>
                  </a:moveTo>
                  <a:lnTo>
                    <a:pt x="56280" y="0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</p:grpSp>
      <p:sp>
        <p:nvSpPr>
          <p:cNvPr id="59" name="Round Same-side Corner of Rectangle 79">
            <a:extLst>
              <a:ext uri="{FF2B5EF4-FFF2-40B4-BE49-F238E27FC236}">
                <a16:creationId xmlns:a16="http://schemas.microsoft.com/office/drawing/2014/main" id="{5A570A18-59BF-40E2-B47C-EB31B6C6E2B2}"/>
              </a:ext>
            </a:extLst>
          </p:cNvPr>
          <p:cNvSpPr/>
          <p:nvPr userDrawn="1"/>
        </p:nvSpPr>
        <p:spPr>
          <a:xfrm rot="5400000">
            <a:off x="10613117" y="550943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0" name="TextBox 59">
            <a:hlinkClick r:id="" action="ppaction://noaction"/>
            <a:extLst>
              <a:ext uri="{FF2B5EF4-FFF2-40B4-BE49-F238E27FC236}">
                <a16:creationId xmlns:a16="http://schemas.microsoft.com/office/drawing/2014/main" id="{FCFF80AD-8344-4F8E-9CC5-224BB0D62C93}"/>
              </a:ext>
            </a:extLst>
          </p:cNvPr>
          <p:cNvSpPr txBox="1"/>
          <p:nvPr userDrawn="1"/>
        </p:nvSpPr>
        <p:spPr>
          <a:xfrm>
            <a:off x="10870644" y="555078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61" name="Round Same-side Corner of Rectangle 79">
            <a:extLst>
              <a:ext uri="{FF2B5EF4-FFF2-40B4-BE49-F238E27FC236}">
                <a16:creationId xmlns:a16="http://schemas.microsoft.com/office/drawing/2014/main" id="{C1B42306-1904-46E7-BE28-CFF76ACFB4F2}"/>
              </a:ext>
            </a:extLst>
          </p:cNvPr>
          <p:cNvSpPr/>
          <p:nvPr userDrawn="1"/>
        </p:nvSpPr>
        <p:spPr>
          <a:xfrm rot="5400000">
            <a:off x="10613117" y="5784862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2" name="TextBox 61">
            <a:hlinkClick r:id="" action="ppaction://noaction"/>
            <a:extLst>
              <a:ext uri="{FF2B5EF4-FFF2-40B4-BE49-F238E27FC236}">
                <a16:creationId xmlns:a16="http://schemas.microsoft.com/office/drawing/2014/main" id="{8F1F7789-AB3D-4435-9169-25DE8DA65F26}"/>
              </a:ext>
            </a:extLst>
          </p:cNvPr>
          <p:cNvSpPr txBox="1"/>
          <p:nvPr userDrawn="1"/>
        </p:nvSpPr>
        <p:spPr>
          <a:xfrm>
            <a:off x="10870644" y="5826211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73" name="Freeform 25">
            <a:extLst>
              <a:ext uri="{FF2B5EF4-FFF2-40B4-BE49-F238E27FC236}">
                <a16:creationId xmlns:a16="http://schemas.microsoft.com/office/drawing/2014/main" id="{238620AC-097B-441B-AF0F-32416329764F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5549100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74" name="Round Same-side Corner of Rectangle 79">
            <a:extLst>
              <a:ext uri="{FF2B5EF4-FFF2-40B4-BE49-F238E27FC236}">
                <a16:creationId xmlns:a16="http://schemas.microsoft.com/office/drawing/2014/main" id="{81EDF39A-4038-4DF9-8F59-F059EA014CC9}"/>
              </a:ext>
            </a:extLst>
          </p:cNvPr>
          <p:cNvSpPr/>
          <p:nvPr userDrawn="1"/>
        </p:nvSpPr>
        <p:spPr>
          <a:xfrm rot="5400000">
            <a:off x="10615976" y="606635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75" name="TextBox 74">
            <a:hlinkClick r:id="" action="ppaction://noaction"/>
            <a:extLst>
              <a:ext uri="{FF2B5EF4-FFF2-40B4-BE49-F238E27FC236}">
                <a16:creationId xmlns:a16="http://schemas.microsoft.com/office/drawing/2014/main" id="{4405A5F0-60A1-4D5E-8F57-A386661218D8}"/>
              </a:ext>
            </a:extLst>
          </p:cNvPr>
          <p:cNvSpPr txBox="1"/>
          <p:nvPr userDrawn="1"/>
        </p:nvSpPr>
        <p:spPr>
          <a:xfrm>
            <a:off x="10873503" y="6107704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76" name="Freeform 21">
            <a:extLst>
              <a:ext uri="{FF2B5EF4-FFF2-40B4-BE49-F238E27FC236}">
                <a16:creationId xmlns:a16="http://schemas.microsoft.com/office/drawing/2014/main" id="{397CF1EA-9C83-4F4A-A407-3EAA6369E2E5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6115929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77" name="Graphic 28" descr="List">
            <a:extLst>
              <a:ext uri="{FF2B5EF4-FFF2-40B4-BE49-F238E27FC236}">
                <a16:creationId xmlns:a16="http://schemas.microsoft.com/office/drawing/2014/main" id="{C7B9C6FE-340D-4C11-8F73-5B63080C8FEC}"/>
              </a:ext>
            </a:extLst>
          </p:cNvPr>
          <p:cNvGrpSpPr/>
          <p:nvPr userDrawn="1"/>
        </p:nvGrpSpPr>
        <p:grpSpPr>
          <a:xfrm>
            <a:off x="10657446" y="5818069"/>
            <a:ext cx="103548" cy="146640"/>
            <a:chOff x="981871" y="1231905"/>
            <a:chExt cx="246063" cy="317501"/>
          </a:xfrm>
        </p:grpSpPr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AA7F223C-E7E9-4900-A0F0-34ABD4BA8E1B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1760476-348F-483B-AD5A-EB945F2A7E64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6A250FB0-5B0A-40C5-A78D-FEDBA23F10FC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7DDF47E8-25E3-40CE-9284-FA2BA4F6C40B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037E141D-5A24-48D3-BFA8-981593F802CA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E315A45E-64DD-41AB-AC1F-29A097988639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1F0C85E6-2EDD-4C1A-9BA3-E94EB0D85F32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4037D8D-8E22-4572-92BD-2A6BFD3FC9EF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FAAAB576-8181-4201-B2C1-B24C020626C0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80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55904B4B-3A37-445C-8033-34DB5F145A5E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1C8DD360-0487-467D-A649-9C50CAD4E5F8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6C2ECF9A-A347-43F9-89BA-F54A771DFF79}"/>
              </a:ext>
            </a:extLst>
          </p:cNvPr>
          <p:cNvSpPr/>
          <p:nvPr userDrawn="1"/>
        </p:nvSpPr>
        <p:spPr>
          <a:xfrm rot="5400000">
            <a:off x="11280167" y="4840571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C6B33585-ACAF-4AC8-AD8F-47D4308C0720}"/>
              </a:ext>
            </a:extLst>
          </p:cNvPr>
          <p:cNvSpPr/>
          <p:nvPr userDrawn="1"/>
        </p:nvSpPr>
        <p:spPr>
          <a:xfrm rot="5400000">
            <a:off x="11280167" y="5116475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7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8579ED9C-E99B-487E-BE9B-54CEA14D6A1C}"/>
              </a:ext>
            </a:extLst>
          </p:cNvPr>
          <p:cNvSpPr/>
          <p:nvPr userDrawn="1"/>
        </p:nvSpPr>
        <p:spPr>
          <a:xfrm rot="5400000">
            <a:off x="11280167" y="5392379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9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22C5FE46-7D2F-467E-8DBA-53A88D7EBF05}"/>
              </a:ext>
            </a:extLst>
          </p:cNvPr>
          <p:cNvSpPr/>
          <p:nvPr userDrawn="1"/>
        </p:nvSpPr>
        <p:spPr>
          <a:xfrm rot="5400000">
            <a:off x="11473096" y="1472755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0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A76D6F80-0BFB-49A4-AB4B-1F874DBE9E8F}"/>
              </a:ext>
            </a:extLst>
          </p:cNvPr>
          <p:cNvSpPr/>
          <p:nvPr userDrawn="1"/>
        </p:nvSpPr>
        <p:spPr>
          <a:xfrm rot="5400000">
            <a:off x="11473096" y="192820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1" name="Round Same-side Corner of Rectangle 79">
            <a:hlinkClick r:id="rId5" action="ppaction://hlinksldjump"/>
            <a:extLst>
              <a:ext uri="{FF2B5EF4-FFF2-40B4-BE49-F238E27FC236}">
                <a16:creationId xmlns:a16="http://schemas.microsoft.com/office/drawing/2014/main" id="{6C3B18B3-19E8-479A-AEDF-BDA05D5756FB}"/>
              </a:ext>
            </a:extLst>
          </p:cNvPr>
          <p:cNvSpPr/>
          <p:nvPr userDrawn="1"/>
        </p:nvSpPr>
        <p:spPr>
          <a:xfrm rot="5400000">
            <a:off x="11473096" y="2380734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2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4B15791C-CD61-4EB5-9E42-B73430482107}"/>
              </a:ext>
            </a:extLst>
          </p:cNvPr>
          <p:cNvSpPr/>
          <p:nvPr userDrawn="1"/>
        </p:nvSpPr>
        <p:spPr>
          <a:xfrm rot="5400000">
            <a:off x="11473096" y="2833262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0AAB4CF3-E9D1-45DD-9ACF-35952F16191D}"/>
              </a:ext>
            </a:extLst>
          </p:cNvPr>
          <p:cNvSpPr/>
          <p:nvPr userDrawn="1"/>
        </p:nvSpPr>
        <p:spPr>
          <a:xfrm rot="5400000">
            <a:off x="11473096" y="3285790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4BA97296-EA8D-479C-969B-07C854A6ACE7}"/>
              </a:ext>
            </a:extLst>
          </p:cNvPr>
          <p:cNvSpPr/>
          <p:nvPr userDrawn="1"/>
        </p:nvSpPr>
        <p:spPr>
          <a:xfrm rot="5400000">
            <a:off x="11290966" y="3556188"/>
            <a:ext cx="349171" cy="1446546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44A88AD9-02C8-4A68-912B-280F3DCE5033}"/>
              </a:ext>
            </a:extLst>
          </p:cNvPr>
          <p:cNvSpPr/>
          <p:nvPr userDrawn="1"/>
        </p:nvSpPr>
        <p:spPr>
          <a:xfrm rot="5400000">
            <a:off x="11473096" y="419084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6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1A20CDBC-1B16-4EAE-A4E3-1058550F2D3A}"/>
              </a:ext>
            </a:extLst>
          </p:cNvPr>
          <p:cNvSpPr/>
          <p:nvPr userDrawn="1"/>
        </p:nvSpPr>
        <p:spPr>
          <a:xfrm rot="5400000">
            <a:off x="11473096" y="464337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2443150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llar 6 - Let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4" name="Round Same-side Corner of Rectangle 79">
            <a:extLst>
              <a:ext uri="{FF2B5EF4-FFF2-40B4-BE49-F238E27FC236}">
                <a16:creationId xmlns:a16="http://schemas.microsoft.com/office/drawing/2014/main" id="{429E155D-7E57-4822-8852-F94F1A49D6FC}"/>
              </a:ext>
            </a:extLst>
          </p:cNvPr>
          <p:cNvSpPr/>
          <p:nvPr userDrawn="1"/>
        </p:nvSpPr>
        <p:spPr>
          <a:xfrm rot="16200000">
            <a:off x="11384856" y="4661233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8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0" name="Round Same-side Corner of Rectangle 79">
            <a:extLst>
              <a:ext uri="{FF2B5EF4-FFF2-40B4-BE49-F238E27FC236}">
                <a16:creationId xmlns:a16="http://schemas.microsoft.com/office/drawing/2014/main" id="{DA632258-7E89-4C63-86BD-EA679E94BCAB}"/>
              </a:ext>
            </a:extLst>
          </p:cNvPr>
          <p:cNvSpPr/>
          <p:nvPr userDrawn="1"/>
        </p:nvSpPr>
        <p:spPr>
          <a:xfrm rot="16200000">
            <a:off x="11384854" y="4208631"/>
            <a:ext cx="388777" cy="104122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7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1" name="Round Same-side Corner of Rectangle 79">
            <a:extLst>
              <a:ext uri="{FF2B5EF4-FFF2-40B4-BE49-F238E27FC236}">
                <a16:creationId xmlns:a16="http://schemas.microsoft.com/office/drawing/2014/main" id="{D4B93879-3513-4875-A1C4-5980915623CE}"/>
              </a:ext>
            </a:extLst>
          </p:cNvPr>
          <p:cNvSpPr/>
          <p:nvPr userDrawn="1"/>
        </p:nvSpPr>
        <p:spPr>
          <a:xfrm rot="16200000">
            <a:off x="11219847" y="3591023"/>
            <a:ext cx="388777" cy="137124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2102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600" b="1"/>
              <a:t>Pillar  </a:t>
            </a:r>
            <a:r>
              <a:rPr lang="en-US" sz="1600" b="1"/>
              <a:t>6</a:t>
            </a:r>
          </a:p>
        </p:txBody>
      </p:sp>
      <p:sp>
        <p:nvSpPr>
          <p:cNvPr id="78" name="Round Same-side Corner of Rectangle 79">
            <a:extLst>
              <a:ext uri="{FF2B5EF4-FFF2-40B4-BE49-F238E27FC236}">
                <a16:creationId xmlns:a16="http://schemas.microsoft.com/office/drawing/2014/main" id="{312255C5-65A9-47AB-B67B-8924547FF7C2}"/>
              </a:ext>
            </a:extLst>
          </p:cNvPr>
          <p:cNvSpPr/>
          <p:nvPr userDrawn="1"/>
        </p:nvSpPr>
        <p:spPr>
          <a:xfrm rot="16200000">
            <a:off x="11384854" y="33034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5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9" name="Round Same-side Corner of Rectangle 79">
            <a:extLst>
              <a:ext uri="{FF2B5EF4-FFF2-40B4-BE49-F238E27FC236}">
                <a16:creationId xmlns:a16="http://schemas.microsoft.com/office/drawing/2014/main" id="{F23596D5-FD36-49E3-B746-F3D7A290DF3D}"/>
              </a:ext>
            </a:extLst>
          </p:cNvPr>
          <p:cNvSpPr/>
          <p:nvPr userDrawn="1"/>
        </p:nvSpPr>
        <p:spPr>
          <a:xfrm rot="16200000">
            <a:off x="11384853" y="28508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4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7" name="Round Same-side Corner of Rectangle 79">
            <a:extLst>
              <a:ext uri="{FF2B5EF4-FFF2-40B4-BE49-F238E27FC236}">
                <a16:creationId xmlns:a16="http://schemas.microsoft.com/office/drawing/2014/main" id="{059574F1-9FE9-480C-B4ED-14EFB4169B0E}"/>
              </a:ext>
            </a:extLst>
          </p:cNvPr>
          <p:cNvSpPr/>
          <p:nvPr userDrawn="1"/>
        </p:nvSpPr>
        <p:spPr>
          <a:xfrm rot="16200000">
            <a:off x="11384854" y="23982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3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8" name="Round Same-side Corner of Rectangle 79">
            <a:extLst>
              <a:ext uri="{FF2B5EF4-FFF2-40B4-BE49-F238E27FC236}">
                <a16:creationId xmlns:a16="http://schemas.microsoft.com/office/drawing/2014/main" id="{82236BCB-3538-4E87-B0C9-CACC40793A57}"/>
              </a:ext>
            </a:extLst>
          </p:cNvPr>
          <p:cNvSpPr/>
          <p:nvPr userDrawn="1"/>
        </p:nvSpPr>
        <p:spPr>
          <a:xfrm rot="16200000">
            <a:off x="11384854" y="19456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2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9" name="Round Same-side Corner of Rectangle 79">
            <a:extLst>
              <a:ext uri="{FF2B5EF4-FFF2-40B4-BE49-F238E27FC236}">
                <a16:creationId xmlns:a16="http://schemas.microsoft.com/office/drawing/2014/main" id="{61090AD0-0469-4342-901A-FC4BE401662F}"/>
              </a:ext>
            </a:extLst>
          </p:cNvPr>
          <p:cNvSpPr/>
          <p:nvPr userDrawn="1"/>
        </p:nvSpPr>
        <p:spPr>
          <a:xfrm rot="16200000">
            <a:off x="11384854" y="1493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1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96" name="Round Same-side Corner of Rectangle 79">
            <a:extLst>
              <a:ext uri="{FF2B5EF4-FFF2-40B4-BE49-F238E27FC236}">
                <a16:creationId xmlns:a16="http://schemas.microsoft.com/office/drawing/2014/main" id="{75C801CE-9FCA-486D-96A7-6973FA449CCA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8" name="Round Same-side Corner of Rectangle 79">
            <a:extLst>
              <a:ext uri="{FF2B5EF4-FFF2-40B4-BE49-F238E27FC236}">
                <a16:creationId xmlns:a16="http://schemas.microsoft.com/office/drawing/2014/main" id="{B358AAFE-318C-4629-9F49-D9DBA46F85EC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A17D13B3-3001-44D2-83C6-1AB54C8542C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6706" y="918349"/>
            <a:ext cx="9963591" cy="5673283"/>
          </a:xfrm>
        </p:spPr>
        <p:txBody>
          <a:bodyPr/>
          <a:lstStyle>
            <a:lvl1pPr marL="0" indent="0">
              <a:spcBef>
                <a:spcPts val="1200"/>
              </a:spcBef>
              <a:buFontTx/>
              <a:buNone/>
              <a:defRPr sz="1799" b="1">
                <a:solidFill>
                  <a:schemeClr val="accent1">
                    <a:lumMod val="75000"/>
                  </a:schemeClr>
                </a:solidFill>
              </a:defRPr>
            </a:lvl1pPr>
            <a:lvl2pPr marL="230119" indent="-230119">
              <a:spcBef>
                <a:spcPts val="1200"/>
              </a:spcBef>
              <a:buFont typeface="+mj-lt"/>
              <a:buAutoNum type="alphaUcPeriod"/>
              <a:defRPr/>
            </a:lvl2pPr>
            <a:lvl3pPr marL="512609" indent="-171399">
              <a:spcBef>
                <a:spcPts val="600"/>
              </a:spcBef>
              <a:buFont typeface="+mj-lt"/>
              <a:buAutoNum type="romanLcPeriod"/>
              <a:defRPr sz="1300"/>
            </a:lvl3pPr>
            <a:lvl4pPr marL="798273" indent="-169812">
              <a:spcBef>
                <a:spcPts val="400"/>
              </a:spcBef>
              <a:buFont typeface="+mj-lt"/>
              <a:buAutoNum type="alphaLcPeriod"/>
              <a:defRPr sz="1300"/>
            </a:lvl4pPr>
            <a:lvl5pPr marL="1144245" indent="-115853">
              <a:spcBef>
                <a:spcPts val="2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1800B4F-17A0-4BC2-91E2-C75BBF9F5CE8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398E23-0D85-4565-8E83-B477C369A432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4" name="Round Same-side Corner of Rectangle 79">
            <a:extLst>
              <a:ext uri="{FF2B5EF4-FFF2-40B4-BE49-F238E27FC236}">
                <a16:creationId xmlns:a16="http://schemas.microsoft.com/office/drawing/2014/main" id="{7B40B4A3-D6F5-4DF1-9525-A127BEACF98F}"/>
              </a:ext>
            </a:extLst>
          </p:cNvPr>
          <p:cNvSpPr/>
          <p:nvPr userDrawn="1"/>
        </p:nvSpPr>
        <p:spPr>
          <a:xfrm rot="16200000">
            <a:off x="11900597" y="4182805"/>
            <a:ext cx="388777" cy="18768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>
              <a:lumMod val="75000"/>
              <a:alpha val="59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17" name="TextBox 16">
            <a:hlinkClick r:id="" action="ppaction://noaction"/>
            <a:extLst>
              <a:ext uri="{FF2B5EF4-FFF2-40B4-BE49-F238E27FC236}">
                <a16:creationId xmlns:a16="http://schemas.microsoft.com/office/drawing/2014/main" id="{69172A22-14B9-4B61-BB8F-5F7D4F577F2C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18" name="TextBox 17">
            <a:hlinkClick r:id="" action="ppaction://noaction"/>
            <a:extLst>
              <a:ext uri="{FF2B5EF4-FFF2-40B4-BE49-F238E27FC236}">
                <a16:creationId xmlns:a16="http://schemas.microsoft.com/office/drawing/2014/main" id="{11BCDEE4-A22D-41C4-990A-EB77412E4AEC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A7D6A814-AACD-4723-A3E6-44532A6F2C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BB6CBAD5-6B1D-4EE6-B7E0-7D327CAB7131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7C03C06-8B4C-4F70-801C-BD3B938CC3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45" name="Freeform 9">
            <a:extLst>
              <a:ext uri="{FF2B5EF4-FFF2-40B4-BE49-F238E27FC236}">
                <a16:creationId xmlns:a16="http://schemas.microsoft.com/office/drawing/2014/main" id="{CF599F60-5A79-42C7-80C4-63F1EB050FB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865109" y="4176118"/>
            <a:ext cx="181694" cy="212254"/>
          </a:xfrm>
          <a:custGeom>
            <a:avLst/>
            <a:gdLst>
              <a:gd name="T0" fmla="*/ 708 w 809"/>
              <a:gd name="T1" fmla="*/ 509 h 945"/>
              <a:gd name="T2" fmla="*/ 405 w 809"/>
              <a:gd name="T3" fmla="*/ 838 h 945"/>
              <a:gd name="T4" fmla="*/ 404 w 809"/>
              <a:gd name="T5" fmla="*/ 838 h 945"/>
              <a:gd name="T6" fmla="*/ 404 w 809"/>
              <a:gd name="T7" fmla="*/ 473 h 945"/>
              <a:gd name="T8" fmla="*/ 101 w 809"/>
              <a:gd name="T9" fmla="*/ 473 h 945"/>
              <a:gd name="T10" fmla="*/ 101 w 809"/>
              <a:gd name="T11" fmla="*/ 245 h 945"/>
              <a:gd name="T12" fmla="*/ 404 w 809"/>
              <a:gd name="T13" fmla="*/ 123 h 945"/>
              <a:gd name="T14" fmla="*/ 404 w 809"/>
              <a:gd name="T15" fmla="*/ 473 h 945"/>
              <a:gd name="T16" fmla="*/ 708 w 809"/>
              <a:gd name="T17" fmla="*/ 473 h 945"/>
              <a:gd name="T18" fmla="*/ 708 w 809"/>
              <a:gd name="T19" fmla="*/ 509 h 945"/>
              <a:gd name="T20" fmla="*/ 792 w 809"/>
              <a:gd name="T21" fmla="*/ 150 h 945"/>
              <a:gd name="T22" fmla="*/ 415 w 809"/>
              <a:gd name="T23" fmla="*/ 4 h 945"/>
              <a:gd name="T24" fmla="*/ 394 w 809"/>
              <a:gd name="T25" fmla="*/ 4 h 945"/>
              <a:gd name="T26" fmla="*/ 17 w 809"/>
              <a:gd name="T27" fmla="*/ 150 h 945"/>
              <a:gd name="T28" fmla="*/ 0 w 809"/>
              <a:gd name="T29" fmla="*/ 168 h 945"/>
              <a:gd name="T30" fmla="*/ 0 w 809"/>
              <a:gd name="T31" fmla="*/ 508 h 945"/>
              <a:gd name="T32" fmla="*/ 398 w 809"/>
              <a:gd name="T33" fmla="*/ 944 h 945"/>
              <a:gd name="T34" fmla="*/ 410 w 809"/>
              <a:gd name="T35" fmla="*/ 944 h 945"/>
              <a:gd name="T36" fmla="*/ 809 w 809"/>
              <a:gd name="T37" fmla="*/ 508 h 945"/>
              <a:gd name="T38" fmla="*/ 809 w 809"/>
              <a:gd name="T39" fmla="*/ 168 h 945"/>
              <a:gd name="T40" fmla="*/ 792 w 809"/>
              <a:gd name="T41" fmla="*/ 150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9" h="945">
                <a:moveTo>
                  <a:pt x="708" y="509"/>
                </a:moveTo>
                <a:cubicBezTo>
                  <a:pt x="708" y="713"/>
                  <a:pt x="483" y="811"/>
                  <a:pt x="405" y="838"/>
                </a:cubicBezTo>
                <a:cubicBezTo>
                  <a:pt x="405" y="838"/>
                  <a:pt x="404" y="838"/>
                  <a:pt x="404" y="838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101" y="473"/>
                  <a:pt x="101" y="473"/>
                  <a:pt x="101" y="473"/>
                </a:cubicBezTo>
                <a:cubicBezTo>
                  <a:pt x="101" y="245"/>
                  <a:pt x="101" y="245"/>
                  <a:pt x="101" y="245"/>
                </a:cubicBezTo>
                <a:cubicBezTo>
                  <a:pt x="185" y="231"/>
                  <a:pt x="288" y="197"/>
                  <a:pt x="404" y="123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708" y="473"/>
                  <a:pt x="708" y="473"/>
                  <a:pt x="708" y="473"/>
                </a:cubicBezTo>
                <a:lnTo>
                  <a:pt x="708" y="509"/>
                </a:lnTo>
                <a:close/>
                <a:moveTo>
                  <a:pt x="792" y="150"/>
                </a:moveTo>
                <a:cubicBezTo>
                  <a:pt x="691" y="146"/>
                  <a:pt x="562" y="109"/>
                  <a:pt x="415" y="4"/>
                </a:cubicBezTo>
                <a:cubicBezTo>
                  <a:pt x="409" y="0"/>
                  <a:pt x="400" y="0"/>
                  <a:pt x="394" y="4"/>
                </a:cubicBezTo>
                <a:cubicBezTo>
                  <a:pt x="247" y="109"/>
                  <a:pt x="118" y="146"/>
                  <a:pt x="17" y="150"/>
                </a:cubicBezTo>
                <a:cubicBezTo>
                  <a:pt x="7" y="150"/>
                  <a:pt x="0" y="158"/>
                  <a:pt x="0" y="168"/>
                </a:cubicBezTo>
                <a:cubicBezTo>
                  <a:pt x="0" y="209"/>
                  <a:pt x="0" y="325"/>
                  <a:pt x="0" y="508"/>
                </a:cubicBezTo>
                <a:cubicBezTo>
                  <a:pt x="0" y="792"/>
                  <a:pt x="348" y="926"/>
                  <a:pt x="398" y="944"/>
                </a:cubicBezTo>
                <a:cubicBezTo>
                  <a:pt x="402" y="945"/>
                  <a:pt x="406" y="945"/>
                  <a:pt x="410" y="944"/>
                </a:cubicBezTo>
                <a:cubicBezTo>
                  <a:pt x="460" y="926"/>
                  <a:pt x="809" y="792"/>
                  <a:pt x="809" y="508"/>
                </a:cubicBezTo>
                <a:cubicBezTo>
                  <a:pt x="809" y="325"/>
                  <a:pt x="809" y="209"/>
                  <a:pt x="809" y="168"/>
                </a:cubicBezTo>
                <a:cubicBezTo>
                  <a:pt x="809" y="158"/>
                  <a:pt x="801" y="150"/>
                  <a:pt x="792" y="15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46" name="Freeform 13">
            <a:extLst>
              <a:ext uri="{FF2B5EF4-FFF2-40B4-BE49-F238E27FC236}">
                <a16:creationId xmlns:a16="http://schemas.microsoft.com/office/drawing/2014/main" id="{EB626790-E27E-4CDE-AA86-FB594AC0BFC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87920" y="5097137"/>
            <a:ext cx="218911" cy="197141"/>
          </a:xfrm>
          <a:custGeom>
            <a:avLst/>
            <a:gdLst>
              <a:gd name="T0" fmla="*/ 757 w 1043"/>
              <a:gd name="T1" fmla="*/ 313 h 939"/>
              <a:gd name="T2" fmla="*/ 313 w 1043"/>
              <a:gd name="T3" fmla="*/ 321 h 939"/>
              <a:gd name="T4" fmla="*/ 321 w 1043"/>
              <a:gd name="T5" fmla="*/ 348 h 939"/>
              <a:gd name="T6" fmla="*/ 765 w 1043"/>
              <a:gd name="T7" fmla="*/ 340 h 939"/>
              <a:gd name="T8" fmla="*/ 765 w 1043"/>
              <a:gd name="T9" fmla="*/ 251 h 939"/>
              <a:gd name="T10" fmla="*/ 321 w 1043"/>
              <a:gd name="T11" fmla="*/ 243 h 939"/>
              <a:gd name="T12" fmla="*/ 313 w 1043"/>
              <a:gd name="T13" fmla="*/ 270 h 939"/>
              <a:gd name="T14" fmla="*/ 757 w 1043"/>
              <a:gd name="T15" fmla="*/ 278 h 939"/>
              <a:gd name="T16" fmla="*/ 765 w 1043"/>
              <a:gd name="T17" fmla="*/ 251 h 939"/>
              <a:gd name="T18" fmla="*/ 757 w 1043"/>
              <a:gd name="T19" fmla="*/ 382 h 939"/>
              <a:gd name="T20" fmla="*/ 313 w 1043"/>
              <a:gd name="T21" fmla="*/ 390 h 939"/>
              <a:gd name="T22" fmla="*/ 321 w 1043"/>
              <a:gd name="T23" fmla="*/ 417 h 939"/>
              <a:gd name="T24" fmla="*/ 765 w 1043"/>
              <a:gd name="T25" fmla="*/ 409 h 939"/>
              <a:gd name="T26" fmla="*/ 765 w 1043"/>
              <a:gd name="T27" fmla="*/ 182 h 939"/>
              <a:gd name="T28" fmla="*/ 321 w 1043"/>
              <a:gd name="T29" fmla="*/ 174 h 939"/>
              <a:gd name="T30" fmla="*/ 313 w 1043"/>
              <a:gd name="T31" fmla="*/ 201 h 939"/>
              <a:gd name="T32" fmla="*/ 757 w 1043"/>
              <a:gd name="T33" fmla="*/ 209 h 939"/>
              <a:gd name="T34" fmla="*/ 765 w 1043"/>
              <a:gd name="T35" fmla="*/ 182 h 939"/>
              <a:gd name="T36" fmla="*/ 1027 w 1043"/>
              <a:gd name="T37" fmla="*/ 730 h 939"/>
              <a:gd name="T38" fmla="*/ 491 w 1043"/>
              <a:gd name="T39" fmla="*/ 735 h 939"/>
              <a:gd name="T40" fmla="*/ 487 w 1043"/>
              <a:gd name="T41" fmla="*/ 747 h 939"/>
              <a:gd name="T42" fmla="*/ 358 w 1043"/>
              <a:gd name="T43" fmla="*/ 869 h 939"/>
              <a:gd name="T44" fmla="*/ 243 w 1043"/>
              <a:gd name="T45" fmla="*/ 757 h 939"/>
              <a:gd name="T46" fmla="*/ 243 w 1043"/>
              <a:gd name="T47" fmla="*/ 139 h 939"/>
              <a:gd name="T48" fmla="*/ 742 w 1043"/>
              <a:gd name="T49" fmla="*/ 69 h 939"/>
              <a:gd name="T50" fmla="*/ 834 w 1043"/>
              <a:gd name="T51" fmla="*/ 695 h 939"/>
              <a:gd name="T52" fmla="*/ 904 w 1043"/>
              <a:gd name="T53" fmla="*/ 161 h 939"/>
              <a:gd name="T54" fmla="*/ 685 w 1043"/>
              <a:gd name="T55" fmla="*/ 0 h 939"/>
              <a:gd name="T56" fmla="*/ 0 w 1043"/>
              <a:gd name="T57" fmla="*/ 174 h 939"/>
              <a:gd name="T58" fmla="*/ 16 w 1043"/>
              <a:gd name="T59" fmla="*/ 209 h 939"/>
              <a:gd name="T60" fmla="*/ 174 w 1043"/>
              <a:gd name="T61" fmla="*/ 757 h 939"/>
              <a:gd name="T62" fmla="*/ 820 w 1043"/>
              <a:gd name="T63" fmla="*/ 939 h 939"/>
              <a:gd name="T64" fmla="*/ 1043 w 1043"/>
              <a:gd name="T65" fmla="*/ 765 h 939"/>
              <a:gd name="T66" fmla="*/ 765 w 1043"/>
              <a:gd name="T67" fmla="*/ 529 h 939"/>
              <a:gd name="T68" fmla="*/ 321 w 1043"/>
              <a:gd name="T69" fmla="*/ 522 h 939"/>
              <a:gd name="T70" fmla="*/ 313 w 1043"/>
              <a:gd name="T71" fmla="*/ 548 h 939"/>
              <a:gd name="T72" fmla="*/ 757 w 1043"/>
              <a:gd name="T73" fmla="*/ 556 h 939"/>
              <a:gd name="T74" fmla="*/ 765 w 1043"/>
              <a:gd name="T75" fmla="*/ 529 h 939"/>
              <a:gd name="T76" fmla="*/ 757 w 1043"/>
              <a:gd name="T77" fmla="*/ 452 h 939"/>
              <a:gd name="T78" fmla="*/ 313 w 1043"/>
              <a:gd name="T79" fmla="*/ 460 h 939"/>
              <a:gd name="T80" fmla="*/ 321 w 1043"/>
              <a:gd name="T81" fmla="*/ 487 h 939"/>
              <a:gd name="T82" fmla="*/ 765 w 1043"/>
              <a:gd name="T83" fmla="*/ 479 h 939"/>
              <a:gd name="T84" fmla="*/ 765 w 1043"/>
              <a:gd name="T85" fmla="*/ 599 h 939"/>
              <a:gd name="T86" fmla="*/ 757 w 1043"/>
              <a:gd name="T87" fmla="*/ 626 h 939"/>
              <a:gd name="T88" fmla="*/ 313 w 1043"/>
              <a:gd name="T89" fmla="*/ 618 h 939"/>
              <a:gd name="T90" fmla="*/ 321 w 1043"/>
              <a:gd name="T91" fmla="*/ 591 h 939"/>
              <a:gd name="T92" fmla="*/ 765 w 1043"/>
              <a:gd name="T93" fmla="*/ 59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43" h="939">
                <a:moveTo>
                  <a:pt x="765" y="321"/>
                </a:moveTo>
                <a:cubicBezTo>
                  <a:pt x="765" y="316"/>
                  <a:pt x="761" y="313"/>
                  <a:pt x="757" y="313"/>
                </a:cubicBezTo>
                <a:cubicBezTo>
                  <a:pt x="321" y="313"/>
                  <a:pt x="321" y="313"/>
                  <a:pt x="321" y="313"/>
                </a:cubicBezTo>
                <a:cubicBezTo>
                  <a:pt x="316" y="313"/>
                  <a:pt x="313" y="316"/>
                  <a:pt x="313" y="321"/>
                </a:cubicBezTo>
                <a:cubicBezTo>
                  <a:pt x="313" y="340"/>
                  <a:pt x="313" y="340"/>
                  <a:pt x="313" y="340"/>
                </a:cubicBezTo>
                <a:cubicBezTo>
                  <a:pt x="313" y="344"/>
                  <a:pt x="316" y="348"/>
                  <a:pt x="321" y="348"/>
                </a:cubicBezTo>
                <a:cubicBezTo>
                  <a:pt x="757" y="348"/>
                  <a:pt x="757" y="348"/>
                  <a:pt x="757" y="348"/>
                </a:cubicBezTo>
                <a:cubicBezTo>
                  <a:pt x="761" y="348"/>
                  <a:pt x="765" y="344"/>
                  <a:pt x="765" y="340"/>
                </a:cubicBezTo>
                <a:lnTo>
                  <a:pt x="765" y="321"/>
                </a:lnTo>
                <a:close/>
                <a:moveTo>
                  <a:pt x="765" y="251"/>
                </a:moveTo>
                <a:cubicBezTo>
                  <a:pt x="765" y="247"/>
                  <a:pt x="761" y="243"/>
                  <a:pt x="757" y="243"/>
                </a:cubicBezTo>
                <a:cubicBezTo>
                  <a:pt x="321" y="243"/>
                  <a:pt x="321" y="243"/>
                  <a:pt x="321" y="243"/>
                </a:cubicBezTo>
                <a:cubicBezTo>
                  <a:pt x="316" y="243"/>
                  <a:pt x="313" y="247"/>
                  <a:pt x="313" y="251"/>
                </a:cubicBezTo>
                <a:cubicBezTo>
                  <a:pt x="313" y="270"/>
                  <a:pt x="313" y="270"/>
                  <a:pt x="313" y="270"/>
                </a:cubicBezTo>
                <a:cubicBezTo>
                  <a:pt x="313" y="275"/>
                  <a:pt x="316" y="278"/>
                  <a:pt x="321" y="278"/>
                </a:cubicBezTo>
                <a:cubicBezTo>
                  <a:pt x="757" y="278"/>
                  <a:pt x="757" y="278"/>
                  <a:pt x="757" y="278"/>
                </a:cubicBezTo>
                <a:cubicBezTo>
                  <a:pt x="761" y="278"/>
                  <a:pt x="765" y="275"/>
                  <a:pt x="765" y="270"/>
                </a:cubicBezTo>
                <a:lnTo>
                  <a:pt x="765" y="251"/>
                </a:lnTo>
                <a:close/>
                <a:moveTo>
                  <a:pt x="765" y="390"/>
                </a:moveTo>
                <a:cubicBezTo>
                  <a:pt x="765" y="386"/>
                  <a:pt x="761" y="382"/>
                  <a:pt x="757" y="382"/>
                </a:cubicBezTo>
                <a:cubicBezTo>
                  <a:pt x="321" y="382"/>
                  <a:pt x="321" y="382"/>
                  <a:pt x="321" y="382"/>
                </a:cubicBezTo>
                <a:cubicBezTo>
                  <a:pt x="316" y="382"/>
                  <a:pt x="313" y="386"/>
                  <a:pt x="313" y="390"/>
                </a:cubicBezTo>
                <a:cubicBezTo>
                  <a:pt x="313" y="409"/>
                  <a:pt x="313" y="409"/>
                  <a:pt x="313" y="409"/>
                </a:cubicBezTo>
                <a:cubicBezTo>
                  <a:pt x="313" y="414"/>
                  <a:pt x="316" y="417"/>
                  <a:pt x="321" y="417"/>
                </a:cubicBezTo>
                <a:cubicBezTo>
                  <a:pt x="757" y="417"/>
                  <a:pt x="757" y="417"/>
                  <a:pt x="757" y="417"/>
                </a:cubicBezTo>
                <a:cubicBezTo>
                  <a:pt x="761" y="417"/>
                  <a:pt x="765" y="414"/>
                  <a:pt x="765" y="409"/>
                </a:cubicBezTo>
                <a:lnTo>
                  <a:pt x="765" y="390"/>
                </a:lnTo>
                <a:close/>
                <a:moveTo>
                  <a:pt x="765" y="182"/>
                </a:moveTo>
                <a:cubicBezTo>
                  <a:pt x="765" y="177"/>
                  <a:pt x="761" y="174"/>
                  <a:pt x="757" y="174"/>
                </a:cubicBezTo>
                <a:cubicBezTo>
                  <a:pt x="321" y="174"/>
                  <a:pt x="321" y="174"/>
                  <a:pt x="321" y="174"/>
                </a:cubicBezTo>
                <a:cubicBezTo>
                  <a:pt x="316" y="174"/>
                  <a:pt x="313" y="177"/>
                  <a:pt x="313" y="182"/>
                </a:cubicBezTo>
                <a:cubicBezTo>
                  <a:pt x="313" y="201"/>
                  <a:pt x="313" y="201"/>
                  <a:pt x="313" y="201"/>
                </a:cubicBezTo>
                <a:cubicBezTo>
                  <a:pt x="313" y="205"/>
                  <a:pt x="316" y="209"/>
                  <a:pt x="321" y="209"/>
                </a:cubicBezTo>
                <a:cubicBezTo>
                  <a:pt x="757" y="209"/>
                  <a:pt x="757" y="209"/>
                  <a:pt x="757" y="209"/>
                </a:cubicBezTo>
                <a:cubicBezTo>
                  <a:pt x="761" y="209"/>
                  <a:pt x="765" y="205"/>
                  <a:pt x="765" y="201"/>
                </a:cubicBezTo>
                <a:lnTo>
                  <a:pt x="765" y="182"/>
                </a:lnTo>
                <a:close/>
                <a:moveTo>
                  <a:pt x="1041" y="743"/>
                </a:moveTo>
                <a:cubicBezTo>
                  <a:pt x="1041" y="736"/>
                  <a:pt x="1034" y="730"/>
                  <a:pt x="1027" y="730"/>
                </a:cubicBezTo>
                <a:cubicBezTo>
                  <a:pt x="501" y="730"/>
                  <a:pt x="501" y="730"/>
                  <a:pt x="501" y="730"/>
                </a:cubicBezTo>
                <a:cubicBezTo>
                  <a:pt x="497" y="730"/>
                  <a:pt x="494" y="732"/>
                  <a:pt x="491" y="735"/>
                </a:cubicBezTo>
                <a:cubicBezTo>
                  <a:pt x="488" y="737"/>
                  <a:pt x="486" y="741"/>
                  <a:pt x="487" y="745"/>
                </a:cubicBezTo>
                <a:cubicBezTo>
                  <a:pt x="487" y="746"/>
                  <a:pt x="487" y="747"/>
                  <a:pt x="487" y="747"/>
                </a:cubicBezTo>
                <a:cubicBezTo>
                  <a:pt x="487" y="815"/>
                  <a:pt x="432" y="869"/>
                  <a:pt x="365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295" y="869"/>
                  <a:pt x="243" y="819"/>
                  <a:pt x="243" y="757"/>
                </a:cubicBezTo>
                <a:cubicBezTo>
                  <a:pt x="243" y="757"/>
                  <a:pt x="243" y="243"/>
                  <a:pt x="243" y="174"/>
                </a:cubicBezTo>
                <a:cubicBezTo>
                  <a:pt x="243" y="139"/>
                  <a:pt x="243" y="139"/>
                  <a:pt x="243" y="139"/>
                </a:cubicBezTo>
                <a:cubicBezTo>
                  <a:pt x="243" y="100"/>
                  <a:pt x="212" y="69"/>
                  <a:pt x="174" y="69"/>
                </a:cubicBezTo>
                <a:cubicBezTo>
                  <a:pt x="742" y="69"/>
                  <a:pt x="742" y="69"/>
                  <a:pt x="742" y="69"/>
                </a:cubicBezTo>
                <a:cubicBezTo>
                  <a:pt x="793" y="69"/>
                  <a:pt x="834" y="111"/>
                  <a:pt x="834" y="161"/>
                </a:cubicBezTo>
                <a:cubicBezTo>
                  <a:pt x="834" y="695"/>
                  <a:pt x="834" y="695"/>
                  <a:pt x="834" y="695"/>
                </a:cubicBezTo>
                <a:cubicBezTo>
                  <a:pt x="904" y="695"/>
                  <a:pt x="904" y="695"/>
                  <a:pt x="904" y="695"/>
                </a:cubicBezTo>
                <a:cubicBezTo>
                  <a:pt x="904" y="573"/>
                  <a:pt x="904" y="326"/>
                  <a:pt x="904" y="161"/>
                </a:cubicBezTo>
                <a:cubicBezTo>
                  <a:pt x="904" y="72"/>
                  <a:pt x="832" y="0"/>
                  <a:pt x="742" y="0"/>
                </a:cubicBezTo>
                <a:cubicBezTo>
                  <a:pt x="685" y="0"/>
                  <a:pt x="685" y="0"/>
                  <a:pt x="685" y="0"/>
                </a:cubicBezTo>
                <a:cubicBezTo>
                  <a:pt x="174" y="0"/>
                  <a:pt x="174" y="0"/>
                  <a:pt x="174" y="0"/>
                </a:cubicBezTo>
                <a:cubicBezTo>
                  <a:pt x="78" y="0"/>
                  <a:pt x="0" y="78"/>
                  <a:pt x="0" y="174"/>
                </a:cubicBezTo>
                <a:cubicBezTo>
                  <a:pt x="0" y="181"/>
                  <a:pt x="0" y="188"/>
                  <a:pt x="1" y="196"/>
                </a:cubicBezTo>
                <a:cubicBezTo>
                  <a:pt x="2" y="203"/>
                  <a:pt x="8" y="209"/>
                  <a:pt x="16" y="209"/>
                </a:cubicBezTo>
                <a:cubicBezTo>
                  <a:pt x="174" y="209"/>
                  <a:pt x="174" y="209"/>
                  <a:pt x="174" y="209"/>
                </a:cubicBezTo>
                <a:cubicBezTo>
                  <a:pt x="174" y="410"/>
                  <a:pt x="174" y="694"/>
                  <a:pt x="174" y="757"/>
                </a:cubicBezTo>
                <a:cubicBezTo>
                  <a:pt x="174" y="857"/>
                  <a:pt x="256" y="939"/>
                  <a:pt x="358" y="939"/>
                </a:cubicBezTo>
                <a:cubicBezTo>
                  <a:pt x="820" y="939"/>
                  <a:pt x="820" y="939"/>
                  <a:pt x="820" y="939"/>
                </a:cubicBezTo>
                <a:cubicBezTo>
                  <a:pt x="869" y="939"/>
                  <a:pt x="869" y="939"/>
                  <a:pt x="869" y="939"/>
                </a:cubicBezTo>
                <a:cubicBezTo>
                  <a:pt x="965" y="939"/>
                  <a:pt x="1043" y="861"/>
                  <a:pt x="1043" y="765"/>
                </a:cubicBezTo>
                <a:cubicBezTo>
                  <a:pt x="1043" y="757"/>
                  <a:pt x="1042" y="750"/>
                  <a:pt x="1041" y="743"/>
                </a:cubicBezTo>
                <a:close/>
                <a:moveTo>
                  <a:pt x="765" y="529"/>
                </a:moveTo>
                <a:cubicBezTo>
                  <a:pt x="765" y="525"/>
                  <a:pt x="761" y="522"/>
                  <a:pt x="757" y="522"/>
                </a:cubicBezTo>
                <a:cubicBezTo>
                  <a:pt x="321" y="522"/>
                  <a:pt x="321" y="522"/>
                  <a:pt x="321" y="522"/>
                </a:cubicBezTo>
                <a:cubicBezTo>
                  <a:pt x="316" y="522"/>
                  <a:pt x="313" y="525"/>
                  <a:pt x="313" y="529"/>
                </a:cubicBezTo>
                <a:cubicBezTo>
                  <a:pt x="313" y="548"/>
                  <a:pt x="313" y="548"/>
                  <a:pt x="313" y="548"/>
                </a:cubicBezTo>
                <a:cubicBezTo>
                  <a:pt x="313" y="553"/>
                  <a:pt x="316" y="556"/>
                  <a:pt x="321" y="556"/>
                </a:cubicBezTo>
                <a:cubicBezTo>
                  <a:pt x="757" y="556"/>
                  <a:pt x="757" y="556"/>
                  <a:pt x="757" y="556"/>
                </a:cubicBezTo>
                <a:cubicBezTo>
                  <a:pt x="761" y="556"/>
                  <a:pt x="765" y="553"/>
                  <a:pt x="765" y="548"/>
                </a:cubicBezTo>
                <a:lnTo>
                  <a:pt x="765" y="529"/>
                </a:lnTo>
                <a:close/>
                <a:moveTo>
                  <a:pt x="765" y="460"/>
                </a:moveTo>
                <a:cubicBezTo>
                  <a:pt x="765" y="456"/>
                  <a:pt x="761" y="452"/>
                  <a:pt x="757" y="452"/>
                </a:cubicBezTo>
                <a:cubicBezTo>
                  <a:pt x="321" y="452"/>
                  <a:pt x="321" y="452"/>
                  <a:pt x="321" y="452"/>
                </a:cubicBezTo>
                <a:cubicBezTo>
                  <a:pt x="316" y="452"/>
                  <a:pt x="313" y="456"/>
                  <a:pt x="313" y="460"/>
                </a:cubicBezTo>
                <a:cubicBezTo>
                  <a:pt x="313" y="479"/>
                  <a:pt x="313" y="479"/>
                  <a:pt x="313" y="479"/>
                </a:cubicBezTo>
                <a:cubicBezTo>
                  <a:pt x="313" y="483"/>
                  <a:pt x="316" y="487"/>
                  <a:pt x="321" y="487"/>
                </a:cubicBezTo>
                <a:cubicBezTo>
                  <a:pt x="757" y="487"/>
                  <a:pt x="757" y="487"/>
                  <a:pt x="757" y="487"/>
                </a:cubicBezTo>
                <a:cubicBezTo>
                  <a:pt x="761" y="487"/>
                  <a:pt x="765" y="483"/>
                  <a:pt x="765" y="479"/>
                </a:cubicBezTo>
                <a:lnTo>
                  <a:pt x="765" y="460"/>
                </a:lnTo>
                <a:close/>
                <a:moveTo>
                  <a:pt x="765" y="599"/>
                </a:moveTo>
                <a:cubicBezTo>
                  <a:pt x="765" y="618"/>
                  <a:pt x="765" y="618"/>
                  <a:pt x="765" y="618"/>
                </a:cubicBezTo>
                <a:cubicBezTo>
                  <a:pt x="765" y="622"/>
                  <a:pt x="761" y="626"/>
                  <a:pt x="757" y="626"/>
                </a:cubicBezTo>
                <a:cubicBezTo>
                  <a:pt x="321" y="626"/>
                  <a:pt x="321" y="626"/>
                  <a:pt x="321" y="626"/>
                </a:cubicBezTo>
                <a:cubicBezTo>
                  <a:pt x="316" y="626"/>
                  <a:pt x="313" y="622"/>
                  <a:pt x="313" y="618"/>
                </a:cubicBezTo>
                <a:cubicBezTo>
                  <a:pt x="313" y="599"/>
                  <a:pt x="313" y="599"/>
                  <a:pt x="313" y="599"/>
                </a:cubicBezTo>
                <a:cubicBezTo>
                  <a:pt x="313" y="595"/>
                  <a:pt x="316" y="591"/>
                  <a:pt x="321" y="591"/>
                </a:cubicBezTo>
                <a:cubicBezTo>
                  <a:pt x="757" y="591"/>
                  <a:pt x="757" y="591"/>
                  <a:pt x="757" y="591"/>
                </a:cubicBezTo>
                <a:cubicBezTo>
                  <a:pt x="761" y="591"/>
                  <a:pt x="765" y="595"/>
                  <a:pt x="765" y="5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5F7DC15-B507-40FE-94AA-2B8C77CEBB8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200260" y="2340801"/>
            <a:ext cx="182832" cy="231961"/>
            <a:chOff x="849313" y="-539751"/>
            <a:chExt cx="8375650" cy="10623551"/>
          </a:xfrm>
          <a:solidFill>
            <a:schemeClr val="bg1">
              <a:alpha val="70000"/>
            </a:schemeClr>
          </a:solidFill>
        </p:grpSpPr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D8B2E3F3-B1F7-4A33-956D-7D447A8672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3" y="2670175"/>
              <a:ext cx="8375650" cy="7413625"/>
            </a:xfrm>
            <a:custGeom>
              <a:avLst/>
              <a:gdLst>
                <a:gd name="T0" fmla="*/ 116 w 741"/>
                <a:gd name="T1" fmla="*/ 656 h 656"/>
                <a:gd name="T2" fmla="*/ 165 w 741"/>
                <a:gd name="T3" fmla="*/ 561 h 656"/>
                <a:gd name="T4" fmla="*/ 92 w 741"/>
                <a:gd name="T5" fmla="*/ 506 h 656"/>
                <a:gd name="T6" fmla="*/ 0 w 741"/>
                <a:gd name="T7" fmla="*/ 284 h 656"/>
                <a:gd name="T8" fmla="*/ 181 w 741"/>
                <a:gd name="T9" fmla="*/ 0 h 656"/>
                <a:gd name="T10" fmla="*/ 210 w 741"/>
                <a:gd name="T11" fmla="*/ 118 h 656"/>
                <a:gd name="T12" fmla="*/ 118 w 741"/>
                <a:gd name="T13" fmla="*/ 275 h 656"/>
                <a:gd name="T14" fmla="*/ 347 w 741"/>
                <a:gd name="T15" fmla="*/ 437 h 656"/>
                <a:gd name="T16" fmla="*/ 663 w 741"/>
                <a:gd name="T17" fmla="*/ 353 h 656"/>
                <a:gd name="T18" fmla="*/ 699 w 741"/>
                <a:gd name="T19" fmla="*/ 374 h 656"/>
                <a:gd name="T20" fmla="*/ 678 w 741"/>
                <a:gd name="T21" fmla="*/ 410 h 656"/>
                <a:gd name="T22" fmla="*/ 373 w 741"/>
                <a:gd name="T23" fmla="*/ 491 h 656"/>
                <a:gd name="T24" fmla="*/ 386 w 741"/>
                <a:gd name="T25" fmla="*/ 539 h 656"/>
                <a:gd name="T26" fmla="*/ 623 w 741"/>
                <a:gd name="T27" fmla="*/ 539 h 656"/>
                <a:gd name="T28" fmla="*/ 741 w 741"/>
                <a:gd name="T29" fmla="*/ 656 h 656"/>
                <a:gd name="T30" fmla="*/ 116 w 741"/>
                <a:gd name="T31" fmla="*/ 656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1" h="656">
                  <a:moveTo>
                    <a:pt x="116" y="656"/>
                  </a:moveTo>
                  <a:cubicBezTo>
                    <a:pt x="116" y="617"/>
                    <a:pt x="136" y="582"/>
                    <a:pt x="165" y="561"/>
                  </a:cubicBezTo>
                  <a:cubicBezTo>
                    <a:pt x="138" y="546"/>
                    <a:pt x="113" y="528"/>
                    <a:pt x="92" y="506"/>
                  </a:cubicBezTo>
                  <a:cubicBezTo>
                    <a:pt x="35" y="449"/>
                    <a:pt x="0" y="371"/>
                    <a:pt x="0" y="284"/>
                  </a:cubicBezTo>
                  <a:cubicBezTo>
                    <a:pt x="0" y="162"/>
                    <a:pt x="71" y="52"/>
                    <a:pt x="181" y="0"/>
                  </a:cubicBezTo>
                  <a:cubicBezTo>
                    <a:pt x="171" y="41"/>
                    <a:pt x="182" y="86"/>
                    <a:pt x="210" y="118"/>
                  </a:cubicBezTo>
                  <a:cubicBezTo>
                    <a:pt x="156" y="151"/>
                    <a:pt x="120" y="210"/>
                    <a:pt x="118" y="275"/>
                  </a:cubicBezTo>
                  <a:cubicBezTo>
                    <a:pt x="114" y="385"/>
                    <a:pt x="226" y="466"/>
                    <a:pt x="347" y="437"/>
                  </a:cubicBezTo>
                  <a:cubicBezTo>
                    <a:pt x="663" y="353"/>
                    <a:pt x="663" y="353"/>
                    <a:pt x="663" y="353"/>
                  </a:cubicBezTo>
                  <a:cubicBezTo>
                    <a:pt x="678" y="349"/>
                    <a:pt x="694" y="358"/>
                    <a:pt x="699" y="374"/>
                  </a:cubicBezTo>
                  <a:cubicBezTo>
                    <a:pt x="703" y="389"/>
                    <a:pt x="693" y="406"/>
                    <a:pt x="678" y="410"/>
                  </a:cubicBezTo>
                  <a:cubicBezTo>
                    <a:pt x="373" y="491"/>
                    <a:pt x="373" y="491"/>
                    <a:pt x="373" y="491"/>
                  </a:cubicBezTo>
                  <a:cubicBezTo>
                    <a:pt x="386" y="539"/>
                    <a:pt x="386" y="539"/>
                    <a:pt x="386" y="539"/>
                  </a:cubicBezTo>
                  <a:cubicBezTo>
                    <a:pt x="623" y="539"/>
                    <a:pt x="623" y="539"/>
                    <a:pt x="623" y="539"/>
                  </a:cubicBezTo>
                  <a:cubicBezTo>
                    <a:pt x="688" y="539"/>
                    <a:pt x="741" y="591"/>
                    <a:pt x="741" y="656"/>
                  </a:cubicBezTo>
                  <a:lnTo>
                    <a:pt x="116" y="6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43EC5FD8-B597-4ADC-BDDF-9E73CF58E20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1" y="5043487"/>
              <a:ext cx="2587625" cy="1231900"/>
            </a:xfrm>
            <a:custGeom>
              <a:avLst/>
              <a:gdLst>
                <a:gd name="T0" fmla="*/ 40 w 229"/>
                <a:gd name="T1" fmla="*/ 104 h 109"/>
                <a:gd name="T2" fmla="*/ 4 w 229"/>
                <a:gd name="T3" fmla="*/ 84 h 109"/>
                <a:gd name="T4" fmla="*/ 25 w 229"/>
                <a:gd name="T5" fmla="*/ 48 h 109"/>
                <a:gd name="T6" fmla="*/ 188 w 229"/>
                <a:gd name="T7" fmla="*/ 4 h 109"/>
                <a:gd name="T8" fmla="*/ 224 w 229"/>
                <a:gd name="T9" fmla="*/ 25 h 109"/>
                <a:gd name="T10" fmla="*/ 204 w 229"/>
                <a:gd name="T11" fmla="*/ 61 h 109"/>
                <a:gd name="T12" fmla="*/ 40 w 229"/>
                <a:gd name="T13" fmla="*/ 10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109">
                  <a:moveTo>
                    <a:pt x="40" y="104"/>
                  </a:moveTo>
                  <a:cubicBezTo>
                    <a:pt x="25" y="109"/>
                    <a:pt x="9" y="99"/>
                    <a:pt x="4" y="84"/>
                  </a:cubicBezTo>
                  <a:cubicBezTo>
                    <a:pt x="0" y="68"/>
                    <a:pt x="10" y="52"/>
                    <a:pt x="25" y="48"/>
                  </a:cubicBezTo>
                  <a:cubicBezTo>
                    <a:pt x="188" y="4"/>
                    <a:pt x="188" y="4"/>
                    <a:pt x="188" y="4"/>
                  </a:cubicBezTo>
                  <a:cubicBezTo>
                    <a:pt x="204" y="0"/>
                    <a:pt x="220" y="9"/>
                    <a:pt x="224" y="25"/>
                  </a:cubicBezTo>
                  <a:cubicBezTo>
                    <a:pt x="229" y="40"/>
                    <a:pt x="219" y="57"/>
                    <a:pt x="204" y="61"/>
                  </a:cubicBezTo>
                  <a:lnTo>
                    <a:pt x="4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BDEF051B-20D8-466F-A16C-F20C58D543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4851" y="-539751"/>
              <a:ext cx="4092575" cy="5910263"/>
            </a:xfrm>
            <a:custGeom>
              <a:avLst/>
              <a:gdLst>
                <a:gd name="T0" fmla="*/ 105 w 362"/>
                <a:gd name="T1" fmla="*/ 348 h 523"/>
                <a:gd name="T2" fmla="*/ 69 w 362"/>
                <a:gd name="T3" fmla="*/ 327 h 523"/>
                <a:gd name="T4" fmla="*/ 90 w 362"/>
                <a:gd name="T5" fmla="*/ 291 h 523"/>
                <a:gd name="T6" fmla="*/ 126 w 362"/>
                <a:gd name="T7" fmla="*/ 312 h 523"/>
                <a:gd name="T8" fmla="*/ 105 w 362"/>
                <a:gd name="T9" fmla="*/ 348 h 523"/>
                <a:gd name="T10" fmla="*/ 358 w 362"/>
                <a:gd name="T11" fmla="*/ 441 h 523"/>
                <a:gd name="T12" fmla="*/ 271 w 362"/>
                <a:gd name="T13" fmla="*/ 115 h 523"/>
                <a:gd name="T14" fmla="*/ 233 w 362"/>
                <a:gd name="T15" fmla="*/ 93 h 523"/>
                <a:gd name="T16" fmla="*/ 206 w 362"/>
                <a:gd name="T17" fmla="*/ 101 h 523"/>
                <a:gd name="T18" fmla="*/ 182 w 362"/>
                <a:gd name="T19" fmla="*/ 12 h 523"/>
                <a:gd name="T20" fmla="*/ 164 w 362"/>
                <a:gd name="T21" fmla="*/ 2 h 523"/>
                <a:gd name="T22" fmla="*/ 93 w 362"/>
                <a:gd name="T23" fmla="*/ 21 h 523"/>
                <a:gd name="T24" fmla="*/ 83 w 362"/>
                <a:gd name="T25" fmla="*/ 39 h 523"/>
                <a:gd name="T26" fmla="*/ 107 w 362"/>
                <a:gd name="T27" fmla="*/ 127 h 523"/>
                <a:gd name="T28" fmla="*/ 80 w 362"/>
                <a:gd name="T29" fmla="*/ 135 h 523"/>
                <a:gd name="T30" fmla="*/ 58 w 362"/>
                <a:gd name="T31" fmla="*/ 172 h 523"/>
                <a:gd name="T32" fmla="*/ 75 w 362"/>
                <a:gd name="T33" fmla="*/ 235 h 523"/>
                <a:gd name="T34" fmla="*/ 12 w 362"/>
                <a:gd name="T35" fmla="*/ 342 h 523"/>
                <a:gd name="T36" fmla="*/ 120 w 362"/>
                <a:gd name="T37" fmla="*/ 405 h 523"/>
                <a:gd name="T38" fmla="*/ 120 w 362"/>
                <a:gd name="T39" fmla="*/ 405 h 523"/>
                <a:gd name="T40" fmla="*/ 145 w 362"/>
                <a:gd name="T41" fmla="*/ 498 h 523"/>
                <a:gd name="T42" fmla="*/ 181 w 362"/>
                <a:gd name="T43" fmla="*/ 518 h 523"/>
                <a:gd name="T44" fmla="*/ 337 w 362"/>
                <a:gd name="T45" fmla="*/ 477 h 523"/>
                <a:gd name="T46" fmla="*/ 358 w 362"/>
                <a:gd name="T47" fmla="*/ 441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2" h="523">
                  <a:moveTo>
                    <a:pt x="105" y="348"/>
                  </a:moveTo>
                  <a:cubicBezTo>
                    <a:pt x="89" y="352"/>
                    <a:pt x="73" y="343"/>
                    <a:pt x="69" y="327"/>
                  </a:cubicBezTo>
                  <a:cubicBezTo>
                    <a:pt x="65" y="311"/>
                    <a:pt x="74" y="295"/>
                    <a:pt x="90" y="291"/>
                  </a:cubicBezTo>
                  <a:cubicBezTo>
                    <a:pt x="106" y="287"/>
                    <a:pt x="122" y="296"/>
                    <a:pt x="126" y="312"/>
                  </a:cubicBezTo>
                  <a:cubicBezTo>
                    <a:pt x="130" y="328"/>
                    <a:pt x="121" y="344"/>
                    <a:pt x="105" y="348"/>
                  </a:cubicBezTo>
                  <a:close/>
                  <a:moveTo>
                    <a:pt x="358" y="441"/>
                  </a:moveTo>
                  <a:cubicBezTo>
                    <a:pt x="271" y="115"/>
                    <a:pt x="271" y="115"/>
                    <a:pt x="271" y="115"/>
                  </a:cubicBezTo>
                  <a:cubicBezTo>
                    <a:pt x="266" y="99"/>
                    <a:pt x="250" y="89"/>
                    <a:pt x="233" y="93"/>
                  </a:cubicBezTo>
                  <a:cubicBezTo>
                    <a:pt x="206" y="101"/>
                    <a:pt x="206" y="101"/>
                    <a:pt x="206" y="101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0" y="4"/>
                    <a:pt x="172" y="0"/>
                    <a:pt x="164" y="2"/>
                  </a:cubicBezTo>
                  <a:cubicBezTo>
                    <a:pt x="93" y="21"/>
                    <a:pt x="93" y="21"/>
                    <a:pt x="93" y="21"/>
                  </a:cubicBezTo>
                  <a:cubicBezTo>
                    <a:pt x="86" y="23"/>
                    <a:pt x="81" y="31"/>
                    <a:pt x="83" y="39"/>
                  </a:cubicBezTo>
                  <a:cubicBezTo>
                    <a:pt x="107" y="127"/>
                    <a:pt x="107" y="127"/>
                    <a:pt x="107" y="127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63" y="139"/>
                    <a:pt x="54" y="156"/>
                    <a:pt x="58" y="172"/>
                  </a:cubicBezTo>
                  <a:cubicBezTo>
                    <a:pt x="75" y="235"/>
                    <a:pt x="75" y="235"/>
                    <a:pt x="75" y="235"/>
                  </a:cubicBezTo>
                  <a:cubicBezTo>
                    <a:pt x="28" y="247"/>
                    <a:pt x="0" y="295"/>
                    <a:pt x="12" y="342"/>
                  </a:cubicBezTo>
                  <a:cubicBezTo>
                    <a:pt x="25" y="389"/>
                    <a:pt x="73" y="417"/>
                    <a:pt x="120" y="405"/>
                  </a:cubicBezTo>
                  <a:cubicBezTo>
                    <a:pt x="120" y="405"/>
                    <a:pt x="120" y="405"/>
                    <a:pt x="120" y="405"/>
                  </a:cubicBezTo>
                  <a:cubicBezTo>
                    <a:pt x="145" y="498"/>
                    <a:pt x="145" y="498"/>
                    <a:pt x="145" y="498"/>
                  </a:cubicBezTo>
                  <a:cubicBezTo>
                    <a:pt x="150" y="513"/>
                    <a:pt x="166" y="523"/>
                    <a:pt x="181" y="518"/>
                  </a:cubicBezTo>
                  <a:cubicBezTo>
                    <a:pt x="337" y="477"/>
                    <a:pt x="337" y="477"/>
                    <a:pt x="337" y="477"/>
                  </a:cubicBezTo>
                  <a:cubicBezTo>
                    <a:pt x="353" y="472"/>
                    <a:pt x="362" y="456"/>
                    <a:pt x="358" y="4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51" name="Freeform 47">
            <a:extLst>
              <a:ext uri="{FF2B5EF4-FFF2-40B4-BE49-F238E27FC236}">
                <a16:creationId xmlns:a16="http://schemas.microsoft.com/office/drawing/2014/main" id="{94333BD0-42EC-44ED-9BAE-7757918387B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74781" y="3268800"/>
            <a:ext cx="201116" cy="201139"/>
          </a:xfrm>
          <a:custGeom>
            <a:avLst/>
            <a:gdLst>
              <a:gd name="T0" fmla="*/ 951 w 981"/>
              <a:gd name="T1" fmla="*/ 842 h 981"/>
              <a:gd name="T2" fmla="*/ 711 w 981"/>
              <a:gd name="T3" fmla="*/ 603 h 981"/>
              <a:gd name="T4" fmla="*/ 603 w 981"/>
              <a:gd name="T5" fmla="*/ 107 h 981"/>
              <a:gd name="T6" fmla="*/ 107 w 981"/>
              <a:gd name="T7" fmla="*/ 216 h 981"/>
              <a:gd name="T8" fmla="*/ 216 w 981"/>
              <a:gd name="T9" fmla="*/ 712 h 981"/>
              <a:gd name="T10" fmla="*/ 603 w 981"/>
              <a:gd name="T11" fmla="*/ 712 h 981"/>
              <a:gd name="T12" fmla="*/ 842 w 981"/>
              <a:gd name="T13" fmla="*/ 951 h 981"/>
              <a:gd name="T14" fmla="*/ 951 w 981"/>
              <a:gd name="T15" fmla="*/ 951 h 981"/>
              <a:gd name="T16" fmla="*/ 951 w 981"/>
              <a:gd name="T17" fmla="*/ 843 h 981"/>
              <a:gd name="T18" fmla="*/ 951 w 981"/>
              <a:gd name="T19" fmla="*/ 842 h 981"/>
              <a:gd name="T20" fmla="*/ 153 w 981"/>
              <a:gd name="T21" fmla="*/ 410 h 981"/>
              <a:gd name="T22" fmla="*/ 410 w 981"/>
              <a:gd name="T23" fmla="*/ 153 h 981"/>
              <a:gd name="T24" fmla="*/ 666 w 981"/>
              <a:gd name="T25" fmla="*/ 410 h 981"/>
              <a:gd name="T26" fmla="*/ 410 w 981"/>
              <a:gd name="T27" fmla="*/ 666 h 981"/>
              <a:gd name="T28" fmla="*/ 153 w 981"/>
              <a:gd name="T29" fmla="*/ 410 h 9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81" h="981">
                <a:moveTo>
                  <a:pt x="951" y="842"/>
                </a:moveTo>
                <a:cubicBezTo>
                  <a:pt x="711" y="603"/>
                  <a:pt x="711" y="603"/>
                  <a:pt x="711" y="603"/>
                </a:cubicBezTo>
                <a:cubicBezTo>
                  <a:pt x="818" y="436"/>
                  <a:pt x="770" y="214"/>
                  <a:pt x="603" y="107"/>
                </a:cubicBezTo>
                <a:cubicBezTo>
                  <a:pt x="436" y="0"/>
                  <a:pt x="214" y="49"/>
                  <a:pt x="107" y="216"/>
                </a:cubicBezTo>
                <a:cubicBezTo>
                  <a:pt x="0" y="383"/>
                  <a:pt x="49" y="605"/>
                  <a:pt x="216" y="712"/>
                </a:cubicBezTo>
                <a:cubicBezTo>
                  <a:pt x="334" y="787"/>
                  <a:pt x="485" y="787"/>
                  <a:pt x="603" y="712"/>
                </a:cubicBezTo>
                <a:cubicBezTo>
                  <a:pt x="842" y="951"/>
                  <a:pt x="842" y="951"/>
                  <a:pt x="842" y="951"/>
                </a:cubicBezTo>
                <a:cubicBezTo>
                  <a:pt x="872" y="981"/>
                  <a:pt x="921" y="981"/>
                  <a:pt x="951" y="951"/>
                </a:cubicBezTo>
                <a:cubicBezTo>
                  <a:pt x="981" y="921"/>
                  <a:pt x="981" y="873"/>
                  <a:pt x="951" y="843"/>
                </a:cubicBezTo>
                <a:cubicBezTo>
                  <a:pt x="951" y="843"/>
                  <a:pt x="951" y="842"/>
                  <a:pt x="951" y="842"/>
                </a:cubicBezTo>
                <a:close/>
                <a:moveTo>
                  <a:pt x="153" y="410"/>
                </a:moveTo>
                <a:cubicBezTo>
                  <a:pt x="153" y="268"/>
                  <a:pt x="268" y="153"/>
                  <a:pt x="410" y="153"/>
                </a:cubicBezTo>
                <a:cubicBezTo>
                  <a:pt x="551" y="153"/>
                  <a:pt x="666" y="268"/>
                  <a:pt x="666" y="410"/>
                </a:cubicBezTo>
                <a:cubicBezTo>
                  <a:pt x="666" y="551"/>
                  <a:pt x="551" y="666"/>
                  <a:pt x="410" y="666"/>
                </a:cubicBezTo>
                <a:cubicBezTo>
                  <a:pt x="268" y="666"/>
                  <a:pt x="153" y="551"/>
                  <a:pt x="153" y="41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7607DF6-43E3-483C-8408-6AA0DE59BAD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84359" y="2786642"/>
            <a:ext cx="219317" cy="283896"/>
            <a:chOff x="10758416" y="1419641"/>
            <a:chExt cx="3297184" cy="4266944"/>
          </a:xfrm>
          <a:solidFill>
            <a:schemeClr val="bg1">
              <a:alpha val="80000"/>
            </a:schemeClr>
          </a:solidFill>
        </p:grpSpPr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8AAA2622-6FB3-4214-94EE-5CE2C00D6F22}"/>
                </a:ext>
              </a:extLst>
            </p:cNvPr>
            <p:cNvSpPr/>
            <p:nvPr/>
          </p:nvSpPr>
          <p:spPr>
            <a:xfrm>
              <a:off x="10758416" y="1419641"/>
              <a:ext cx="3297184" cy="4266944"/>
            </a:xfrm>
            <a:custGeom>
              <a:avLst/>
              <a:gdLst>
                <a:gd name="connsiteX0" fmla="*/ 2763817 w 3297184"/>
                <a:gd name="connsiteY0" fmla="*/ 1939520 h 4266944"/>
                <a:gd name="connsiteX1" fmla="*/ 2424401 w 3297184"/>
                <a:gd name="connsiteY1" fmla="*/ 1600104 h 4266944"/>
                <a:gd name="connsiteX2" fmla="*/ 2763817 w 3297184"/>
                <a:gd name="connsiteY2" fmla="*/ 1260688 h 4266944"/>
                <a:gd name="connsiteX3" fmla="*/ 3103233 w 3297184"/>
                <a:gd name="connsiteY3" fmla="*/ 1600104 h 4266944"/>
                <a:gd name="connsiteX4" fmla="*/ 2763817 w 3297184"/>
                <a:gd name="connsiteY4" fmla="*/ 1939520 h 4266944"/>
                <a:gd name="connsiteX5" fmla="*/ 3297185 w 3297184"/>
                <a:gd name="connsiteY5" fmla="*/ 1600104 h 4266944"/>
                <a:gd name="connsiteX6" fmla="*/ 2763817 w 3297184"/>
                <a:gd name="connsiteY6" fmla="*/ 1066736 h 4266944"/>
                <a:gd name="connsiteX7" fmla="*/ 2230449 w 3297184"/>
                <a:gd name="connsiteY7" fmla="*/ 1600104 h 4266944"/>
                <a:gd name="connsiteX8" fmla="*/ 2618353 w 3297184"/>
                <a:gd name="connsiteY8" fmla="*/ 2114077 h 4266944"/>
                <a:gd name="connsiteX9" fmla="*/ 2618353 w 3297184"/>
                <a:gd name="connsiteY9" fmla="*/ 3248697 h 4266944"/>
                <a:gd name="connsiteX10" fmla="*/ 1891032 w 3297184"/>
                <a:gd name="connsiteY10" fmla="*/ 3976017 h 4266944"/>
                <a:gd name="connsiteX11" fmla="*/ 1163712 w 3297184"/>
                <a:gd name="connsiteY11" fmla="*/ 3248697 h 4266944"/>
                <a:gd name="connsiteX12" fmla="*/ 1163712 w 3297184"/>
                <a:gd name="connsiteY12" fmla="*/ 2754119 h 4266944"/>
                <a:gd name="connsiteX13" fmla="*/ 2036496 w 3297184"/>
                <a:gd name="connsiteY13" fmla="*/ 1745568 h 4266944"/>
                <a:gd name="connsiteX14" fmla="*/ 1939520 w 3297184"/>
                <a:gd name="connsiteY14" fmla="*/ 1580709 h 4266944"/>
                <a:gd name="connsiteX15" fmla="*/ 1939520 w 3297184"/>
                <a:gd name="connsiteY15" fmla="*/ 387904 h 4266944"/>
                <a:gd name="connsiteX16" fmla="*/ 1687383 w 3297184"/>
                <a:gd name="connsiteY16" fmla="*/ 101825 h 4266944"/>
                <a:gd name="connsiteX17" fmla="*/ 1551616 w 3297184"/>
                <a:gd name="connsiteY17" fmla="*/ 0 h 4266944"/>
                <a:gd name="connsiteX18" fmla="*/ 1503128 w 3297184"/>
                <a:gd name="connsiteY18" fmla="*/ 0 h 4266944"/>
                <a:gd name="connsiteX19" fmla="*/ 1309176 w 3297184"/>
                <a:gd name="connsiteY19" fmla="*/ 193952 h 4266944"/>
                <a:gd name="connsiteX20" fmla="*/ 1503128 w 3297184"/>
                <a:gd name="connsiteY20" fmla="*/ 387904 h 4266944"/>
                <a:gd name="connsiteX21" fmla="*/ 1551616 w 3297184"/>
                <a:gd name="connsiteY21" fmla="*/ 387904 h 4266944"/>
                <a:gd name="connsiteX22" fmla="*/ 1687383 w 3297184"/>
                <a:gd name="connsiteY22" fmla="*/ 300626 h 4266944"/>
                <a:gd name="connsiteX23" fmla="*/ 1745568 w 3297184"/>
                <a:gd name="connsiteY23" fmla="*/ 387904 h 4266944"/>
                <a:gd name="connsiteX24" fmla="*/ 1745568 w 3297184"/>
                <a:gd name="connsiteY24" fmla="*/ 1580709 h 4266944"/>
                <a:gd name="connsiteX25" fmla="*/ 1648592 w 3297184"/>
                <a:gd name="connsiteY25" fmla="*/ 1745568 h 4266944"/>
                <a:gd name="connsiteX26" fmla="*/ 1018248 w 3297184"/>
                <a:gd name="connsiteY26" fmla="*/ 2375913 h 4266944"/>
                <a:gd name="connsiteX27" fmla="*/ 387904 w 3297184"/>
                <a:gd name="connsiteY27" fmla="*/ 1745568 h 4266944"/>
                <a:gd name="connsiteX28" fmla="*/ 290928 w 3297184"/>
                <a:gd name="connsiteY28" fmla="*/ 1580709 h 4266944"/>
                <a:gd name="connsiteX29" fmla="*/ 290928 w 3297184"/>
                <a:gd name="connsiteY29" fmla="*/ 387904 h 4266944"/>
                <a:gd name="connsiteX30" fmla="*/ 349114 w 3297184"/>
                <a:gd name="connsiteY30" fmla="*/ 300626 h 4266944"/>
                <a:gd name="connsiteX31" fmla="*/ 484880 w 3297184"/>
                <a:gd name="connsiteY31" fmla="*/ 387904 h 4266944"/>
                <a:gd name="connsiteX32" fmla="*/ 533368 w 3297184"/>
                <a:gd name="connsiteY32" fmla="*/ 387904 h 4266944"/>
                <a:gd name="connsiteX33" fmla="*/ 727320 w 3297184"/>
                <a:gd name="connsiteY33" fmla="*/ 193952 h 4266944"/>
                <a:gd name="connsiteX34" fmla="*/ 533368 w 3297184"/>
                <a:gd name="connsiteY34" fmla="*/ 0 h 4266944"/>
                <a:gd name="connsiteX35" fmla="*/ 484880 w 3297184"/>
                <a:gd name="connsiteY35" fmla="*/ 0 h 4266944"/>
                <a:gd name="connsiteX36" fmla="*/ 349114 w 3297184"/>
                <a:gd name="connsiteY36" fmla="*/ 101825 h 4266944"/>
                <a:gd name="connsiteX37" fmla="*/ 96976 w 3297184"/>
                <a:gd name="connsiteY37" fmla="*/ 387904 h 4266944"/>
                <a:gd name="connsiteX38" fmla="*/ 96976 w 3297184"/>
                <a:gd name="connsiteY38" fmla="*/ 1580709 h 4266944"/>
                <a:gd name="connsiteX39" fmla="*/ 0 w 3297184"/>
                <a:gd name="connsiteY39" fmla="*/ 1745568 h 4266944"/>
                <a:gd name="connsiteX40" fmla="*/ 872784 w 3297184"/>
                <a:gd name="connsiteY40" fmla="*/ 2754119 h 4266944"/>
                <a:gd name="connsiteX41" fmla="*/ 872784 w 3297184"/>
                <a:gd name="connsiteY41" fmla="*/ 3248697 h 4266944"/>
                <a:gd name="connsiteX42" fmla="*/ 1891032 w 3297184"/>
                <a:gd name="connsiteY42" fmla="*/ 4266945 h 4266944"/>
                <a:gd name="connsiteX43" fmla="*/ 2909281 w 3297184"/>
                <a:gd name="connsiteY43" fmla="*/ 3248697 h 4266944"/>
                <a:gd name="connsiteX44" fmla="*/ 2909281 w 3297184"/>
                <a:gd name="connsiteY44" fmla="*/ 2114077 h 4266944"/>
                <a:gd name="connsiteX45" fmla="*/ 3297185 w 3297184"/>
                <a:gd name="connsiteY45" fmla="*/ 1600104 h 4266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3297184" h="4266944">
                  <a:moveTo>
                    <a:pt x="2763817" y="1939520"/>
                  </a:moveTo>
                  <a:cubicBezTo>
                    <a:pt x="2574713" y="1939520"/>
                    <a:pt x="2424401" y="1789208"/>
                    <a:pt x="2424401" y="1600104"/>
                  </a:cubicBezTo>
                  <a:cubicBezTo>
                    <a:pt x="2424401" y="1411001"/>
                    <a:pt x="2574713" y="1260688"/>
                    <a:pt x="2763817" y="1260688"/>
                  </a:cubicBezTo>
                  <a:cubicBezTo>
                    <a:pt x="2952920" y="1260688"/>
                    <a:pt x="3103233" y="1411001"/>
                    <a:pt x="3103233" y="1600104"/>
                  </a:cubicBezTo>
                  <a:cubicBezTo>
                    <a:pt x="3103233" y="1789208"/>
                    <a:pt x="2952920" y="1939520"/>
                    <a:pt x="2763817" y="1939520"/>
                  </a:cubicBezTo>
                  <a:close/>
                  <a:moveTo>
                    <a:pt x="3297185" y="1600104"/>
                  </a:moveTo>
                  <a:cubicBezTo>
                    <a:pt x="3297185" y="1304328"/>
                    <a:pt x="3059594" y="1066736"/>
                    <a:pt x="2763817" y="1066736"/>
                  </a:cubicBezTo>
                  <a:cubicBezTo>
                    <a:pt x="2468040" y="1066736"/>
                    <a:pt x="2230449" y="1304328"/>
                    <a:pt x="2230449" y="1600104"/>
                  </a:cubicBezTo>
                  <a:cubicBezTo>
                    <a:pt x="2230449" y="1842544"/>
                    <a:pt x="2395308" y="2051043"/>
                    <a:pt x="2618353" y="2114077"/>
                  </a:cubicBezTo>
                  <a:lnTo>
                    <a:pt x="2618353" y="3248697"/>
                  </a:lnTo>
                  <a:cubicBezTo>
                    <a:pt x="2618353" y="3651147"/>
                    <a:pt x="2293483" y="3976017"/>
                    <a:pt x="1891032" y="3976017"/>
                  </a:cubicBezTo>
                  <a:cubicBezTo>
                    <a:pt x="1488582" y="3976017"/>
                    <a:pt x="1163712" y="3651147"/>
                    <a:pt x="1163712" y="3248697"/>
                  </a:cubicBezTo>
                  <a:lnTo>
                    <a:pt x="1163712" y="2754119"/>
                  </a:lnTo>
                  <a:cubicBezTo>
                    <a:pt x="1658290" y="2681387"/>
                    <a:pt x="2036496" y="2259541"/>
                    <a:pt x="2036496" y="1745568"/>
                  </a:cubicBezTo>
                  <a:cubicBezTo>
                    <a:pt x="2036496" y="1672836"/>
                    <a:pt x="1997706" y="1609802"/>
                    <a:pt x="1939520" y="1580709"/>
                  </a:cubicBezTo>
                  <a:lnTo>
                    <a:pt x="1939520" y="387904"/>
                  </a:lnTo>
                  <a:cubicBezTo>
                    <a:pt x="1939520" y="242440"/>
                    <a:pt x="1827998" y="121220"/>
                    <a:pt x="1687383" y="101825"/>
                  </a:cubicBezTo>
                  <a:cubicBezTo>
                    <a:pt x="1667988" y="43639"/>
                    <a:pt x="1614651" y="0"/>
                    <a:pt x="1551616" y="0"/>
                  </a:cubicBezTo>
                  <a:lnTo>
                    <a:pt x="1503128" y="0"/>
                  </a:lnTo>
                  <a:cubicBezTo>
                    <a:pt x="1396455" y="0"/>
                    <a:pt x="1309176" y="87278"/>
                    <a:pt x="1309176" y="193952"/>
                  </a:cubicBezTo>
                  <a:cubicBezTo>
                    <a:pt x="1309176" y="300626"/>
                    <a:pt x="1396455" y="387904"/>
                    <a:pt x="1503128" y="387904"/>
                  </a:cubicBezTo>
                  <a:lnTo>
                    <a:pt x="1551616" y="387904"/>
                  </a:lnTo>
                  <a:cubicBezTo>
                    <a:pt x="1609802" y="387904"/>
                    <a:pt x="1663139" y="349114"/>
                    <a:pt x="1687383" y="300626"/>
                  </a:cubicBezTo>
                  <a:cubicBezTo>
                    <a:pt x="1721324" y="315172"/>
                    <a:pt x="1745568" y="349114"/>
                    <a:pt x="1745568" y="387904"/>
                  </a:cubicBezTo>
                  <a:lnTo>
                    <a:pt x="1745568" y="1580709"/>
                  </a:lnTo>
                  <a:cubicBezTo>
                    <a:pt x="1687383" y="1614651"/>
                    <a:pt x="1648592" y="1677685"/>
                    <a:pt x="1648592" y="1745568"/>
                  </a:cubicBezTo>
                  <a:cubicBezTo>
                    <a:pt x="1648592" y="2094682"/>
                    <a:pt x="1367362" y="2375913"/>
                    <a:pt x="1018248" y="2375913"/>
                  </a:cubicBezTo>
                  <a:cubicBezTo>
                    <a:pt x="669135" y="2375913"/>
                    <a:pt x="387904" y="2094682"/>
                    <a:pt x="387904" y="1745568"/>
                  </a:cubicBezTo>
                  <a:cubicBezTo>
                    <a:pt x="387904" y="1672836"/>
                    <a:pt x="349114" y="1609802"/>
                    <a:pt x="290928" y="1580709"/>
                  </a:cubicBezTo>
                  <a:lnTo>
                    <a:pt x="290928" y="387904"/>
                  </a:lnTo>
                  <a:cubicBezTo>
                    <a:pt x="290928" y="349114"/>
                    <a:pt x="315172" y="315172"/>
                    <a:pt x="349114" y="300626"/>
                  </a:cubicBezTo>
                  <a:cubicBezTo>
                    <a:pt x="373358" y="353963"/>
                    <a:pt x="421846" y="387904"/>
                    <a:pt x="484880" y="387904"/>
                  </a:cubicBezTo>
                  <a:lnTo>
                    <a:pt x="533368" y="387904"/>
                  </a:lnTo>
                  <a:cubicBezTo>
                    <a:pt x="640042" y="387904"/>
                    <a:pt x="727320" y="300626"/>
                    <a:pt x="727320" y="193952"/>
                  </a:cubicBezTo>
                  <a:cubicBezTo>
                    <a:pt x="727320" y="87278"/>
                    <a:pt x="640042" y="0"/>
                    <a:pt x="533368" y="0"/>
                  </a:cubicBezTo>
                  <a:lnTo>
                    <a:pt x="484880" y="0"/>
                  </a:lnTo>
                  <a:cubicBezTo>
                    <a:pt x="421846" y="0"/>
                    <a:pt x="368509" y="43639"/>
                    <a:pt x="349114" y="101825"/>
                  </a:cubicBezTo>
                  <a:cubicBezTo>
                    <a:pt x="208498" y="121220"/>
                    <a:pt x="96976" y="242440"/>
                    <a:pt x="96976" y="387904"/>
                  </a:cubicBezTo>
                  <a:lnTo>
                    <a:pt x="96976" y="1580709"/>
                  </a:lnTo>
                  <a:cubicBezTo>
                    <a:pt x="38790" y="1614651"/>
                    <a:pt x="0" y="1677685"/>
                    <a:pt x="0" y="1745568"/>
                  </a:cubicBezTo>
                  <a:cubicBezTo>
                    <a:pt x="0" y="2259541"/>
                    <a:pt x="378206" y="2681387"/>
                    <a:pt x="872784" y="2754119"/>
                  </a:cubicBezTo>
                  <a:lnTo>
                    <a:pt x="872784" y="3248697"/>
                  </a:lnTo>
                  <a:cubicBezTo>
                    <a:pt x="872784" y="3811158"/>
                    <a:pt x="1328572" y="4266945"/>
                    <a:pt x="1891032" y="4266945"/>
                  </a:cubicBezTo>
                  <a:cubicBezTo>
                    <a:pt x="2453493" y="4266945"/>
                    <a:pt x="2909281" y="3811158"/>
                    <a:pt x="2909281" y="3248697"/>
                  </a:cubicBezTo>
                  <a:lnTo>
                    <a:pt x="2909281" y="2114077"/>
                  </a:lnTo>
                  <a:cubicBezTo>
                    <a:pt x="3132326" y="2051043"/>
                    <a:pt x="3297185" y="1842544"/>
                    <a:pt x="3297185" y="1600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6BF343B-6B2C-4ECB-9D69-8EA65A4867D1}"/>
                </a:ext>
              </a:extLst>
            </p:cNvPr>
            <p:cNvSpPr/>
            <p:nvPr/>
          </p:nvSpPr>
          <p:spPr>
            <a:xfrm>
              <a:off x="13279792" y="2777305"/>
              <a:ext cx="484880" cy="484880"/>
            </a:xfrm>
            <a:custGeom>
              <a:avLst/>
              <a:gdLst>
                <a:gd name="connsiteX0" fmla="*/ 484880 w 484880"/>
                <a:gd name="connsiteY0" fmla="*/ 242440 h 484880"/>
                <a:gd name="connsiteX1" fmla="*/ 242440 w 484880"/>
                <a:gd name="connsiteY1" fmla="*/ 484880 h 484880"/>
                <a:gd name="connsiteX2" fmla="*/ 0 w 484880"/>
                <a:gd name="connsiteY2" fmla="*/ 242440 h 484880"/>
                <a:gd name="connsiteX3" fmla="*/ 242440 w 484880"/>
                <a:gd name="connsiteY3" fmla="*/ 0 h 484880"/>
                <a:gd name="connsiteX4" fmla="*/ 484880 w 484880"/>
                <a:gd name="connsiteY4" fmla="*/ 242440 h 484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880" h="484880">
                  <a:moveTo>
                    <a:pt x="484880" y="242440"/>
                  </a:moveTo>
                  <a:cubicBezTo>
                    <a:pt x="484880" y="376336"/>
                    <a:pt x="376336" y="484880"/>
                    <a:pt x="242440" y="484880"/>
                  </a:cubicBezTo>
                  <a:cubicBezTo>
                    <a:pt x="108544" y="484880"/>
                    <a:pt x="0" y="376336"/>
                    <a:pt x="0" y="242440"/>
                  </a:cubicBezTo>
                  <a:cubicBezTo>
                    <a:pt x="0" y="108544"/>
                    <a:pt x="108544" y="0"/>
                    <a:pt x="242440" y="0"/>
                  </a:cubicBezTo>
                  <a:cubicBezTo>
                    <a:pt x="376336" y="0"/>
                    <a:pt x="484880" y="108544"/>
                    <a:pt x="484880" y="2424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096C3D34-A05E-42B9-9537-1A240D034A66}"/>
              </a:ext>
            </a:extLst>
          </p:cNvPr>
          <p:cNvGrpSpPr/>
          <p:nvPr userDrawn="1"/>
        </p:nvGrpSpPr>
        <p:grpSpPr>
          <a:xfrm>
            <a:off x="11169212" y="3702633"/>
            <a:ext cx="229989" cy="225311"/>
            <a:chOff x="2634853" y="3844528"/>
            <a:chExt cx="261938" cy="268319"/>
          </a:xfrm>
          <a:solidFill>
            <a:schemeClr val="bg1">
              <a:alpha val="80000"/>
            </a:schemeClr>
          </a:solidFill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32F86250-BDEA-45DF-B48B-D9DFA038CE2E}"/>
                </a:ext>
              </a:extLst>
            </p:cNvPr>
            <p:cNvSpPr/>
            <p:nvPr/>
          </p:nvSpPr>
          <p:spPr>
            <a:xfrm>
              <a:off x="2634853" y="3965972"/>
              <a:ext cx="34366" cy="108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25D2803F-445E-4E34-A48C-5963D89EB691}"/>
                </a:ext>
              </a:extLst>
            </p:cNvPr>
            <p:cNvSpPr/>
            <p:nvPr/>
          </p:nvSpPr>
          <p:spPr>
            <a:xfrm>
              <a:off x="2691746" y="3894534"/>
              <a:ext cx="34366" cy="18024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EAAD5A6E-4BAD-43E6-9736-F5D86AD3183C}"/>
                </a:ext>
              </a:extLst>
            </p:cNvPr>
            <p:cNvSpPr/>
            <p:nvPr/>
          </p:nvSpPr>
          <p:spPr>
            <a:xfrm>
              <a:off x="2748639" y="3992166"/>
              <a:ext cx="34366" cy="826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B0F07C7E-E14A-4980-9391-1C6CBA2D131D}"/>
                </a:ext>
              </a:extLst>
            </p:cNvPr>
            <p:cNvSpPr/>
            <p:nvPr/>
          </p:nvSpPr>
          <p:spPr>
            <a:xfrm>
              <a:off x="2805532" y="3942160"/>
              <a:ext cx="34366" cy="13261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587B7D38-CC42-440D-8ABC-EE96675554EF}"/>
                </a:ext>
              </a:extLst>
            </p:cNvPr>
            <p:cNvSpPr/>
            <p:nvPr/>
          </p:nvSpPr>
          <p:spPr>
            <a:xfrm>
              <a:off x="2862425" y="3844528"/>
              <a:ext cx="34366" cy="2302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A48AE8FD-737A-434E-A0B0-B9F4D1CDAF75}"/>
                </a:ext>
              </a:extLst>
            </p:cNvPr>
            <p:cNvSpPr/>
            <p:nvPr/>
          </p:nvSpPr>
          <p:spPr>
            <a:xfrm>
              <a:off x="2634853" y="4094559"/>
              <a:ext cx="261938" cy="1828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170B4D57-140D-4AFA-BFC0-1CA76190A78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43494" y="4609169"/>
            <a:ext cx="247314" cy="241130"/>
            <a:chOff x="2578100" y="0"/>
            <a:chExt cx="11628438" cy="11334750"/>
          </a:xfrm>
          <a:solidFill>
            <a:schemeClr val="bg1">
              <a:alpha val="80000"/>
            </a:schemeClr>
          </a:solidFill>
        </p:grpSpPr>
        <p:sp>
          <p:nvSpPr>
            <p:cNvPr id="55" name="Freeform 15">
              <a:extLst>
                <a:ext uri="{FF2B5EF4-FFF2-40B4-BE49-F238E27FC236}">
                  <a16:creationId xmlns:a16="http://schemas.microsoft.com/office/drawing/2014/main" id="{FB179148-9F8B-4FDC-A04B-1EF80C6CEF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2263" y="0"/>
              <a:ext cx="4994275" cy="5073650"/>
            </a:xfrm>
            <a:custGeom>
              <a:avLst/>
              <a:gdLst>
                <a:gd name="T0" fmla="*/ 211 w 442"/>
                <a:gd name="T1" fmla="*/ 137 h 449"/>
                <a:gd name="T2" fmla="*/ 308 w 442"/>
                <a:gd name="T3" fmla="*/ 215 h 449"/>
                <a:gd name="T4" fmla="*/ 231 w 442"/>
                <a:gd name="T5" fmla="*/ 312 h 449"/>
                <a:gd name="T6" fmla="*/ 133 w 442"/>
                <a:gd name="T7" fmla="*/ 235 h 449"/>
                <a:gd name="T8" fmla="*/ 211 w 442"/>
                <a:gd name="T9" fmla="*/ 137 h 449"/>
                <a:gd name="T10" fmla="*/ 65 w 442"/>
                <a:gd name="T11" fmla="*/ 283 h 449"/>
                <a:gd name="T12" fmla="*/ 16 w 442"/>
                <a:gd name="T13" fmla="*/ 320 h 449"/>
                <a:gd name="T14" fmla="*/ 71 w 442"/>
                <a:gd name="T15" fmla="*/ 394 h 449"/>
                <a:gd name="T16" fmla="*/ 121 w 442"/>
                <a:gd name="T17" fmla="*/ 357 h 449"/>
                <a:gd name="T18" fmla="*/ 194 w 442"/>
                <a:gd name="T19" fmla="*/ 389 h 449"/>
                <a:gd name="T20" fmla="*/ 201 w 442"/>
                <a:gd name="T21" fmla="*/ 449 h 449"/>
                <a:gd name="T22" fmla="*/ 292 w 442"/>
                <a:gd name="T23" fmla="*/ 439 h 449"/>
                <a:gd name="T24" fmla="*/ 285 w 442"/>
                <a:gd name="T25" fmla="*/ 378 h 449"/>
                <a:gd name="T26" fmla="*/ 349 w 442"/>
                <a:gd name="T27" fmla="*/ 330 h 449"/>
                <a:gd name="T28" fmla="*/ 405 w 442"/>
                <a:gd name="T29" fmla="*/ 354 h 449"/>
                <a:gd name="T30" fmla="*/ 442 w 442"/>
                <a:gd name="T31" fmla="*/ 270 h 449"/>
                <a:gd name="T32" fmla="*/ 385 w 442"/>
                <a:gd name="T33" fmla="*/ 246 h 449"/>
                <a:gd name="T34" fmla="*/ 376 w 442"/>
                <a:gd name="T35" fmla="*/ 166 h 449"/>
                <a:gd name="T36" fmla="*/ 425 w 442"/>
                <a:gd name="T37" fmla="*/ 130 h 449"/>
                <a:gd name="T38" fmla="*/ 370 w 442"/>
                <a:gd name="T39" fmla="*/ 56 h 449"/>
                <a:gd name="T40" fmla="*/ 321 w 442"/>
                <a:gd name="T41" fmla="*/ 93 h 449"/>
                <a:gd name="T42" fmla="*/ 248 w 442"/>
                <a:gd name="T43" fmla="*/ 61 h 449"/>
                <a:gd name="T44" fmla="*/ 241 w 442"/>
                <a:gd name="T45" fmla="*/ 0 h 449"/>
                <a:gd name="T46" fmla="*/ 149 w 442"/>
                <a:gd name="T47" fmla="*/ 11 h 449"/>
                <a:gd name="T48" fmla="*/ 156 w 442"/>
                <a:gd name="T49" fmla="*/ 72 h 449"/>
                <a:gd name="T50" fmla="*/ 93 w 442"/>
                <a:gd name="T51" fmla="*/ 119 h 449"/>
                <a:gd name="T52" fmla="*/ 36 w 442"/>
                <a:gd name="T53" fmla="*/ 95 h 449"/>
                <a:gd name="T54" fmla="*/ 0 w 442"/>
                <a:gd name="T55" fmla="*/ 180 h 449"/>
                <a:gd name="T56" fmla="*/ 56 w 442"/>
                <a:gd name="T57" fmla="*/ 204 h 449"/>
                <a:gd name="T58" fmla="*/ 65 w 442"/>
                <a:gd name="T59" fmla="*/ 283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2" h="449">
                  <a:moveTo>
                    <a:pt x="211" y="137"/>
                  </a:moveTo>
                  <a:cubicBezTo>
                    <a:pt x="259" y="132"/>
                    <a:pt x="303" y="166"/>
                    <a:pt x="308" y="215"/>
                  </a:cubicBezTo>
                  <a:cubicBezTo>
                    <a:pt x="314" y="263"/>
                    <a:pt x="279" y="307"/>
                    <a:pt x="231" y="312"/>
                  </a:cubicBezTo>
                  <a:cubicBezTo>
                    <a:pt x="183" y="318"/>
                    <a:pt x="139" y="283"/>
                    <a:pt x="133" y="235"/>
                  </a:cubicBezTo>
                  <a:cubicBezTo>
                    <a:pt x="128" y="187"/>
                    <a:pt x="162" y="143"/>
                    <a:pt x="211" y="137"/>
                  </a:cubicBezTo>
                  <a:close/>
                  <a:moveTo>
                    <a:pt x="65" y="283"/>
                  </a:moveTo>
                  <a:cubicBezTo>
                    <a:pt x="16" y="320"/>
                    <a:pt x="16" y="320"/>
                    <a:pt x="16" y="320"/>
                  </a:cubicBezTo>
                  <a:cubicBezTo>
                    <a:pt x="71" y="394"/>
                    <a:pt x="71" y="394"/>
                    <a:pt x="71" y="394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94" y="389"/>
                    <a:pt x="194" y="389"/>
                    <a:pt x="194" y="389"/>
                  </a:cubicBezTo>
                  <a:cubicBezTo>
                    <a:pt x="201" y="449"/>
                    <a:pt x="201" y="449"/>
                    <a:pt x="201" y="449"/>
                  </a:cubicBezTo>
                  <a:cubicBezTo>
                    <a:pt x="292" y="439"/>
                    <a:pt x="292" y="439"/>
                    <a:pt x="292" y="439"/>
                  </a:cubicBezTo>
                  <a:cubicBezTo>
                    <a:pt x="285" y="378"/>
                    <a:pt x="285" y="378"/>
                    <a:pt x="285" y="378"/>
                  </a:cubicBezTo>
                  <a:cubicBezTo>
                    <a:pt x="349" y="330"/>
                    <a:pt x="349" y="330"/>
                    <a:pt x="349" y="330"/>
                  </a:cubicBezTo>
                  <a:cubicBezTo>
                    <a:pt x="405" y="354"/>
                    <a:pt x="405" y="354"/>
                    <a:pt x="405" y="354"/>
                  </a:cubicBezTo>
                  <a:cubicBezTo>
                    <a:pt x="442" y="270"/>
                    <a:pt x="442" y="270"/>
                    <a:pt x="442" y="270"/>
                  </a:cubicBezTo>
                  <a:cubicBezTo>
                    <a:pt x="385" y="246"/>
                    <a:pt x="385" y="246"/>
                    <a:pt x="385" y="246"/>
                  </a:cubicBezTo>
                  <a:cubicBezTo>
                    <a:pt x="376" y="166"/>
                    <a:pt x="376" y="166"/>
                    <a:pt x="376" y="166"/>
                  </a:cubicBezTo>
                  <a:cubicBezTo>
                    <a:pt x="425" y="130"/>
                    <a:pt x="425" y="130"/>
                    <a:pt x="425" y="130"/>
                  </a:cubicBezTo>
                  <a:cubicBezTo>
                    <a:pt x="370" y="56"/>
                    <a:pt x="370" y="56"/>
                    <a:pt x="370" y="56"/>
                  </a:cubicBezTo>
                  <a:cubicBezTo>
                    <a:pt x="321" y="93"/>
                    <a:pt x="321" y="93"/>
                    <a:pt x="321" y="93"/>
                  </a:cubicBezTo>
                  <a:cubicBezTo>
                    <a:pt x="248" y="61"/>
                    <a:pt x="248" y="61"/>
                    <a:pt x="248" y="61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56" y="72"/>
                    <a:pt x="156" y="72"/>
                    <a:pt x="156" y="72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36" y="95"/>
                    <a:pt x="36" y="95"/>
                    <a:pt x="36" y="95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56" y="204"/>
                    <a:pt x="56" y="204"/>
                    <a:pt x="56" y="204"/>
                  </a:cubicBezTo>
                  <a:lnTo>
                    <a:pt x="65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6" name="Freeform 16">
              <a:extLst>
                <a:ext uri="{FF2B5EF4-FFF2-40B4-BE49-F238E27FC236}">
                  <a16:creationId xmlns:a16="http://schemas.microsoft.com/office/drawing/2014/main" id="{29E6A11B-5125-480E-A7DF-B9E84E8601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0313" y="6340475"/>
              <a:ext cx="5073650" cy="4994275"/>
            </a:xfrm>
            <a:custGeom>
              <a:avLst/>
              <a:gdLst>
                <a:gd name="T0" fmla="*/ 306 w 449"/>
                <a:gd name="T1" fmla="*/ 256 h 442"/>
                <a:gd name="T2" fmla="*/ 190 w 449"/>
                <a:gd name="T3" fmla="*/ 302 h 442"/>
                <a:gd name="T4" fmla="*/ 144 w 449"/>
                <a:gd name="T5" fmla="*/ 186 h 442"/>
                <a:gd name="T6" fmla="*/ 259 w 449"/>
                <a:gd name="T7" fmla="*/ 140 h 442"/>
                <a:gd name="T8" fmla="*/ 306 w 449"/>
                <a:gd name="T9" fmla="*/ 256 h 442"/>
                <a:gd name="T10" fmla="*/ 449 w 449"/>
                <a:gd name="T11" fmla="*/ 240 h 442"/>
                <a:gd name="T12" fmla="*/ 438 w 449"/>
                <a:gd name="T13" fmla="*/ 149 h 442"/>
                <a:gd name="T14" fmla="*/ 377 w 449"/>
                <a:gd name="T15" fmla="*/ 156 h 442"/>
                <a:gd name="T16" fmla="*/ 330 w 449"/>
                <a:gd name="T17" fmla="*/ 92 h 442"/>
                <a:gd name="T18" fmla="*/ 354 w 449"/>
                <a:gd name="T19" fmla="*/ 36 h 442"/>
                <a:gd name="T20" fmla="*/ 269 w 449"/>
                <a:gd name="T21" fmla="*/ 0 h 442"/>
                <a:gd name="T22" fmla="*/ 245 w 449"/>
                <a:gd name="T23" fmla="*/ 56 h 442"/>
                <a:gd name="T24" fmla="*/ 166 w 449"/>
                <a:gd name="T25" fmla="*/ 66 h 442"/>
                <a:gd name="T26" fmla="*/ 129 w 449"/>
                <a:gd name="T27" fmla="*/ 17 h 442"/>
                <a:gd name="T28" fmla="*/ 55 w 449"/>
                <a:gd name="T29" fmla="*/ 72 h 442"/>
                <a:gd name="T30" fmla="*/ 92 w 449"/>
                <a:gd name="T31" fmla="*/ 121 h 442"/>
                <a:gd name="T32" fmla="*/ 61 w 449"/>
                <a:gd name="T33" fmla="*/ 194 h 442"/>
                <a:gd name="T34" fmla="*/ 0 w 449"/>
                <a:gd name="T35" fmla="*/ 202 h 442"/>
                <a:gd name="T36" fmla="*/ 11 w 449"/>
                <a:gd name="T37" fmla="*/ 293 h 442"/>
                <a:gd name="T38" fmla="*/ 72 w 449"/>
                <a:gd name="T39" fmla="*/ 286 h 442"/>
                <a:gd name="T40" fmla="*/ 120 w 449"/>
                <a:gd name="T41" fmla="*/ 350 h 442"/>
                <a:gd name="T42" fmla="*/ 96 w 449"/>
                <a:gd name="T43" fmla="*/ 406 h 442"/>
                <a:gd name="T44" fmla="*/ 180 w 449"/>
                <a:gd name="T45" fmla="*/ 442 h 442"/>
                <a:gd name="T46" fmla="*/ 205 w 449"/>
                <a:gd name="T47" fmla="*/ 386 h 442"/>
                <a:gd name="T48" fmla="*/ 284 w 449"/>
                <a:gd name="T49" fmla="*/ 376 h 442"/>
                <a:gd name="T50" fmla="*/ 320 w 449"/>
                <a:gd name="T51" fmla="*/ 425 h 442"/>
                <a:gd name="T52" fmla="*/ 394 w 449"/>
                <a:gd name="T53" fmla="*/ 370 h 442"/>
                <a:gd name="T54" fmla="*/ 357 w 449"/>
                <a:gd name="T55" fmla="*/ 321 h 442"/>
                <a:gd name="T56" fmla="*/ 389 w 449"/>
                <a:gd name="T57" fmla="*/ 248 h 442"/>
                <a:gd name="T58" fmla="*/ 449 w 449"/>
                <a:gd name="T59" fmla="*/ 24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9" h="442">
                  <a:moveTo>
                    <a:pt x="306" y="256"/>
                  </a:moveTo>
                  <a:cubicBezTo>
                    <a:pt x="287" y="300"/>
                    <a:pt x="235" y="321"/>
                    <a:pt x="190" y="302"/>
                  </a:cubicBezTo>
                  <a:cubicBezTo>
                    <a:pt x="145" y="283"/>
                    <a:pt x="125" y="231"/>
                    <a:pt x="144" y="186"/>
                  </a:cubicBezTo>
                  <a:cubicBezTo>
                    <a:pt x="163" y="142"/>
                    <a:pt x="215" y="121"/>
                    <a:pt x="259" y="140"/>
                  </a:cubicBezTo>
                  <a:cubicBezTo>
                    <a:pt x="304" y="159"/>
                    <a:pt x="325" y="211"/>
                    <a:pt x="306" y="256"/>
                  </a:cubicBezTo>
                  <a:close/>
                  <a:moveTo>
                    <a:pt x="449" y="240"/>
                  </a:moveTo>
                  <a:cubicBezTo>
                    <a:pt x="438" y="149"/>
                    <a:pt x="438" y="149"/>
                    <a:pt x="438" y="149"/>
                  </a:cubicBezTo>
                  <a:cubicBezTo>
                    <a:pt x="377" y="156"/>
                    <a:pt x="377" y="156"/>
                    <a:pt x="377" y="156"/>
                  </a:cubicBezTo>
                  <a:cubicBezTo>
                    <a:pt x="330" y="92"/>
                    <a:pt x="330" y="92"/>
                    <a:pt x="330" y="92"/>
                  </a:cubicBezTo>
                  <a:cubicBezTo>
                    <a:pt x="354" y="36"/>
                    <a:pt x="354" y="36"/>
                    <a:pt x="354" y="36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245" y="56"/>
                    <a:pt x="245" y="56"/>
                    <a:pt x="245" y="56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92" y="121"/>
                    <a:pt x="92" y="121"/>
                    <a:pt x="92" y="121"/>
                  </a:cubicBezTo>
                  <a:cubicBezTo>
                    <a:pt x="61" y="194"/>
                    <a:pt x="61" y="194"/>
                    <a:pt x="61" y="194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11" y="293"/>
                    <a:pt x="11" y="293"/>
                    <a:pt x="11" y="293"/>
                  </a:cubicBezTo>
                  <a:cubicBezTo>
                    <a:pt x="72" y="286"/>
                    <a:pt x="72" y="286"/>
                    <a:pt x="72" y="286"/>
                  </a:cubicBezTo>
                  <a:cubicBezTo>
                    <a:pt x="120" y="350"/>
                    <a:pt x="120" y="350"/>
                    <a:pt x="120" y="350"/>
                  </a:cubicBezTo>
                  <a:cubicBezTo>
                    <a:pt x="96" y="406"/>
                    <a:pt x="96" y="406"/>
                    <a:pt x="96" y="406"/>
                  </a:cubicBezTo>
                  <a:cubicBezTo>
                    <a:pt x="180" y="442"/>
                    <a:pt x="180" y="442"/>
                    <a:pt x="180" y="442"/>
                  </a:cubicBezTo>
                  <a:cubicBezTo>
                    <a:pt x="205" y="386"/>
                    <a:pt x="205" y="386"/>
                    <a:pt x="205" y="386"/>
                  </a:cubicBezTo>
                  <a:cubicBezTo>
                    <a:pt x="284" y="376"/>
                    <a:pt x="284" y="376"/>
                    <a:pt x="284" y="376"/>
                  </a:cubicBezTo>
                  <a:cubicBezTo>
                    <a:pt x="320" y="425"/>
                    <a:pt x="320" y="425"/>
                    <a:pt x="320" y="425"/>
                  </a:cubicBezTo>
                  <a:cubicBezTo>
                    <a:pt x="394" y="370"/>
                    <a:pt x="394" y="370"/>
                    <a:pt x="394" y="370"/>
                  </a:cubicBezTo>
                  <a:cubicBezTo>
                    <a:pt x="357" y="321"/>
                    <a:pt x="357" y="321"/>
                    <a:pt x="357" y="321"/>
                  </a:cubicBezTo>
                  <a:cubicBezTo>
                    <a:pt x="389" y="248"/>
                    <a:pt x="389" y="248"/>
                    <a:pt x="389" y="248"/>
                  </a:cubicBezTo>
                  <a:lnTo>
                    <a:pt x="449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7" name="Freeform 17">
              <a:extLst>
                <a:ext uri="{FF2B5EF4-FFF2-40B4-BE49-F238E27FC236}">
                  <a16:creationId xmlns:a16="http://schemas.microsoft.com/office/drawing/2014/main" id="{B400ADFA-EE48-4CE4-AAAE-F1EE609A8C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8100" y="1638300"/>
              <a:ext cx="7627938" cy="7616825"/>
            </a:xfrm>
            <a:custGeom>
              <a:avLst/>
              <a:gdLst>
                <a:gd name="T0" fmla="*/ 337 w 675"/>
                <a:gd name="T1" fmla="*/ 485 h 674"/>
                <a:gd name="T2" fmla="*/ 189 w 675"/>
                <a:gd name="T3" fmla="*/ 337 h 674"/>
                <a:gd name="T4" fmla="*/ 337 w 675"/>
                <a:gd name="T5" fmla="*/ 189 h 674"/>
                <a:gd name="T6" fmla="*/ 486 w 675"/>
                <a:gd name="T7" fmla="*/ 337 h 674"/>
                <a:gd name="T8" fmla="*/ 337 w 675"/>
                <a:gd name="T9" fmla="*/ 485 h 674"/>
                <a:gd name="T10" fmla="*/ 571 w 675"/>
                <a:gd name="T11" fmla="*/ 479 h 674"/>
                <a:gd name="T12" fmla="*/ 602 w 675"/>
                <a:gd name="T13" fmla="*/ 401 h 674"/>
                <a:gd name="T14" fmla="*/ 675 w 675"/>
                <a:gd name="T15" fmla="*/ 395 h 674"/>
                <a:gd name="T16" fmla="*/ 675 w 675"/>
                <a:gd name="T17" fmla="*/ 279 h 674"/>
                <a:gd name="T18" fmla="*/ 602 w 675"/>
                <a:gd name="T19" fmla="*/ 272 h 674"/>
                <a:gd name="T20" fmla="*/ 571 w 675"/>
                <a:gd name="T21" fmla="*/ 195 h 674"/>
                <a:gd name="T22" fmla="*/ 617 w 675"/>
                <a:gd name="T23" fmla="*/ 139 h 674"/>
                <a:gd name="T24" fmla="*/ 535 w 675"/>
                <a:gd name="T25" fmla="*/ 57 h 674"/>
                <a:gd name="T26" fmla="*/ 479 w 675"/>
                <a:gd name="T27" fmla="*/ 104 h 674"/>
                <a:gd name="T28" fmla="*/ 402 w 675"/>
                <a:gd name="T29" fmla="*/ 72 h 674"/>
                <a:gd name="T30" fmla="*/ 395 w 675"/>
                <a:gd name="T31" fmla="*/ 0 h 674"/>
                <a:gd name="T32" fmla="*/ 279 w 675"/>
                <a:gd name="T33" fmla="*/ 0 h 674"/>
                <a:gd name="T34" fmla="*/ 273 w 675"/>
                <a:gd name="T35" fmla="*/ 72 h 674"/>
                <a:gd name="T36" fmla="*/ 195 w 675"/>
                <a:gd name="T37" fmla="*/ 103 h 674"/>
                <a:gd name="T38" fmla="*/ 140 w 675"/>
                <a:gd name="T39" fmla="*/ 57 h 674"/>
                <a:gd name="T40" fmla="*/ 58 w 675"/>
                <a:gd name="T41" fmla="*/ 139 h 674"/>
                <a:gd name="T42" fmla="*/ 104 w 675"/>
                <a:gd name="T43" fmla="*/ 195 h 674"/>
                <a:gd name="T44" fmla="*/ 72 w 675"/>
                <a:gd name="T45" fmla="*/ 272 h 674"/>
                <a:gd name="T46" fmla="*/ 0 w 675"/>
                <a:gd name="T47" fmla="*/ 279 h 674"/>
                <a:gd name="T48" fmla="*/ 0 w 675"/>
                <a:gd name="T49" fmla="*/ 395 h 674"/>
                <a:gd name="T50" fmla="*/ 72 w 675"/>
                <a:gd name="T51" fmla="*/ 401 h 674"/>
                <a:gd name="T52" fmla="*/ 104 w 675"/>
                <a:gd name="T53" fmla="*/ 479 h 674"/>
                <a:gd name="T54" fmla="*/ 58 w 675"/>
                <a:gd name="T55" fmla="*/ 534 h 674"/>
                <a:gd name="T56" fmla="*/ 140 w 675"/>
                <a:gd name="T57" fmla="*/ 616 h 674"/>
                <a:gd name="T58" fmla="*/ 195 w 675"/>
                <a:gd name="T59" fmla="*/ 570 h 674"/>
                <a:gd name="T60" fmla="*/ 273 w 675"/>
                <a:gd name="T61" fmla="*/ 602 h 674"/>
                <a:gd name="T62" fmla="*/ 279 w 675"/>
                <a:gd name="T63" fmla="*/ 674 h 674"/>
                <a:gd name="T64" fmla="*/ 395 w 675"/>
                <a:gd name="T65" fmla="*/ 674 h 674"/>
                <a:gd name="T66" fmla="*/ 402 w 675"/>
                <a:gd name="T67" fmla="*/ 602 h 674"/>
                <a:gd name="T68" fmla="*/ 479 w 675"/>
                <a:gd name="T69" fmla="*/ 570 h 674"/>
                <a:gd name="T70" fmla="*/ 535 w 675"/>
                <a:gd name="T71" fmla="*/ 616 h 674"/>
                <a:gd name="T72" fmla="*/ 617 w 675"/>
                <a:gd name="T73" fmla="*/ 534 h 674"/>
                <a:gd name="T74" fmla="*/ 571 w 675"/>
                <a:gd name="T75" fmla="*/ 479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5" h="674">
                  <a:moveTo>
                    <a:pt x="337" y="485"/>
                  </a:moveTo>
                  <a:cubicBezTo>
                    <a:pt x="255" y="485"/>
                    <a:pt x="189" y="419"/>
                    <a:pt x="189" y="337"/>
                  </a:cubicBezTo>
                  <a:cubicBezTo>
                    <a:pt x="189" y="255"/>
                    <a:pt x="255" y="189"/>
                    <a:pt x="337" y="189"/>
                  </a:cubicBezTo>
                  <a:cubicBezTo>
                    <a:pt x="419" y="189"/>
                    <a:pt x="486" y="255"/>
                    <a:pt x="486" y="337"/>
                  </a:cubicBezTo>
                  <a:cubicBezTo>
                    <a:pt x="486" y="419"/>
                    <a:pt x="419" y="485"/>
                    <a:pt x="337" y="485"/>
                  </a:cubicBezTo>
                  <a:close/>
                  <a:moveTo>
                    <a:pt x="571" y="479"/>
                  </a:moveTo>
                  <a:cubicBezTo>
                    <a:pt x="602" y="401"/>
                    <a:pt x="602" y="401"/>
                    <a:pt x="602" y="401"/>
                  </a:cubicBezTo>
                  <a:cubicBezTo>
                    <a:pt x="675" y="395"/>
                    <a:pt x="675" y="395"/>
                    <a:pt x="675" y="395"/>
                  </a:cubicBezTo>
                  <a:cubicBezTo>
                    <a:pt x="675" y="279"/>
                    <a:pt x="675" y="279"/>
                    <a:pt x="675" y="279"/>
                  </a:cubicBezTo>
                  <a:cubicBezTo>
                    <a:pt x="602" y="272"/>
                    <a:pt x="602" y="272"/>
                    <a:pt x="602" y="272"/>
                  </a:cubicBezTo>
                  <a:cubicBezTo>
                    <a:pt x="571" y="195"/>
                    <a:pt x="571" y="195"/>
                    <a:pt x="571" y="195"/>
                  </a:cubicBezTo>
                  <a:cubicBezTo>
                    <a:pt x="617" y="139"/>
                    <a:pt x="617" y="139"/>
                    <a:pt x="617" y="139"/>
                  </a:cubicBezTo>
                  <a:cubicBezTo>
                    <a:pt x="535" y="57"/>
                    <a:pt x="535" y="57"/>
                    <a:pt x="535" y="57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02" y="72"/>
                    <a:pt x="402" y="72"/>
                    <a:pt x="402" y="72"/>
                  </a:cubicBezTo>
                  <a:cubicBezTo>
                    <a:pt x="395" y="0"/>
                    <a:pt x="395" y="0"/>
                    <a:pt x="395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3" y="72"/>
                    <a:pt x="273" y="72"/>
                    <a:pt x="273" y="72"/>
                  </a:cubicBezTo>
                  <a:cubicBezTo>
                    <a:pt x="195" y="103"/>
                    <a:pt x="195" y="103"/>
                    <a:pt x="195" y="103"/>
                  </a:cubicBezTo>
                  <a:cubicBezTo>
                    <a:pt x="140" y="57"/>
                    <a:pt x="140" y="57"/>
                    <a:pt x="140" y="57"/>
                  </a:cubicBezTo>
                  <a:cubicBezTo>
                    <a:pt x="58" y="139"/>
                    <a:pt x="58" y="139"/>
                    <a:pt x="58" y="139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72" y="272"/>
                    <a:pt x="72" y="272"/>
                    <a:pt x="72" y="272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0" y="395"/>
                    <a:pt x="0" y="395"/>
                    <a:pt x="0" y="395"/>
                  </a:cubicBezTo>
                  <a:cubicBezTo>
                    <a:pt x="72" y="401"/>
                    <a:pt x="72" y="401"/>
                    <a:pt x="72" y="401"/>
                  </a:cubicBezTo>
                  <a:cubicBezTo>
                    <a:pt x="104" y="479"/>
                    <a:pt x="104" y="479"/>
                    <a:pt x="104" y="479"/>
                  </a:cubicBezTo>
                  <a:cubicBezTo>
                    <a:pt x="58" y="534"/>
                    <a:pt x="58" y="534"/>
                    <a:pt x="58" y="534"/>
                  </a:cubicBezTo>
                  <a:cubicBezTo>
                    <a:pt x="140" y="616"/>
                    <a:pt x="140" y="616"/>
                    <a:pt x="140" y="616"/>
                  </a:cubicBezTo>
                  <a:cubicBezTo>
                    <a:pt x="195" y="570"/>
                    <a:pt x="195" y="570"/>
                    <a:pt x="195" y="570"/>
                  </a:cubicBezTo>
                  <a:cubicBezTo>
                    <a:pt x="273" y="602"/>
                    <a:pt x="273" y="602"/>
                    <a:pt x="273" y="602"/>
                  </a:cubicBezTo>
                  <a:cubicBezTo>
                    <a:pt x="279" y="674"/>
                    <a:pt x="279" y="674"/>
                    <a:pt x="279" y="674"/>
                  </a:cubicBezTo>
                  <a:cubicBezTo>
                    <a:pt x="395" y="674"/>
                    <a:pt x="395" y="674"/>
                    <a:pt x="395" y="674"/>
                  </a:cubicBezTo>
                  <a:cubicBezTo>
                    <a:pt x="402" y="602"/>
                    <a:pt x="402" y="602"/>
                    <a:pt x="402" y="602"/>
                  </a:cubicBezTo>
                  <a:cubicBezTo>
                    <a:pt x="479" y="570"/>
                    <a:pt x="479" y="570"/>
                    <a:pt x="479" y="570"/>
                  </a:cubicBezTo>
                  <a:cubicBezTo>
                    <a:pt x="535" y="616"/>
                    <a:pt x="535" y="616"/>
                    <a:pt x="535" y="616"/>
                  </a:cubicBezTo>
                  <a:cubicBezTo>
                    <a:pt x="617" y="534"/>
                    <a:pt x="617" y="534"/>
                    <a:pt x="617" y="534"/>
                  </a:cubicBezTo>
                  <a:lnTo>
                    <a:pt x="571" y="4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1D6915C7-91EA-4A77-8667-E2F813172B01}"/>
              </a:ext>
            </a:extLst>
          </p:cNvPr>
          <p:cNvGrpSpPr/>
          <p:nvPr userDrawn="1"/>
        </p:nvGrpSpPr>
        <p:grpSpPr>
          <a:xfrm>
            <a:off x="11217797" y="1860685"/>
            <a:ext cx="192111" cy="290045"/>
            <a:chOff x="-3947158" y="1719597"/>
            <a:chExt cx="3385092" cy="5109416"/>
          </a:xfrm>
          <a:solidFill>
            <a:schemeClr val="bg1">
              <a:alpha val="80000"/>
            </a:schemeClr>
          </a:solidFill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F35BCE20-6C8D-4664-806E-0F80F98F4937}"/>
                </a:ext>
              </a:extLst>
            </p:cNvPr>
            <p:cNvSpPr/>
            <p:nvPr/>
          </p:nvSpPr>
          <p:spPr>
            <a:xfrm>
              <a:off x="-3624517" y="2322583"/>
              <a:ext cx="3062451" cy="218046"/>
            </a:xfrm>
            <a:prstGeom prst="rect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60967764-FB60-4F58-A1A6-AA278A35F221}"/>
                </a:ext>
              </a:extLst>
            </p:cNvPr>
            <p:cNvSpPr/>
            <p:nvPr/>
          </p:nvSpPr>
          <p:spPr>
            <a:xfrm>
              <a:off x="-3947158" y="3738067"/>
              <a:ext cx="1988090" cy="3089947"/>
            </a:xfrm>
            <a:custGeom>
              <a:avLst/>
              <a:gdLst>
                <a:gd name="connsiteX0" fmla="*/ 1536585 w 1988090"/>
                <a:gd name="connsiteY0" fmla="*/ 279 h 3089947"/>
                <a:gd name="connsiteX1" fmla="*/ 1493799 w 1988090"/>
                <a:gd name="connsiteY1" fmla="*/ 6084 h 3089947"/>
                <a:gd name="connsiteX2" fmla="*/ 994045 w 1988090"/>
                <a:gd name="connsiteY2" fmla="*/ 201257 h 3089947"/>
                <a:gd name="connsiteX3" fmla="*/ 494330 w 1988090"/>
                <a:gd name="connsiteY3" fmla="*/ 6122 h 3089947"/>
                <a:gd name="connsiteX4" fmla="*/ 451390 w 1988090"/>
                <a:gd name="connsiteY4" fmla="*/ 317 h 3089947"/>
                <a:gd name="connsiteX5" fmla="*/ 362549 w 1988090"/>
                <a:gd name="connsiteY5" fmla="*/ 12004 h 3089947"/>
                <a:gd name="connsiteX6" fmla="*/ 126819 w 1988090"/>
                <a:gd name="connsiteY6" fmla="*/ 305590 h 3089947"/>
                <a:gd name="connsiteX7" fmla="*/ 36 w 1988090"/>
                <a:gd name="connsiteY7" fmla="*/ 1551706 h 3089947"/>
                <a:gd name="connsiteX8" fmla="*/ 56470 w 1988090"/>
                <a:gd name="connsiteY8" fmla="*/ 1695481 h 3089947"/>
                <a:gd name="connsiteX9" fmla="*/ 198053 w 1988090"/>
                <a:gd name="connsiteY9" fmla="*/ 1757220 h 3089947"/>
                <a:gd name="connsiteX10" fmla="*/ 199975 w 1988090"/>
                <a:gd name="connsiteY10" fmla="*/ 1757258 h 3089947"/>
                <a:gd name="connsiteX11" fmla="*/ 201898 w 1988090"/>
                <a:gd name="connsiteY11" fmla="*/ 1757258 h 3089947"/>
                <a:gd name="connsiteX12" fmla="*/ 290969 w 1988090"/>
                <a:gd name="connsiteY12" fmla="*/ 1736154 h 3089947"/>
                <a:gd name="connsiteX13" fmla="*/ 359743 w 1988090"/>
                <a:gd name="connsiteY13" fmla="*/ 1679873 h 3089947"/>
                <a:gd name="connsiteX14" fmla="*/ 359743 w 1988090"/>
                <a:gd name="connsiteY14" fmla="*/ 2240751 h 3089947"/>
                <a:gd name="connsiteX15" fmla="*/ 359743 w 1988090"/>
                <a:gd name="connsiteY15" fmla="*/ 2801628 h 3089947"/>
                <a:gd name="connsiteX16" fmla="*/ 444201 w 1988090"/>
                <a:gd name="connsiteY16" fmla="*/ 3005489 h 3089947"/>
                <a:gd name="connsiteX17" fmla="*/ 648062 w 1988090"/>
                <a:gd name="connsiteY17" fmla="*/ 3089947 h 3089947"/>
                <a:gd name="connsiteX18" fmla="*/ 851923 w 1988090"/>
                <a:gd name="connsiteY18" fmla="*/ 3005489 h 3089947"/>
                <a:gd name="connsiteX19" fmla="*/ 936382 w 1988090"/>
                <a:gd name="connsiteY19" fmla="*/ 2801628 h 3089947"/>
                <a:gd name="connsiteX20" fmla="*/ 936382 w 1988090"/>
                <a:gd name="connsiteY20" fmla="*/ 2340317 h 3089947"/>
                <a:gd name="connsiteX21" fmla="*/ 936382 w 1988090"/>
                <a:gd name="connsiteY21" fmla="*/ 1879006 h 3089947"/>
                <a:gd name="connsiteX22" fmla="*/ 994045 w 1988090"/>
                <a:gd name="connsiteY22" fmla="*/ 1879006 h 3089947"/>
                <a:gd name="connsiteX23" fmla="*/ 1051709 w 1988090"/>
                <a:gd name="connsiteY23" fmla="*/ 1879006 h 3089947"/>
                <a:gd name="connsiteX24" fmla="*/ 1051709 w 1988090"/>
                <a:gd name="connsiteY24" fmla="*/ 2340317 h 3089947"/>
                <a:gd name="connsiteX25" fmla="*/ 1051709 w 1988090"/>
                <a:gd name="connsiteY25" fmla="*/ 2801628 h 3089947"/>
                <a:gd name="connsiteX26" fmla="*/ 1136167 w 1988090"/>
                <a:gd name="connsiteY26" fmla="*/ 3005489 h 3089947"/>
                <a:gd name="connsiteX27" fmla="*/ 1340029 w 1988090"/>
                <a:gd name="connsiteY27" fmla="*/ 3089947 h 3089947"/>
                <a:gd name="connsiteX28" fmla="*/ 1543889 w 1988090"/>
                <a:gd name="connsiteY28" fmla="*/ 3005489 h 3089947"/>
                <a:gd name="connsiteX29" fmla="*/ 1628348 w 1988090"/>
                <a:gd name="connsiteY29" fmla="*/ 2801628 h 3089947"/>
                <a:gd name="connsiteX30" fmla="*/ 1628348 w 1988090"/>
                <a:gd name="connsiteY30" fmla="*/ 2263432 h 3089947"/>
                <a:gd name="connsiteX31" fmla="*/ 1628348 w 1988090"/>
                <a:gd name="connsiteY31" fmla="*/ 1725313 h 3089947"/>
                <a:gd name="connsiteX32" fmla="*/ 1628348 w 1988090"/>
                <a:gd name="connsiteY32" fmla="*/ 1725236 h 3089947"/>
                <a:gd name="connsiteX33" fmla="*/ 1628348 w 1988090"/>
                <a:gd name="connsiteY33" fmla="*/ 1725159 h 3089947"/>
                <a:gd name="connsiteX34" fmla="*/ 1628348 w 1988090"/>
                <a:gd name="connsiteY34" fmla="*/ 1702478 h 3089947"/>
                <a:gd name="connsiteX35" fmla="*/ 1628348 w 1988090"/>
                <a:gd name="connsiteY35" fmla="*/ 1679797 h 3089947"/>
                <a:gd name="connsiteX36" fmla="*/ 1697122 w 1988090"/>
                <a:gd name="connsiteY36" fmla="*/ 1736115 h 3089947"/>
                <a:gd name="connsiteX37" fmla="*/ 1786193 w 1988090"/>
                <a:gd name="connsiteY37" fmla="*/ 1757220 h 3089947"/>
                <a:gd name="connsiteX38" fmla="*/ 1788115 w 1988090"/>
                <a:gd name="connsiteY38" fmla="*/ 1757220 h 3089947"/>
                <a:gd name="connsiteX39" fmla="*/ 1790037 w 1988090"/>
                <a:gd name="connsiteY39" fmla="*/ 1757182 h 3089947"/>
                <a:gd name="connsiteX40" fmla="*/ 1931621 w 1988090"/>
                <a:gd name="connsiteY40" fmla="*/ 1695443 h 3089947"/>
                <a:gd name="connsiteX41" fmla="*/ 1988055 w 1988090"/>
                <a:gd name="connsiteY41" fmla="*/ 1551668 h 3089947"/>
                <a:gd name="connsiteX42" fmla="*/ 1861233 w 1988090"/>
                <a:gd name="connsiteY42" fmla="*/ 305552 h 3089947"/>
                <a:gd name="connsiteX43" fmla="*/ 1625465 w 1988090"/>
                <a:gd name="connsiteY43" fmla="*/ 11966 h 3089947"/>
                <a:gd name="connsiteX44" fmla="*/ 1536585 w 1988090"/>
                <a:gd name="connsiteY44" fmla="*/ 279 h 308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988090" h="3089947">
                  <a:moveTo>
                    <a:pt x="1536585" y="279"/>
                  </a:moveTo>
                  <a:cubicBezTo>
                    <a:pt x="1521939" y="971"/>
                    <a:pt x="1507676" y="3008"/>
                    <a:pt x="1493799" y="6084"/>
                  </a:cubicBezTo>
                  <a:cubicBezTo>
                    <a:pt x="1361787" y="126870"/>
                    <a:pt x="1186643" y="201257"/>
                    <a:pt x="994045" y="201257"/>
                  </a:cubicBezTo>
                  <a:cubicBezTo>
                    <a:pt x="801448" y="201257"/>
                    <a:pt x="626342" y="126870"/>
                    <a:pt x="494330" y="6122"/>
                  </a:cubicBezTo>
                  <a:cubicBezTo>
                    <a:pt x="480414" y="3047"/>
                    <a:pt x="466075" y="1009"/>
                    <a:pt x="451390" y="317"/>
                  </a:cubicBezTo>
                  <a:cubicBezTo>
                    <a:pt x="422827" y="-1028"/>
                    <a:pt x="392996" y="2432"/>
                    <a:pt x="362549" y="12004"/>
                  </a:cubicBezTo>
                  <a:cubicBezTo>
                    <a:pt x="277591" y="38683"/>
                    <a:pt x="193133" y="92772"/>
                    <a:pt x="126819" y="305590"/>
                  </a:cubicBezTo>
                  <a:cubicBezTo>
                    <a:pt x="60506" y="518408"/>
                    <a:pt x="12337" y="889994"/>
                    <a:pt x="36" y="1551706"/>
                  </a:cubicBezTo>
                  <a:cubicBezTo>
                    <a:pt x="-1002" y="1607409"/>
                    <a:pt x="20641" y="1658308"/>
                    <a:pt x="56470" y="1695481"/>
                  </a:cubicBezTo>
                  <a:cubicBezTo>
                    <a:pt x="92298" y="1732655"/>
                    <a:pt x="142312" y="1756221"/>
                    <a:pt x="198053" y="1757220"/>
                  </a:cubicBezTo>
                  <a:cubicBezTo>
                    <a:pt x="198707" y="1757220"/>
                    <a:pt x="199322" y="1757220"/>
                    <a:pt x="199975" y="1757258"/>
                  </a:cubicBezTo>
                  <a:cubicBezTo>
                    <a:pt x="200629" y="1757297"/>
                    <a:pt x="201244" y="1757258"/>
                    <a:pt x="201898" y="1757258"/>
                  </a:cubicBezTo>
                  <a:cubicBezTo>
                    <a:pt x="233920" y="1757258"/>
                    <a:pt x="264136" y="1749647"/>
                    <a:pt x="290969" y="1736154"/>
                  </a:cubicBezTo>
                  <a:cubicBezTo>
                    <a:pt x="317802" y="1722660"/>
                    <a:pt x="341214" y="1703323"/>
                    <a:pt x="359743" y="1679873"/>
                  </a:cubicBezTo>
                  <a:lnTo>
                    <a:pt x="359743" y="2240751"/>
                  </a:lnTo>
                  <a:lnTo>
                    <a:pt x="359743" y="2801628"/>
                  </a:lnTo>
                  <a:cubicBezTo>
                    <a:pt x="359743" y="2881243"/>
                    <a:pt x="391996" y="2953323"/>
                    <a:pt x="444201" y="3005489"/>
                  </a:cubicBezTo>
                  <a:cubicBezTo>
                    <a:pt x="496406" y="3057656"/>
                    <a:pt x="568447" y="3089947"/>
                    <a:pt x="648062" y="3089947"/>
                  </a:cubicBezTo>
                  <a:cubicBezTo>
                    <a:pt x="727677" y="3089947"/>
                    <a:pt x="799757" y="3057694"/>
                    <a:pt x="851923" y="3005489"/>
                  </a:cubicBezTo>
                  <a:cubicBezTo>
                    <a:pt x="904090" y="2953284"/>
                    <a:pt x="936382" y="2881243"/>
                    <a:pt x="936382" y="2801628"/>
                  </a:cubicBezTo>
                  <a:lnTo>
                    <a:pt x="936382" y="2340317"/>
                  </a:lnTo>
                  <a:lnTo>
                    <a:pt x="936382" y="1879006"/>
                  </a:lnTo>
                  <a:lnTo>
                    <a:pt x="994045" y="1879006"/>
                  </a:lnTo>
                  <a:lnTo>
                    <a:pt x="1051709" y="1879006"/>
                  </a:lnTo>
                  <a:lnTo>
                    <a:pt x="1051709" y="2340317"/>
                  </a:lnTo>
                  <a:lnTo>
                    <a:pt x="1051709" y="2801628"/>
                  </a:lnTo>
                  <a:cubicBezTo>
                    <a:pt x="1051709" y="2881243"/>
                    <a:pt x="1083962" y="2953323"/>
                    <a:pt x="1136167" y="3005489"/>
                  </a:cubicBezTo>
                  <a:cubicBezTo>
                    <a:pt x="1188372" y="3057656"/>
                    <a:pt x="1260414" y="3089947"/>
                    <a:pt x="1340029" y="3089947"/>
                  </a:cubicBezTo>
                  <a:cubicBezTo>
                    <a:pt x="1419643" y="3089947"/>
                    <a:pt x="1491723" y="3057694"/>
                    <a:pt x="1543889" y="3005489"/>
                  </a:cubicBezTo>
                  <a:cubicBezTo>
                    <a:pt x="1596056" y="2953284"/>
                    <a:pt x="1628348" y="2881243"/>
                    <a:pt x="1628348" y="2801628"/>
                  </a:cubicBezTo>
                  <a:lnTo>
                    <a:pt x="1628348" y="2263432"/>
                  </a:lnTo>
                  <a:lnTo>
                    <a:pt x="1628348" y="1725313"/>
                  </a:lnTo>
                  <a:cubicBezTo>
                    <a:pt x="1628348" y="1725274"/>
                    <a:pt x="1628348" y="1725274"/>
                    <a:pt x="1628348" y="1725236"/>
                  </a:cubicBezTo>
                  <a:cubicBezTo>
                    <a:pt x="1628348" y="1725197"/>
                    <a:pt x="1628348" y="1725197"/>
                    <a:pt x="1628348" y="1725159"/>
                  </a:cubicBezTo>
                  <a:lnTo>
                    <a:pt x="1628348" y="1702478"/>
                  </a:lnTo>
                  <a:lnTo>
                    <a:pt x="1628348" y="1679797"/>
                  </a:lnTo>
                  <a:cubicBezTo>
                    <a:pt x="1646839" y="1703247"/>
                    <a:pt x="1670289" y="1722622"/>
                    <a:pt x="1697122" y="1736115"/>
                  </a:cubicBezTo>
                  <a:cubicBezTo>
                    <a:pt x="1723955" y="1749609"/>
                    <a:pt x="1754170" y="1757220"/>
                    <a:pt x="1786193" y="1757220"/>
                  </a:cubicBezTo>
                  <a:cubicBezTo>
                    <a:pt x="1786847" y="1757220"/>
                    <a:pt x="1787461" y="1757220"/>
                    <a:pt x="1788115" y="1757220"/>
                  </a:cubicBezTo>
                  <a:cubicBezTo>
                    <a:pt x="1788769" y="1757220"/>
                    <a:pt x="1789384" y="1757220"/>
                    <a:pt x="1790037" y="1757182"/>
                  </a:cubicBezTo>
                  <a:cubicBezTo>
                    <a:pt x="1845779" y="1756144"/>
                    <a:pt x="1895793" y="1732617"/>
                    <a:pt x="1931621" y="1695443"/>
                  </a:cubicBezTo>
                  <a:cubicBezTo>
                    <a:pt x="1967450" y="1658269"/>
                    <a:pt x="1989093" y="1607371"/>
                    <a:pt x="1988055" y="1551668"/>
                  </a:cubicBezTo>
                  <a:cubicBezTo>
                    <a:pt x="1975715" y="889955"/>
                    <a:pt x="1927585" y="518370"/>
                    <a:pt x="1861233" y="305552"/>
                  </a:cubicBezTo>
                  <a:cubicBezTo>
                    <a:pt x="1794881" y="92733"/>
                    <a:pt x="1710423" y="38683"/>
                    <a:pt x="1625465" y="11966"/>
                  </a:cubicBezTo>
                  <a:cubicBezTo>
                    <a:pt x="1594980" y="2393"/>
                    <a:pt x="1565148" y="-1066"/>
                    <a:pt x="1536585" y="27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8143169C-710D-4518-89B9-A50BAE3D9A01}"/>
                </a:ext>
              </a:extLst>
            </p:cNvPr>
            <p:cNvSpPr/>
            <p:nvPr/>
          </p:nvSpPr>
          <p:spPr>
            <a:xfrm>
              <a:off x="-3541246" y="2609288"/>
              <a:ext cx="1176265" cy="1176265"/>
            </a:xfrm>
            <a:custGeom>
              <a:avLst/>
              <a:gdLst>
                <a:gd name="connsiteX0" fmla="*/ 1176266 w 1176265"/>
                <a:gd name="connsiteY0" fmla="*/ 588133 h 1176265"/>
                <a:gd name="connsiteX1" fmla="*/ 588133 w 1176265"/>
                <a:gd name="connsiteY1" fmla="*/ 1176266 h 1176265"/>
                <a:gd name="connsiteX2" fmla="*/ 0 w 1176265"/>
                <a:gd name="connsiteY2" fmla="*/ 588133 h 1176265"/>
                <a:gd name="connsiteX3" fmla="*/ 588133 w 1176265"/>
                <a:gd name="connsiteY3" fmla="*/ 0 h 1176265"/>
                <a:gd name="connsiteX4" fmla="*/ 1176266 w 1176265"/>
                <a:gd name="connsiteY4" fmla="*/ 588133 h 117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6265" h="1176265">
                  <a:moveTo>
                    <a:pt x="1176266" y="588133"/>
                  </a:moveTo>
                  <a:cubicBezTo>
                    <a:pt x="1176266" y="912950"/>
                    <a:pt x="912950" y="1176266"/>
                    <a:pt x="588133" y="1176266"/>
                  </a:cubicBezTo>
                  <a:cubicBezTo>
                    <a:pt x="263316" y="1176266"/>
                    <a:pt x="0" y="912950"/>
                    <a:pt x="0" y="588133"/>
                  </a:cubicBezTo>
                  <a:cubicBezTo>
                    <a:pt x="0" y="263316"/>
                    <a:pt x="263316" y="0"/>
                    <a:pt x="588133" y="0"/>
                  </a:cubicBezTo>
                  <a:cubicBezTo>
                    <a:pt x="912950" y="0"/>
                    <a:pt x="1176266" y="263316"/>
                    <a:pt x="1176266" y="5881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97BC02B7-323E-49D7-A681-067BF306A690}"/>
                </a:ext>
              </a:extLst>
            </p:cNvPr>
            <p:cNvSpPr/>
            <p:nvPr/>
          </p:nvSpPr>
          <p:spPr>
            <a:xfrm>
              <a:off x="-1697617" y="2605328"/>
              <a:ext cx="956528" cy="4223685"/>
            </a:xfrm>
            <a:custGeom>
              <a:avLst/>
              <a:gdLst>
                <a:gd name="connsiteX0" fmla="*/ 956528 w 956528"/>
                <a:gd name="connsiteY0" fmla="*/ 4223686 h 4223685"/>
                <a:gd name="connsiteX1" fmla="*/ 956528 w 956528"/>
                <a:gd name="connsiteY1" fmla="*/ 0 h 4223685"/>
                <a:gd name="connsiteX2" fmla="*/ 900248 w 956528"/>
                <a:gd name="connsiteY2" fmla="*/ 0 h 4223685"/>
                <a:gd name="connsiteX3" fmla="*/ 900248 w 956528"/>
                <a:gd name="connsiteY3" fmla="*/ 4167445 h 4223685"/>
                <a:gd name="connsiteX4" fmla="*/ 56280 w 956528"/>
                <a:gd name="connsiteY4" fmla="*/ 4167445 h 4223685"/>
                <a:gd name="connsiteX5" fmla="*/ 56280 w 956528"/>
                <a:gd name="connsiteY5" fmla="*/ 3998643 h 4223685"/>
                <a:gd name="connsiteX6" fmla="*/ 337603 w 956528"/>
                <a:gd name="connsiteY6" fmla="*/ 3998643 h 4223685"/>
                <a:gd name="connsiteX7" fmla="*/ 337603 w 956528"/>
                <a:gd name="connsiteY7" fmla="*/ 3942363 h 4223685"/>
                <a:gd name="connsiteX8" fmla="*/ 56280 w 956528"/>
                <a:gd name="connsiteY8" fmla="*/ 3942363 h 4223685"/>
                <a:gd name="connsiteX9" fmla="*/ 56280 w 956528"/>
                <a:gd name="connsiteY9" fmla="*/ 3773562 h 4223685"/>
                <a:gd name="connsiteX10" fmla="*/ 337603 w 956528"/>
                <a:gd name="connsiteY10" fmla="*/ 3773562 h 4223685"/>
                <a:gd name="connsiteX11" fmla="*/ 337603 w 956528"/>
                <a:gd name="connsiteY11" fmla="*/ 3717321 h 4223685"/>
                <a:gd name="connsiteX12" fmla="*/ 56280 w 956528"/>
                <a:gd name="connsiteY12" fmla="*/ 3717321 h 4223685"/>
                <a:gd name="connsiteX13" fmla="*/ 56280 w 956528"/>
                <a:gd name="connsiteY13" fmla="*/ 3548519 h 4223685"/>
                <a:gd name="connsiteX14" fmla="*/ 337603 w 956528"/>
                <a:gd name="connsiteY14" fmla="*/ 3548519 h 4223685"/>
                <a:gd name="connsiteX15" fmla="*/ 337603 w 956528"/>
                <a:gd name="connsiteY15" fmla="*/ 3492239 h 4223685"/>
                <a:gd name="connsiteX16" fmla="*/ 56280 w 956528"/>
                <a:gd name="connsiteY16" fmla="*/ 3492239 h 4223685"/>
                <a:gd name="connsiteX17" fmla="*/ 56280 w 956528"/>
                <a:gd name="connsiteY17" fmla="*/ 3323438 h 4223685"/>
                <a:gd name="connsiteX18" fmla="*/ 675205 w 956528"/>
                <a:gd name="connsiteY18" fmla="*/ 3323438 h 4223685"/>
                <a:gd name="connsiteX19" fmla="*/ 675205 w 956528"/>
                <a:gd name="connsiteY19" fmla="*/ 3267158 h 4223685"/>
                <a:gd name="connsiteX20" fmla="*/ 56280 w 956528"/>
                <a:gd name="connsiteY20" fmla="*/ 3267158 h 4223685"/>
                <a:gd name="connsiteX21" fmla="*/ 56280 w 956528"/>
                <a:gd name="connsiteY21" fmla="*/ 3098395 h 4223685"/>
                <a:gd name="connsiteX22" fmla="*/ 337603 w 956528"/>
                <a:gd name="connsiteY22" fmla="*/ 3098395 h 4223685"/>
                <a:gd name="connsiteX23" fmla="*/ 337603 w 956528"/>
                <a:gd name="connsiteY23" fmla="*/ 3042115 h 4223685"/>
                <a:gd name="connsiteX24" fmla="*/ 56280 w 956528"/>
                <a:gd name="connsiteY24" fmla="*/ 3042115 h 4223685"/>
                <a:gd name="connsiteX25" fmla="*/ 56280 w 956528"/>
                <a:gd name="connsiteY25" fmla="*/ 2873314 h 4223685"/>
                <a:gd name="connsiteX26" fmla="*/ 337603 w 956528"/>
                <a:gd name="connsiteY26" fmla="*/ 2873314 h 4223685"/>
                <a:gd name="connsiteX27" fmla="*/ 337603 w 956528"/>
                <a:gd name="connsiteY27" fmla="*/ 2817034 h 4223685"/>
                <a:gd name="connsiteX28" fmla="*/ 56280 w 956528"/>
                <a:gd name="connsiteY28" fmla="*/ 2817034 h 4223685"/>
                <a:gd name="connsiteX29" fmla="*/ 56280 w 956528"/>
                <a:gd name="connsiteY29" fmla="*/ 2648233 h 4223685"/>
                <a:gd name="connsiteX30" fmla="*/ 337603 w 956528"/>
                <a:gd name="connsiteY30" fmla="*/ 2648233 h 4223685"/>
                <a:gd name="connsiteX31" fmla="*/ 337603 w 956528"/>
                <a:gd name="connsiteY31" fmla="*/ 2591991 h 4223685"/>
                <a:gd name="connsiteX32" fmla="*/ 56280 w 956528"/>
                <a:gd name="connsiteY32" fmla="*/ 2591991 h 4223685"/>
                <a:gd name="connsiteX33" fmla="*/ 56280 w 956528"/>
                <a:gd name="connsiteY33" fmla="*/ 2423190 h 4223685"/>
                <a:gd name="connsiteX34" fmla="*/ 675205 w 956528"/>
                <a:gd name="connsiteY34" fmla="*/ 2423190 h 4223685"/>
                <a:gd name="connsiteX35" fmla="*/ 675205 w 956528"/>
                <a:gd name="connsiteY35" fmla="*/ 2366909 h 4223685"/>
                <a:gd name="connsiteX36" fmla="*/ 56280 w 956528"/>
                <a:gd name="connsiteY36" fmla="*/ 2366909 h 4223685"/>
                <a:gd name="connsiteX37" fmla="*/ 56280 w 956528"/>
                <a:gd name="connsiteY37" fmla="*/ 2198108 h 4223685"/>
                <a:gd name="connsiteX38" fmla="*/ 337603 w 956528"/>
                <a:gd name="connsiteY38" fmla="*/ 2198108 h 4223685"/>
                <a:gd name="connsiteX39" fmla="*/ 337603 w 956528"/>
                <a:gd name="connsiteY39" fmla="*/ 2141867 h 4223685"/>
                <a:gd name="connsiteX40" fmla="*/ 56280 w 956528"/>
                <a:gd name="connsiteY40" fmla="*/ 2141867 h 4223685"/>
                <a:gd name="connsiteX41" fmla="*/ 56280 w 956528"/>
                <a:gd name="connsiteY41" fmla="*/ 1973065 h 4223685"/>
                <a:gd name="connsiteX42" fmla="*/ 337603 w 956528"/>
                <a:gd name="connsiteY42" fmla="*/ 1973065 h 4223685"/>
                <a:gd name="connsiteX43" fmla="*/ 337603 w 956528"/>
                <a:gd name="connsiteY43" fmla="*/ 1916785 h 4223685"/>
                <a:gd name="connsiteX44" fmla="*/ 56280 w 956528"/>
                <a:gd name="connsiteY44" fmla="*/ 1916785 h 4223685"/>
                <a:gd name="connsiteX45" fmla="*/ 56280 w 956528"/>
                <a:gd name="connsiteY45" fmla="*/ 1747984 h 4223685"/>
                <a:gd name="connsiteX46" fmla="*/ 337603 w 956528"/>
                <a:gd name="connsiteY46" fmla="*/ 1747984 h 4223685"/>
                <a:gd name="connsiteX47" fmla="*/ 337603 w 956528"/>
                <a:gd name="connsiteY47" fmla="*/ 1691704 h 4223685"/>
                <a:gd name="connsiteX48" fmla="*/ 56280 w 956528"/>
                <a:gd name="connsiteY48" fmla="*/ 1691704 h 4223685"/>
                <a:gd name="connsiteX49" fmla="*/ 56280 w 956528"/>
                <a:gd name="connsiteY49" fmla="*/ 1522941 h 4223685"/>
                <a:gd name="connsiteX50" fmla="*/ 675205 w 956528"/>
                <a:gd name="connsiteY50" fmla="*/ 1522941 h 4223685"/>
                <a:gd name="connsiteX51" fmla="*/ 675205 w 956528"/>
                <a:gd name="connsiteY51" fmla="*/ 1466661 h 4223685"/>
                <a:gd name="connsiteX52" fmla="*/ 56280 w 956528"/>
                <a:gd name="connsiteY52" fmla="*/ 1466661 h 4223685"/>
                <a:gd name="connsiteX53" fmla="*/ 56280 w 956528"/>
                <a:gd name="connsiteY53" fmla="*/ 1297860 h 4223685"/>
                <a:gd name="connsiteX54" fmla="*/ 337603 w 956528"/>
                <a:gd name="connsiteY54" fmla="*/ 1297860 h 4223685"/>
                <a:gd name="connsiteX55" fmla="*/ 337603 w 956528"/>
                <a:gd name="connsiteY55" fmla="*/ 1241580 h 4223685"/>
                <a:gd name="connsiteX56" fmla="*/ 56280 w 956528"/>
                <a:gd name="connsiteY56" fmla="*/ 1241580 h 4223685"/>
                <a:gd name="connsiteX57" fmla="*/ 56280 w 956528"/>
                <a:gd name="connsiteY57" fmla="*/ 1072779 h 4223685"/>
                <a:gd name="connsiteX58" fmla="*/ 337603 w 956528"/>
                <a:gd name="connsiteY58" fmla="*/ 1072779 h 4223685"/>
                <a:gd name="connsiteX59" fmla="*/ 337603 w 956528"/>
                <a:gd name="connsiteY59" fmla="*/ 1016537 h 4223685"/>
                <a:gd name="connsiteX60" fmla="*/ 56280 w 956528"/>
                <a:gd name="connsiteY60" fmla="*/ 1016537 h 4223685"/>
                <a:gd name="connsiteX61" fmla="*/ 56280 w 956528"/>
                <a:gd name="connsiteY61" fmla="*/ 847736 h 4223685"/>
                <a:gd name="connsiteX62" fmla="*/ 337603 w 956528"/>
                <a:gd name="connsiteY62" fmla="*/ 847736 h 4223685"/>
                <a:gd name="connsiteX63" fmla="*/ 337603 w 956528"/>
                <a:gd name="connsiteY63" fmla="*/ 791456 h 4223685"/>
                <a:gd name="connsiteX64" fmla="*/ 56280 w 956528"/>
                <a:gd name="connsiteY64" fmla="*/ 791456 h 4223685"/>
                <a:gd name="connsiteX65" fmla="*/ 56280 w 956528"/>
                <a:gd name="connsiteY65" fmla="*/ 622654 h 4223685"/>
                <a:gd name="connsiteX66" fmla="*/ 675205 w 956528"/>
                <a:gd name="connsiteY66" fmla="*/ 622654 h 4223685"/>
                <a:gd name="connsiteX67" fmla="*/ 675205 w 956528"/>
                <a:gd name="connsiteY67" fmla="*/ 566413 h 4223685"/>
                <a:gd name="connsiteX68" fmla="*/ 56280 w 956528"/>
                <a:gd name="connsiteY68" fmla="*/ 566413 h 4223685"/>
                <a:gd name="connsiteX69" fmla="*/ 56280 w 956528"/>
                <a:gd name="connsiteY69" fmla="*/ 397612 h 4223685"/>
                <a:gd name="connsiteX70" fmla="*/ 337603 w 956528"/>
                <a:gd name="connsiteY70" fmla="*/ 397612 h 4223685"/>
                <a:gd name="connsiteX71" fmla="*/ 337603 w 956528"/>
                <a:gd name="connsiteY71" fmla="*/ 341332 h 4223685"/>
                <a:gd name="connsiteX72" fmla="*/ 56280 w 956528"/>
                <a:gd name="connsiteY72" fmla="*/ 341332 h 4223685"/>
                <a:gd name="connsiteX73" fmla="*/ 56280 w 956528"/>
                <a:gd name="connsiteY73" fmla="*/ 172530 h 4223685"/>
                <a:gd name="connsiteX74" fmla="*/ 337603 w 956528"/>
                <a:gd name="connsiteY74" fmla="*/ 172530 h 4223685"/>
                <a:gd name="connsiteX75" fmla="*/ 337603 w 956528"/>
                <a:gd name="connsiteY75" fmla="*/ 116250 h 4223685"/>
                <a:gd name="connsiteX76" fmla="*/ 56280 w 956528"/>
                <a:gd name="connsiteY76" fmla="*/ 116250 h 4223685"/>
                <a:gd name="connsiteX77" fmla="*/ 56280 w 956528"/>
                <a:gd name="connsiteY77" fmla="*/ 0 h 4223685"/>
                <a:gd name="connsiteX78" fmla="*/ 0 w 956528"/>
                <a:gd name="connsiteY78" fmla="*/ 0 h 4223685"/>
                <a:gd name="connsiteX79" fmla="*/ 0 w 956528"/>
                <a:gd name="connsiteY79" fmla="*/ 4223686 h 4223685"/>
                <a:gd name="connsiteX80" fmla="*/ 56280 w 956528"/>
                <a:gd name="connsiteY80" fmla="*/ 4223686 h 4223685"/>
                <a:gd name="connsiteX81" fmla="*/ 900248 w 956528"/>
                <a:gd name="connsiteY81" fmla="*/ 4223686 h 422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956528" h="4223685">
                  <a:moveTo>
                    <a:pt x="956528" y="4223686"/>
                  </a:moveTo>
                  <a:lnTo>
                    <a:pt x="956528" y="0"/>
                  </a:lnTo>
                  <a:lnTo>
                    <a:pt x="900248" y="0"/>
                  </a:lnTo>
                  <a:lnTo>
                    <a:pt x="900248" y="4167445"/>
                  </a:lnTo>
                  <a:lnTo>
                    <a:pt x="56280" y="4167445"/>
                  </a:lnTo>
                  <a:lnTo>
                    <a:pt x="56280" y="3998643"/>
                  </a:lnTo>
                  <a:lnTo>
                    <a:pt x="337603" y="3998643"/>
                  </a:lnTo>
                  <a:lnTo>
                    <a:pt x="337603" y="3942363"/>
                  </a:lnTo>
                  <a:lnTo>
                    <a:pt x="56280" y="3942363"/>
                  </a:lnTo>
                  <a:lnTo>
                    <a:pt x="56280" y="3773562"/>
                  </a:lnTo>
                  <a:lnTo>
                    <a:pt x="337603" y="3773562"/>
                  </a:lnTo>
                  <a:lnTo>
                    <a:pt x="337603" y="3717321"/>
                  </a:lnTo>
                  <a:lnTo>
                    <a:pt x="56280" y="3717321"/>
                  </a:lnTo>
                  <a:lnTo>
                    <a:pt x="56280" y="3548519"/>
                  </a:lnTo>
                  <a:lnTo>
                    <a:pt x="337603" y="3548519"/>
                  </a:lnTo>
                  <a:lnTo>
                    <a:pt x="337603" y="3492239"/>
                  </a:lnTo>
                  <a:lnTo>
                    <a:pt x="56280" y="3492239"/>
                  </a:lnTo>
                  <a:lnTo>
                    <a:pt x="56280" y="3323438"/>
                  </a:lnTo>
                  <a:lnTo>
                    <a:pt x="675205" y="3323438"/>
                  </a:lnTo>
                  <a:lnTo>
                    <a:pt x="675205" y="3267158"/>
                  </a:lnTo>
                  <a:lnTo>
                    <a:pt x="56280" y="3267158"/>
                  </a:lnTo>
                  <a:lnTo>
                    <a:pt x="56280" y="3098395"/>
                  </a:lnTo>
                  <a:lnTo>
                    <a:pt x="337603" y="3098395"/>
                  </a:lnTo>
                  <a:lnTo>
                    <a:pt x="337603" y="3042115"/>
                  </a:lnTo>
                  <a:lnTo>
                    <a:pt x="56280" y="3042115"/>
                  </a:lnTo>
                  <a:lnTo>
                    <a:pt x="56280" y="2873314"/>
                  </a:lnTo>
                  <a:lnTo>
                    <a:pt x="337603" y="2873314"/>
                  </a:lnTo>
                  <a:lnTo>
                    <a:pt x="337603" y="2817034"/>
                  </a:lnTo>
                  <a:lnTo>
                    <a:pt x="56280" y="2817034"/>
                  </a:lnTo>
                  <a:lnTo>
                    <a:pt x="56280" y="2648233"/>
                  </a:lnTo>
                  <a:lnTo>
                    <a:pt x="337603" y="2648233"/>
                  </a:lnTo>
                  <a:lnTo>
                    <a:pt x="337603" y="2591991"/>
                  </a:lnTo>
                  <a:lnTo>
                    <a:pt x="56280" y="2591991"/>
                  </a:lnTo>
                  <a:lnTo>
                    <a:pt x="56280" y="2423190"/>
                  </a:lnTo>
                  <a:lnTo>
                    <a:pt x="675205" y="2423190"/>
                  </a:lnTo>
                  <a:lnTo>
                    <a:pt x="675205" y="2366909"/>
                  </a:lnTo>
                  <a:lnTo>
                    <a:pt x="56280" y="2366909"/>
                  </a:lnTo>
                  <a:lnTo>
                    <a:pt x="56280" y="2198108"/>
                  </a:lnTo>
                  <a:lnTo>
                    <a:pt x="337603" y="2198108"/>
                  </a:lnTo>
                  <a:lnTo>
                    <a:pt x="337603" y="2141867"/>
                  </a:lnTo>
                  <a:lnTo>
                    <a:pt x="56280" y="2141867"/>
                  </a:lnTo>
                  <a:lnTo>
                    <a:pt x="56280" y="1973065"/>
                  </a:lnTo>
                  <a:lnTo>
                    <a:pt x="337603" y="1973065"/>
                  </a:lnTo>
                  <a:lnTo>
                    <a:pt x="337603" y="1916785"/>
                  </a:lnTo>
                  <a:lnTo>
                    <a:pt x="56280" y="1916785"/>
                  </a:lnTo>
                  <a:lnTo>
                    <a:pt x="56280" y="1747984"/>
                  </a:lnTo>
                  <a:lnTo>
                    <a:pt x="337603" y="1747984"/>
                  </a:lnTo>
                  <a:lnTo>
                    <a:pt x="337603" y="1691704"/>
                  </a:lnTo>
                  <a:lnTo>
                    <a:pt x="56280" y="1691704"/>
                  </a:lnTo>
                  <a:lnTo>
                    <a:pt x="56280" y="1522941"/>
                  </a:lnTo>
                  <a:lnTo>
                    <a:pt x="675205" y="1522941"/>
                  </a:lnTo>
                  <a:lnTo>
                    <a:pt x="675205" y="1466661"/>
                  </a:lnTo>
                  <a:lnTo>
                    <a:pt x="56280" y="1466661"/>
                  </a:lnTo>
                  <a:lnTo>
                    <a:pt x="56280" y="1297860"/>
                  </a:lnTo>
                  <a:lnTo>
                    <a:pt x="337603" y="1297860"/>
                  </a:lnTo>
                  <a:lnTo>
                    <a:pt x="337603" y="1241580"/>
                  </a:lnTo>
                  <a:lnTo>
                    <a:pt x="56280" y="1241580"/>
                  </a:lnTo>
                  <a:lnTo>
                    <a:pt x="56280" y="1072779"/>
                  </a:lnTo>
                  <a:lnTo>
                    <a:pt x="337603" y="1072779"/>
                  </a:lnTo>
                  <a:lnTo>
                    <a:pt x="337603" y="1016537"/>
                  </a:lnTo>
                  <a:lnTo>
                    <a:pt x="56280" y="1016537"/>
                  </a:lnTo>
                  <a:lnTo>
                    <a:pt x="56280" y="847736"/>
                  </a:lnTo>
                  <a:lnTo>
                    <a:pt x="337603" y="847736"/>
                  </a:lnTo>
                  <a:lnTo>
                    <a:pt x="337603" y="791456"/>
                  </a:lnTo>
                  <a:lnTo>
                    <a:pt x="56280" y="791456"/>
                  </a:lnTo>
                  <a:lnTo>
                    <a:pt x="56280" y="622654"/>
                  </a:lnTo>
                  <a:lnTo>
                    <a:pt x="675205" y="622654"/>
                  </a:lnTo>
                  <a:lnTo>
                    <a:pt x="675205" y="566413"/>
                  </a:lnTo>
                  <a:lnTo>
                    <a:pt x="56280" y="566413"/>
                  </a:lnTo>
                  <a:lnTo>
                    <a:pt x="56280" y="397612"/>
                  </a:lnTo>
                  <a:lnTo>
                    <a:pt x="337603" y="397612"/>
                  </a:lnTo>
                  <a:lnTo>
                    <a:pt x="337603" y="341332"/>
                  </a:lnTo>
                  <a:lnTo>
                    <a:pt x="56280" y="341332"/>
                  </a:lnTo>
                  <a:lnTo>
                    <a:pt x="56280" y="172530"/>
                  </a:lnTo>
                  <a:lnTo>
                    <a:pt x="337603" y="172530"/>
                  </a:lnTo>
                  <a:lnTo>
                    <a:pt x="337603" y="116250"/>
                  </a:lnTo>
                  <a:lnTo>
                    <a:pt x="56280" y="116250"/>
                  </a:lnTo>
                  <a:lnTo>
                    <a:pt x="56280" y="0"/>
                  </a:lnTo>
                  <a:lnTo>
                    <a:pt x="0" y="0"/>
                  </a:lnTo>
                  <a:lnTo>
                    <a:pt x="0" y="4223686"/>
                  </a:lnTo>
                  <a:lnTo>
                    <a:pt x="56280" y="4223686"/>
                  </a:lnTo>
                  <a:lnTo>
                    <a:pt x="900248" y="42236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D9F6F9DD-C45A-4275-B17D-B75F46CAAD88}"/>
                </a:ext>
              </a:extLst>
            </p:cNvPr>
            <p:cNvSpPr/>
            <p:nvPr/>
          </p:nvSpPr>
          <p:spPr>
            <a:xfrm>
              <a:off x="-1697617" y="1719597"/>
              <a:ext cx="337603" cy="538326"/>
            </a:xfrm>
            <a:custGeom>
              <a:avLst/>
              <a:gdLst>
                <a:gd name="connsiteX0" fmla="*/ 0 w 337603"/>
                <a:gd name="connsiteY0" fmla="*/ 0 h 538326"/>
                <a:gd name="connsiteX1" fmla="*/ 56280 w 337603"/>
                <a:gd name="connsiteY1" fmla="*/ 0 h 538326"/>
                <a:gd name="connsiteX2" fmla="*/ 56280 w 337603"/>
                <a:gd name="connsiteY2" fmla="*/ 101734 h 538326"/>
                <a:gd name="connsiteX3" fmla="*/ 337603 w 337603"/>
                <a:gd name="connsiteY3" fmla="*/ 101734 h 538326"/>
                <a:gd name="connsiteX4" fmla="*/ 337603 w 337603"/>
                <a:gd name="connsiteY4" fmla="*/ 158014 h 538326"/>
                <a:gd name="connsiteX5" fmla="*/ 56280 w 337603"/>
                <a:gd name="connsiteY5" fmla="*/ 158014 h 538326"/>
                <a:gd name="connsiteX6" fmla="*/ 56280 w 337603"/>
                <a:gd name="connsiteY6" fmla="*/ 326815 h 538326"/>
                <a:gd name="connsiteX7" fmla="*/ 337603 w 337603"/>
                <a:gd name="connsiteY7" fmla="*/ 326815 h 538326"/>
                <a:gd name="connsiteX8" fmla="*/ 337603 w 337603"/>
                <a:gd name="connsiteY8" fmla="*/ 383056 h 538326"/>
                <a:gd name="connsiteX9" fmla="*/ 56280 w 337603"/>
                <a:gd name="connsiteY9" fmla="*/ 383056 h 538326"/>
                <a:gd name="connsiteX10" fmla="*/ 56280 w 337603"/>
                <a:gd name="connsiteY10" fmla="*/ 538326 h 538326"/>
                <a:gd name="connsiteX11" fmla="*/ 0 w 337603"/>
                <a:gd name="connsiteY11" fmla="*/ 538326 h 538326"/>
                <a:gd name="connsiteX12" fmla="*/ 0 w 337603"/>
                <a:gd name="connsiteY12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7603" h="538326">
                  <a:moveTo>
                    <a:pt x="0" y="0"/>
                  </a:moveTo>
                  <a:lnTo>
                    <a:pt x="56280" y="0"/>
                  </a:lnTo>
                  <a:lnTo>
                    <a:pt x="56280" y="101734"/>
                  </a:lnTo>
                  <a:lnTo>
                    <a:pt x="337603" y="101734"/>
                  </a:lnTo>
                  <a:lnTo>
                    <a:pt x="337603" y="158014"/>
                  </a:lnTo>
                  <a:lnTo>
                    <a:pt x="56280" y="158014"/>
                  </a:lnTo>
                  <a:lnTo>
                    <a:pt x="56280" y="326815"/>
                  </a:lnTo>
                  <a:lnTo>
                    <a:pt x="337603" y="326815"/>
                  </a:lnTo>
                  <a:lnTo>
                    <a:pt x="337603" y="383056"/>
                  </a:lnTo>
                  <a:lnTo>
                    <a:pt x="56280" y="383056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524F9333-0270-4C71-A104-D762DD9FEAFA}"/>
                </a:ext>
              </a:extLst>
            </p:cNvPr>
            <p:cNvSpPr/>
            <p:nvPr/>
          </p:nvSpPr>
          <p:spPr>
            <a:xfrm>
              <a:off x="-797368" y="1719597"/>
              <a:ext cx="56280" cy="538326"/>
            </a:xfrm>
            <a:custGeom>
              <a:avLst/>
              <a:gdLst>
                <a:gd name="connsiteX0" fmla="*/ 0 w 56280"/>
                <a:gd name="connsiteY0" fmla="*/ 0 h 538326"/>
                <a:gd name="connsiteX1" fmla="*/ 56280 w 56280"/>
                <a:gd name="connsiteY1" fmla="*/ 0 h 538326"/>
                <a:gd name="connsiteX2" fmla="*/ 56280 w 56280"/>
                <a:gd name="connsiteY2" fmla="*/ 538326 h 538326"/>
                <a:gd name="connsiteX3" fmla="*/ 0 w 56280"/>
                <a:gd name="connsiteY3" fmla="*/ 538326 h 538326"/>
                <a:gd name="connsiteX4" fmla="*/ 0 w 56280"/>
                <a:gd name="connsiteY4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80" h="538326">
                  <a:moveTo>
                    <a:pt x="0" y="0"/>
                  </a:moveTo>
                  <a:lnTo>
                    <a:pt x="56280" y="0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</p:grpSp>
      <p:sp>
        <p:nvSpPr>
          <p:cNvPr id="58" name="Round Same-side Corner of Rectangle 79">
            <a:extLst>
              <a:ext uri="{FF2B5EF4-FFF2-40B4-BE49-F238E27FC236}">
                <a16:creationId xmlns:a16="http://schemas.microsoft.com/office/drawing/2014/main" id="{850C7FE2-376D-4A50-95E6-EC22C90868E3}"/>
              </a:ext>
            </a:extLst>
          </p:cNvPr>
          <p:cNvSpPr/>
          <p:nvPr userDrawn="1"/>
        </p:nvSpPr>
        <p:spPr>
          <a:xfrm rot="5400000">
            <a:off x="10613117" y="550943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9" name="TextBox 58">
            <a:hlinkClick r:id="" action="ppaction://noaction"/>
            <a:extLst>
              <a:ext uri="{FF2B5EF4-FFF2-40B4-BE49-F238E27FC236}">
                <a16:creationId xmlns:a16="http://schemas.microsoft.com/office/drawing/2014/main" id="{6591B573-70F0-4337-95C0-2A2933452263}"/>
              </a:ext>
            </a:extLst>
          </p:cNvPr>
          <p:cNvSpPr txBox="1"/>
          <p:nvPr userDrawn="1"/>
        </p:nvSpPr>
        <p:spPr>
          <a:xfrm>
            <a:off x="10870644" y="555078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60" name="Round Same-side Corner of Rectangle 79">
            <a:extLst>
              <a:ext uri="{FF2B5EF4-FFF2-40B4-BE49-F238E27FC236}">
                <a16:creationId xmlns:a16="http://schemas.microsoft.com/office/drawing/2014/main" id="{A235A59A-01FF-4282-B20C-1D51A5B545A2}"/>
              </a:ext>
            </a:extLst>
          </p:cNvPr>
          <p:cNvSpPr/>
          <p:nvPr userDrawn="1"/>
        </p:nvSpPr>
        <p:spPr>
          <a:xfrm rot="5400000">
            <a:off x="10613117" y="5784862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1" name="TextBox 60">
            <a:hlinkClick r:id="" action="ppaction://noaction"/>
            <a:extLst>
              <a:ext uri="{FF2B5EF4-FFF2-40B4-BE49-F238E27FC236}">
                <a16:creationId xmlns:a16="http://schemas.microsoft.com/office/drawing/2014/main" id="{EAE6E452-5E80-429C-86FA-E94564F48061}"/>
              </a:ext>
            </a:extLst>
          </p:cNvPr>
          <p:cNvSpPr txBox="1"/>
          <p:nvPr userDrawn="1"/>
        </p:nvSpPr>
        <p:spPr>
          <a:xfrm>
            <a:off x="10870644" y="5826211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72" name="Freeform 25">
            <a:extLst>
              <a:ext uri="{FF2B5EF4-FFF2-40B4-BE49-F238E27FC236}">
                <a16:creationId xmlns:a16="http://schemas.microsoft.com/office/drawing/2014/main" id="{56368E7D-C6B1-4FC4-84CB-850E491EB28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5549100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73" name="Round Same-side Corner of Rectangle 79">
            <a:extLst>
              <a:ext uri="{FF2B5EF4-FFF2-40B4-BE49-F238E27FC236}">
                <a16:creationId xmlns:a16="http://schemas.microsoft.com/office/drawing/2014/main" id="{23956198-447D-4D59-84F0-16DBDA54126E}"/>
              </a:ext>
            </a:extLst>
          </p:cNvPr>
          <p:cNvSpPr/>
          <p:nvPr userDrawn="1"/>
        </p:nvSpPr>
        <p:spPr>
          <a:xfrm rot="5400000">
            <a:off x="10615976" y="606635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74" name="TextBox 73">
            <a:hlinkClick r:id="" action="ppaction://noaction"/>
            <a:extLst>
              <a:ext uri="{FF2B5EF4-FFF2-40B4-BE49-F238E27FC236}">
                <a16:creationId xmlns:a16="http://schemas.microsoft.com/office/drawing/2014/main" id="{BAFE9D0B-1361-4951-AD59-C1212C398B59}"/>
              </a:ext>
            </a:extLst>
          </p:cNvPr>
          <p:cNvSpPr txBox="1"/>
          <p:nvPr userDrawn="1"/>
        </p:nvSpPr>
        <p:spPr>
          <a:xfrm>
            <a:off x="10873503" y="6107704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75" name="Freeform 21">
            <a:extLst>
              <a:ext uri="{FF2B5EF4-FFF2-40B4-BE49-F238E27FC236}">
                <a16:creationId xmlns:a16="http://schemas.microsoft.com/office/drawing/2014/main" id="{EF7622D6-B5DC-4DB2-8E21-04AE835E2238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6115929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76" name="Graphic 28" descr="List">
            <a:extLst>
              <a:ext uri="{FF2B5EF4-FFF2-40B4-BE49-F238E27FC236}">
                <a16:creationId xmlns:a16="http://schemas.microsoft.com/office/drawing/2014/main" id="{446AF50D-0BE2-47A5-90FB-3B796742A712}"/>
              </a:ext>
            </a:extLst>
          </p:cNvPr>
          <p:cNvGrpSpPr/>
          <p:nvPr userDrawn="1"/>
        </p:nvGrpSpPr>
        <p:grpSpPr>
          <a:xfrm>
            <a:off x="10657446" y="5818069"/>
            <a:ext cx="103548" cy="146640"/>
            <a:chOff x="981871" y="1231905"/>
            <a:chExt cx="246063" cy="317501"/>
          </a:xfrm>
        </p:grpSpPr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10F95EE6-B50E-43FF-A4E1-47C21811C669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342F468B-D932-47B9-B35C-EA897C4220DE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FBCDB589-D78D-40D3-AB70-F561B8262AFA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662D2D45-1E15-4302-8C9C-3EFEF4EAFC6C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BE982F62-AE08-490D-85F9-E47E4F74B1B2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FB34E1C-9A0A-42B9-A15F-DF5361ABC718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F0C4F94-3D64-4F53-8736-C0EFFA1208D8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3CA5C5E7-FD01-42A2-95E4-432A12765B9E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81840ED9-07A0-4FD6-B419-2CE7FD344B80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80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7BF2249A-8E15-48E6-A2C5-2E539577D562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2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1F6F8753-E7C3-42D4-95EF-8E722B237588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85228548-9524-4013-A3FE-CD8EC65A35AA}"/>
              </a:ext>
            </a:extLst>
          </p:cNvPr>
          <p:cNvSpPr/>
          <p:nvPr userDrawn="1"/>
        </p:nvSpPr>
        <p:spPr>
          <a:xfrm rot="5400000">
            <a:off x="11280167" y="4840571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21D911B1-3FF2-4EF8-9037-94ACDFE7BBA6}"/>
              </a:ext>
            </a:extLst>
          </p:cNvPr>
          <p:cNvSpPr/>
          <p:nvPr userDrawn="1"/>
        </p:nvSpPr>
        <p:spPr>
          <a:xfrm rot="5400000">
            <a:off x="11280167" y="5116475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DFD9FF4F-CE4D-428B-8096-FF9FC30CCEAF}"/>
              </a:ext>
            </a:extLst>
          </p:cNvPr>
          <p:cNvSpPr/>
          <p:nvPr userDrawn="1"/>
        </p:nvSpPr>
        <p:spPr>
          <a:xfrm rot="5400000">
            <a:off x="11280167" y="5392379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7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1AF9996B-2EF1-4AC2-A4DB-D0E9DB62E720}"/>
              </a:ext>
            </a:extLst>
          </p:cNvPr>
          <p:cNvSpPr/>
          <p:nvPr userDrawn="1"/>
        </p:nvSpPr>
        <p:spPr>
          <a:xfrm rot="5400000">
            <a:off x="11473096" y="1472755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9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0AEB7752-CFC4-49E7-9AC9-090307A31FDE}"/>
              </a:ext>
            </a:extLst>
          </p:cNvPr>
          <p:cNvSpPr/>
          <p:nvPr userDrawn="1"/>
        </p:nvSpPr>
        <p:spPr>
          <a:xfrm rot="5400000">
            <a:off x="11473096" y="192820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0" name="Round Same-side Corner of Rectangle 79">
            <a:hlinkClick r:id="rId5" action="ppaction://hlinksldjump"/>
            <a:extLst>
              <a:ext uri="{FF2B5EF4-FFF2-40B4-BE49-F238E27FC236}">
                <a16:creationId xmlns:a16="http://schemas.microsoft.com/office/drawing/2014/main" id="{4DB2658B-3A7E-4CEB-A58D-8954945E63C0}"/>
              </a:ext>
            </a:extLst>
          </p:cNvPr>
          <p:cNvSpPr/>
          <p:nvPr userDrawn="1"/>
        </p:nvSpPr>
        <p:spPr>
          <a:xfrm rot="5400000">
            <a:off x="11473096" y="2380734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1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F5C78CEE-67A7-493B-AFFB-7BB6366E681B}"/>
              </a:ext>
            </a:extLst>
          </p:cNvPr>
          <p:cNvSpPr/>
          <p:nvPr userDrawn="1"/>
        </p:nvSpPr>
        <p:spPr>
          <a:xfrm rot="5400000">
            <a:off x="11473096" y="2833262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2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A6E5E9CB-F244-4596-A407-7A67AC8D4C00}"/>
              </a:ext>
            </a:extLst>
          </p:cNvPr>
          <p:cNvSpPr/>
          <p:nvPr userDrawn="1"/>
        </p:nvSpPr>
        <p:spPr>
          <a:xfrm rot="5400000">
            <a:off x="11473096" y="3285790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F7275D84-68D6-4337-980F-DF58AD691F46}"/>
              </a:ext>
            </a:extLst>
          </p:cNvPr>
          <p:cNvSpPr/>
          <p:nvPr userDrawn="1"/>
        </p:nvSpPr>
        <p:spPr>
          <a:xfrm rot="5400000">
            <a:off x="11287463" y="3552686"/>
            <a:ext cx="349171" cy="1453551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30536761-95E6-450C-9F2A-C97A24A66599}"/>
              </a:ext>
            </a:extLst>
          </p:cNvPr>
          <p:cNvSpPr/>
          <p:nvPr userDrawn="1"/>
        </p:nvSpPr>
        <p:spPr>
          <a:xfrm rot="5400000">
            <a:off x="11473096" y="419084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F763CB49-018C-4C16-8987-2DCF1EF308B9}"/>
              </a:ext>
            </a:extLst>
          </p:cNvPr>
          <p:cNvSpPr/>
          <p:nvPr userDrawn="1"/>
        </p:nvSpPr>
        <p:spPr>
          <a:xfrm rot="5400000">
            <a:off x="11473096" y="464337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0656871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Pilla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lose - up of a gears&#10;&#10;Description automatically generated with medium confidence">
            <a:extLst>
              <a:ext uri="{FF2B5EF4-FFF2-40B4-BE49-F238E27FC236}">
                <a16:creationId xmlns:a16="http://schemas.microsoft.com/office/drawing/2014/main" id="{B4794715-33BE-42FA-84ED-4D4DB0704B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3403" y="0"/>
            <a:ext cx="10284321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52DACC8-F68A-4E7E-B68C-7F1399D9114E}"/>
              </a:ext>
            </a:extLst>
          </p:cNvPr>
          <p:cNvSpPr/>
          <p:nvPr userDrawn="1"/>
        </p:nvSpPr>
        <p:spPr>
          <a:xfrm>
            <a:off x="2072100" y="6705600"/>
            <a:ext cx="8044625" cy="15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800">
                <a:solidFill>
                  <a:schemeClr val="bg1"/>
                </a:solidFill>
                <a:ea typeface="MS PGothic" pitchFamily="34" charset="-128"/>
              </a:rPr>
              <a:t>Pfizer Confidential – Internal Use Only, Not for Further Distribution</a:t>
            </a:r>
            <a:endParaRPr lang="en-US" sz="800">
              <a:solidFill>
                <a:schemeClr val="bg1"/>
              </a:solidFill>
              <a:ea typeface="MS PGothic" pitchFamily="34" charset="-128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C514C5-2143-4E16-837F-CF028230C903}"/>
              </a:ext>
            </a:extLst>
          </p:cNvPr>
          <p:cNvSpPr/>
          <p:nvPr userDrawn="1"/>
        </p:nvSpPr>
        <p:spPr>
          <a:xfrm>
            <a:off x="0" y="0"/>
            <a:ext cx="2011157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E1FD921-B9B9-4E01-8593-A27B37592D89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27281B-F7F1-4E3B-B238-0D64683B763A}"/>
              </a:ext>
            </a:extLst>
          </p:cNvPr>
          <p:cNvSpPr/>
          <p:nvPr userDrawn="1"/>
        </p:nvSpPr>
        <p:spPr>
          <a:xfrm>
            <a:off x="1897132" y="0"/>
            <a:ext cx="138452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3941344-CBA3-46F5-9801-595985401D8A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D2612D66-723A-4927-9CE6-16C13A003646}"/>
              </a:ext>
            </a:extLst>
          </p:cNvPr>
          <p:cNvSpPr/>
          <p:nvPr/>
        </p:nvSpPr>
        <p:spPr>
          <a:xfrm>
            <a:off x="0" y="141677"/>
            <a:ext cx="324007" cy="6853150"/>
          </a:xfrm>
          <a:custGeom>
            <a:avLst/>
            <a:gdLst>
              <a:gd name="connsiteX0" fmla="*/ 0 w 324091"/>
              <a:gd name="connsiteY0" fmla="*/ 6807430 h 6853150"/>
              <a:gd name="connsiteX1" fmla="*/ 81776 w 324091"/>
              <a:gd name="connsiteY1" fmla="*/ 6807430 h 6853150"/>
              <a:gd name="connsiteX2" fmla="*/ 104636 w 324091"/>
              <a:gd name="connsiteY2" fmla="*/ 6830290 h 6853150"/>
              <a:gd name="connsiteX3" fmla="*/ 104635 w 324091"/>
              <a:gd name="connsiteY3" fmla="*/ 6830290 h 6853150"/>
              <a:gd name="connsiteX4" fmla="*/ 81775 w 324091"/>
              <a:gd name="connsiteY4" fmla="*/ 6853150 h 6853150"/>
              <a:gd name="connsiteX5" fmla="*/ 0 w 324091"/>
              <a:gd name="connsiteY5" fmla="*/ 6853150 h 6853150"/>
              <a:gd name="connsiteX6" fmla="*/ 0 w 324091"/>
              <a:gd name="connsiteY6" fmla="*/ 6653902 h 6853150"/>
              <a:gd name="connsiteX7" fmla="*/ 173216 w 324091"/>
              <a:gd name="connsiteY7" fmla="*/ 6653902 h 6853150"/>
              <a:gd name="connsiteX8" fmla="*/ 196076 w 324091"/>
              <a:gd name="connsiteY8" fmla="*/ 6676762 h 6853150"/>
              <a:gd name="connsiteX9" fmla="*/ 196075 w 324091"/>
              <a:gd name="connsiteY9" fmla="*/ 6676762 h 6853150"/>
              <a:gd name="connsiteX10" fmla="*/ 173215 w 324091"/>
              <a:gd name="connsiteY10" fmla="*/ 6699622 h 6853150"/>
              <a:gd name="connsiteX11" fmla="*/ 0 w 324091"/>
              <a:gd name="connsiteY11" fmla="*/ 6699622 h 6853150"/>
              <a:gd name="connsiteX12" fmla="*/ 0 w 324091"/>
              <a:gd name="connsiteY12" fmla="*/ 6500374 h 6853150"/>
              <a:gd name="connsiteX13" fmla="*/ 81776 w 324091"/>
              <a:gd name="connsiteY13" fmla="*/ 6500374 h 6853150"/>
              <a:gd name="connsiteX14" fmla="*/ 104636 w 324091"/>
              <a:gd name="connsiteY14" fmla="*/ 6523234 h 6853150"/>
              <a:gd name="connsiteX15" fmla="*/ 104635 w 324091"/>
              <a:gd name="connsiteY15" fmla="*/ 6523234 h 6853150"/>
              <a:gd name="connsiteX16" fmla="*/ 81775 w 324091"/>
              <a:gd name="connsiteY16" fmla="*/ 6546094 h 6853150"/>
              <a:gd name="connsiteX17" fmla="*/ 0 w 324091"/>
              <a:gd name="connsiteY17" fmla="*/ 6546094 h 6853150"/>
              <a:gd name="connsiteX18" fmla="*/ 0 w 324091"/>
              <a:gd name="connsiteY18" fmla="*/ 6302591 h 6853150"/>
              <a:gd name="connsiteX19" fmla="*/ 279104 w 324091"/>
              <a:gd name="connsiteY19" fmla="*/ 6302591 h 6853150"/>
              <a:gd name="connsiteX20" fmla="*/ 324091 w 324091"/>
              <a:gd name="connsiteY20" fmla="*/ 6347578 h 6853150"/>
              <a:gd name="connsiteX21" fmla="*/ 279104 w 324091"/>
              <a:gd name="connsiteY21" fmla="*/ 6392565 h 6853150"/>
              <a:gd name="connsiteX22" fmla="*/ 0 w 324091"/>
              <a:gd name="connsiteY22" fmla="*/ 6392565 h 6853150"/>
              <a:gd name="connsiteX23" fmla="*/ 0 w 324091"/>
              <a:gd name="connsiteY23" fmla="*/ 6124755 h 6853150"/>
              <a:gd name="connsiteX24" fmla="*/ 81776 w 324091"/>
              <a:gd name="connsiteY24" fmla="*/ 6124755 h 6853150"/>
              <a:gd name="connsiteX25" fmla="*/ 104636 w 324091"/>
              <a:gd name="connsiteY25" fmla="*/ 6147615 h 6853150"/>
              <a:gd name="connsiteX26" fmla="*/ 104635 w 324091"/>
              <a:gd name="connsiteY26" fmla="*/ 6147615 h 6853150"/>
              <a:gd name="connsiteX27" fmla="*/ 81775 w 324091"/>
              <a:gd name="connsiteY27" fmla="*/ 6170475 h 6853150"/>
              <a:gd name="connsiteX28" fmla="*/ 0 w 324091"/>
              <a:gd name="connsiteY28" fmla="*/ 6170475 h 6853150"/>
              <a:gd name="connsiteX29" fmla="*/ 0 w 324091"/>
              <a:gd name="connsiteY29" fmla="*/ 5971227 h 6853150"/>
              <a:gd name="connsiteX30" fmla="*/ 173216 w 324091"/>
              <a:gd name="connsiteY30" fmla="*/ 5971227 h 6853150"/>
              <a:gd name="connsiteX31" fmla="*/ 196076 w 324091"/>
              <a:gd name="connsiteY31" fmla="*/ 5994087 h 6853150"/>
              <a:gd name="connsiteX32" fmla="*/ 196075 w 324091"/>
              <a:gd name="connsiteY32" fmla="*/ 5994087 h 6853150"/>
              <a:gd name="connsiteX33" fmla="*/ 173215 w 324091"/>
              <a:gd name="connsiteY33" fmla="*/ 6016947 h 6853150"/>
              <a:gd name="connsiteX34" fmla="*/ 0 w 324091"/>
              <a:gd name="connsiteY34" fmla="*/ 6016947 h 6853150"/>
              <a:gd name="connsiteX35" fmla="*/ 0 w 324091"/>
              <a:gd name="connsiteY35" fmla="*/ 5817699 h 6853150"/>
              <a:gd name="connsiteX36" fmla="*/ 81776 w 324091"/>
              <a:gd name="connsiteY36" fmla="*/ 5817699 h 6853150"/>
              <a:gd name="connsiteX37" fmla="*/ 104636 w 324091"/>
              <a:gd name="connsiteY37" fmla="*/ 5840559 h 6853150"/>
              <a:gd name="connsiteX38" fmla="*/ 104635 w 324091"/>
              <a:gd name="connsiteY38" fmla="*/ 5840559 h 6853150"/>
              <a:gd name="connsiteX39" fmla="*/ 81775 w 324091"/>
              <a:gd name="connsiteY39" fmla="*/ 5863419 h 6853150"/>
              <a:gd name="connsiteX40" fmla="*/ 0 w 324091"/>
              <a:gd name="connsiteY40" fmla="*/ 5863419 h 6853150"/>
              <a:gd name="connsiteX41" fmla="*/ 0 w 324091"/>
              <a:gd name="connsiteY41" fmla="*/ 5619916 h 6853150"/>
              <a:gd name="connsiteX42" fmla="*/ 279104 w 324091"/>
              <a:gd name="connsiteY42" fmla="*/ 5619916 h 6853150"/>
              <a:gd name="connsiteX43" fmla="*/ 324091 w 324091"/>
              <a:gd name="connsiteY43" fmla="*/ 5664903 h 6853150"/>
              <a:gd name="connsiteX44" fmla="*/ 279104 w 324091"/>
              <a:gd name="connsiteY44" fmla="*/ 5709890 h 6853150"/>
              <a:gd name="connsiteX45" fmla="*/ 0 w 324091"/>
              <a:gd name="connsiteY45" fmla="*/ 5709890 h 6853150"/>
              <a:gd name="connsiteX46" fmla="*/ 0 w 324091"/>
              <a:gd name="connsiteY46" fmla="*/ 5442077 h 6853150"/>
              <a:gd name="connsiteX47" fmla="*/ 81776 w 324091"/>
              <a:gd name="connsiteY47" fmla="*/ 5442077 h 6853150"/>
              <a:gd name="connsiteX48" fmla="*/ 104636 w 324091"/>
              <a:gd name="connsiteY48" fmla="*/ 5464937 h 6853150"/>
              <a:gd name="connsiteX49" fmla="*/ 104635 w 324091"/>
              <a:gd name="connsiteY49" fmla="*/ 5464937 h 6853150"/>
              <a:gd name="connsiteX50" fmla="*/ 81775 w 324091"/>
              <a:gd name="connsiteY50" fmla="*/ 5487797 h 6853150"/>
              <a:gd name="connsiteX51" fmla="*/ 0 w 324091"/>
              <a:gd name="connsiteY51" fmla="*/ 5487797 h 6853150"/>
              <a:gd name="connsiteX52" fmla="*/ 0 w 324091"/>
              <a:gd name="connsiteY52" fmla="*/ 5288549 h 6853150"/>
              <a:gd name="connsiteX53" fmla="*/ 173216 w 324091"/>
              <a:gd name="connsiteY53" fmla="*/ 5288549 h 6853150"/>
              <a:gd name="connsiteX54" fmla="*/ 196076 w 324091"/>
              <a:gd name="connsiteY54" fmla="*/ 5311409 h 6853150"/>
              <a:gd name="connsiteX55" fmla="*/ 196075 w 324091"/>
              <a:gd name="connsiteY55" fmla="*/ 5311409 h 6853150"/>
              <a:gd name="connsiteX56" fmla="*/ 173215 w 324091"/>
              <a:gd name="connsiteY56" fmla="*/ 5334269 h 6853150"/>
              <a:gd name="connsiteX57" fmla="*/ 0 w 324091"/>
              <a:gd name="connsiteY57" fmla="*/ 5334269 h 6853150"/>
              <a:gd name="connsiteX58" fmla="*/ 0 w 324091"/>
              <a:gd name="connsiteY58" fmla="*/ 5135021 h 6853150"/>
              <a:gd name="connsiteX59" fmla="*/ 81776 w 324091"/>
              <a:gd name="connsiteY59" fmla="*/ 5135021 h 6853150"/>
              <a:gd name="connsiteX60" fmla="*/ 104636 w 324091"/>
              <a:gd name="connsiteY60" fmla="*/ 5157881 h 6853150"/>
              <a:gd name="connsiteX61" fmla="*/ 104635 w 324091"/>
              <a:gd name="connsiteY61" fmla="*/ 5157881 h 6853150"/>
              <a:gd name="connsiteX62" fmla="*/ 81775 w 324091"/>
              <a:gd name="connsiteY62" fmla="*/ 5180741 h 6853150"/>
              <a:gd name="connsiteX63" fmla="*/ 0 w 324091"/>
              <a:gd name="connsiteY63" fmla="*/ 5180741 h 6853150"/>
              <a:gd name="connsiteX64" fmla="*/ 0 w 324091"/>
              <a:gd name="connsiteY64" fmla="*/ 4937238 h 6853150"/>
              <a:gd name="connsiteX65" fmla="*/ 279104 w 324091"/>
              <a:gd name="connsiteY65" fmla="*/ 4937238 h 6853150"/>
              <a:gd name="connsiteX66" fmla="*/ 324091 w 324091"/>
              <a:gd name="connsiteY66" fmla="*/ 4982225 h 6853150"/>
              <a:gd name="connsiteX67" fmla="*/ 279104 w 324091"/>
              <a:gd name="connsiteY67" fmla="*/ 5027212 h 6853150"/>
              <a:gd name="connsiteX68" fmla="*/ 0 w 324091"/>
              <a:gd name="connsiteY68" fmla="*/ 5027212 h 6853150"/>
              <a:gd name="connsiteX69" fmla="*/ 0 w 324091"/>
              <a:gd name="connsiteY69" fmla="*/ 4759399 h 6853150"/>
              <a:gd name="connsiteX70" fmla="*/ 81776 w 324091"/>
              <a:gd name="connsiteY70" fmla="*/ 4759399 h 6853150"/>
              <a:gd name="connsiteX71" fmla="*/ 104636 w 324091"/>
              <a:gd name="connsiteY71" fmla="*/ 4782259 h 6853150"/>
              <a:gd name="connsiteX72" fmla="*/ 104635 w 324091"/>
              <a:gd name="connsiteY72" fmla="*/ 4782259 h 6853150"/>
              <a:gd name="connsiteX73" fmla="*/ 81775 w 324091"/>
              <a:gd name="connsiteY73" fmla="*/ 4805119 h 6853150"/>
              <a:gd name="connsiteX74" fmla="*/ 0 w 324091"/>
              <a:gd name="connsiteY74" fmla="*/ 4805119 h 6853150"/>
              <a:gd name="connsiteX75" fmla="*/ 0 w 324091"/>
              <a:gd name="connsiteY75" fmla="*/ 4605871 h 6853150"/>
              <a:gd name="connsiteX76" fmla="*/ 173216 w 324091"/>
              <a:gd name="connsiteY76" fmla="*/ 4605871 h 6853150"/>
              <a:gd name="connsiteX77" fmla="*/ 196076 w 324091"/>
              <a:gd name="connsiteY77" fmla="*/ 4628731 h 6853150"/>
              <a:gd name="connsiteX78" fmla="*/ 196075 w 324091"/>
              <a:gd name="connsiteY78" fmla="*/ 4628731 h 6853150"/>
              <a:gd name="connsiteX79" fmla="*/ 173215 w 324091"/>
              <a:gd name="connsiteY79" fmla="*/ 4651591 h 6853150"/>
              <a:gd name="connsiteX80" fmla="*/ 0 w 324091"/>
              <a:gd name="connsiteY80" fmla="*/ 4651591 h 6853150"/>
              <a:gd name="connsiteX81" fmla="*/ 0 w 324091"/>
              <a:gd name="connsiteY81" fmla="*/ 4452343 h 6853150"/>
              <a:gd name="connsiteX82" fmla="*/ 81776 w 324091"/>
              <a:gd name="connsiteY82" fmla="*/ 4452343 h 6853150"/>
              <a:gd name="connsiteX83" fmla="*/ 104636 w 324091"/>
              <a:gd name="connsiteY83" fmla="*/ 4475203 h 6853150"/>
              <a:gd name="connsiteX84" fmla="*/ 104635 w 324091"/>
              <a:gd name="connsiteY84" fmla="*/ 4475203 h 6853150"/>
              <a:gd name="connsiteX85" fmla="*/ 81775 w 324091"/>
              <a:gd name="connsiteY85" fmla="*/ 4498063 h 6853150"/>
              <a:gd name="connsiteX86" fmla="*/ 0 w 324091"/>
              <a:gd name="connsiteY86" fmla="*/ 4498063 h 6853150"/>
              <a:gd name="connsiteX87" fmla="*/ 0 w 324091"/>
              <a:gd name="connsiteY87" fmla="*/ 4254560 h 6853150"/>
              <a:gd name="connsiteX88" fmla="*/ 279104 w 324091"/>
              <a:gd name="connsiteY88" fmla="*/ 4254560 h 6853150"/>
              <a:gd name="connsiteX89" fmla="*/ 324091 w 324091"/>
              <a:gd name="connsiteY89" fmla="*/ 4299547 h 6853150"/>
              <a:gd name="connsiteX90" fmla="*/ 279104 w 324091"/>
              <a:gd name="connsiteY90" fmla="*/ 4344534 h 6853150"/>
              <a:gd name="connsiteX91" fmla="*/ 0 w 324091"/>
              <a:gd name="connsiteY91" fmla="*/ 4344534 h 6853150"/>
              <a:gd name="connsiteX92" fmla="*/ 0 w 324091"/>
              <a:gd name="connsiteY92" fmla="*/ 4076721 h 6853150"/>
              <a:gd name="connsiteX93" fmla="*/ 81776 w 324091"/>
              <a:gd name="connsiteY93" fmla="*/ 4076721 h 6853150"/>
              <a:gd name="connsiteX94" fmla="*/ 104636 w 324091"/>
              <a:gd name="connsiteY94" fmla="*/ 4099581 h 6853150"/>
              <a:gd name="connsiteX95" fmla="*/ 104635 w 324091"/>
              <a:gd name="connsiteY95" fmla="*/ 4099581 h 6853150"/>
              <a:gd name="connsiteX96" fmla="*/ 81775 w 324091"/>
              <a:gd name="connsiteY96" fmla="*/ 4122441 h 6853150"/>
              <a:gd name="connsiteX97" fmla="*/ 0 w 324091"/>
              <a:gd name="connsiteY97" fmla="*/ 4122441 h 6853150"/>
              <a:gd name="connsiteX98" fmla="*/ 0 w 324091"/>
              <a:gd name="connsiteY98" fmla="*/ 3923193 h 6853150"/>
              <a:gd name="connsiteX99" fmla="*/ 173216 w 324091"/>
              <a:gd name="connsiteY99" fmla="*/ 3923193 h 6853150"/>
              <a:gd name="connsiteX100" fmla="*/ 196076 w 324091"/>
              <a:gd name="connsiteY100" fmla="*/ 3946053 h 6853150"/>
              <a:gd name="connsiteX101" fmla="*/ 196075 w 324091"/>
              <a:gd name="connsiteY101" fmla="*/ 3946053 h 6853150"/>
              <a:gd name="connsiteX102" fmla="*/ 173215 w 324091"/>
              <a:gd name="connsiteY102" fmla="*/ 3968913 h 6853150"/>
              <a:gd name="connsiteX103" fmla="*/ 0 w 324091"/>
              <a:gd name="connsiteY103" fmla="*/ 3968913 h 6853150"/>
              <a:gd name="connsiteX104" fmla="*/ 0 w 324091"/>
              <a:gd name="connsiteY104" fmla="*/ 3769665 h 6853150"/>
              <a:gd name="connsiteX105" fmla="*/ 81776 w 324091"/>
              <a:gd name="connsiteY105" fmla="*/ 3769665 h 6853150"/>
              <a:gd name="connsiteX106" fmla="*/ 104636 w 324091"/>
              <a:gd name="connsiteY106" fmla="*/ 3792525 h 6853150"/>
              <a:gd name="connsiteX107" fmla="*/ 104635 w 324091"/>
              <a:gd name="connsiteY107" fmla="*/ 3792525 h 6853150"/>
              <a:gd name="connsiteX108" fmla="*/ 81775 w 324091"/>
              <a:gd name="connsiteY108" fmla="*/ 3815385 h 6853150"/>
              <a:gd name="connsiteX109" fmla="*/ 0 w 324091"/>
              <a:gd name="connsiteY109" fmla="*/ 3815385 h 6853150"/>
              <a:gd name="connsiteX110" fmla="*/ 0 w 324091"/>
              <a:gd name="connsiteY110" fmla="*/ 3571882 h 6853150"/>
              <a:gd name="connsiteX111" fmla="*/ 279104 w 324091"/>
              <a:gd name="connsiteY111" fmla="*/ 3571882 h 6853150"/>
              <a:gd name="connsiteX112" fmla="*/ 324091 w 324091"/>
              <a:gd name="connsiteY112" fmla="*/ 3616869 h 6853150"/>
              <a:gd name="connsiteX113" fmla="*/ 279104 w 324091"/>
              <a:gd name="connsiteY113" fmla="*/ 3661856 h 6853150"/>
              <a:gd name="connsiteX114" fmla="*/ 0 w 324091"/>
              <a:gd name="connsiteY114" fmla="*/ 3661856 h 6853150"/>
              <a:gd name="connsiteX115" fmla="*/ 0 w 324091"/>
              <a:gd name="connsiteY115" fmla="*/ 3394043 h 6853150"/>
              <a:gd name="connsiteX116" fmla="*/ 81776 w 324091"/>
              <a:gd name="connsiteY116" fmla="*/ 3394043 h 6853150"/>
              <a:gd name="connsiteX117" fmla="*/ 104636 w 324091"/>
              <a:gd name="connsiteY117" fmla="*/ 3416905 h 6853150"/>
              <a:gd name="connsiteX118" fmla="*/ 104635 w 324091"/>
              <a:gd name="connsiteY118" fmla="*/ 3416905 h 6853150"/>
              <a:gd name="connsiteX119" fmla="*/ 81775 w 324091"/>
              <a:gd name="connsiteY119" fmla="*/ 3439763 h 6853150"/>
              <a:gd name="connsiteX120" fmla="*/ 0 w 324091"/>
              <a:gd name="connsiteY120" fmla="*/ 3439763 h 6853150"/>
              <a:gd name="connsiteX121" fmla="*/ 0 w 324091"/>
              <a:gd name="connsiteY121" fmla="*/ 3240516 h 6853150"/>
              <a:gd name="connsiteX122" fmla="*/ 173216 w 324091"/>
              <a:gd name="connsiteY122" fmla="*/ 3240516 h 6853150"/>
              <a:gd name="connsiteX123" fmla="*/ 196076 w 324091"/>
              <a:gd name="connsiteY123" fmla="*/ 3263376 h 6853150"/>
              <a:gd name="connsiteX124" fmla="*/ 196075 w 324091"/>
              <a:gd name="connsiteY124" fmla="*/ 3263376 h 6853150"/>
              <a:gd name="connsiteX125" fmla="*/ 173215 w 324091"/>
              <a:gd name="connsiteY125" fmla="*/ 3286236 h 6853150"/>
              <a:gd name="connsiteX126" fmla="*/ 0 w 324091"/>
              <a:gd name="connsiteY126" fmla="*/ 3286236 h 6853150"/>
              <a:gd name="connsiteX127" fmla="*/ 0 w 324091"/>
              <a:gd name="connsiteY127" fmla="*/ 3086989 h 6853150"/>
              <a:gd name="connsiteX128" fmla="*/ 81776 w 324091"/>
              <a:gd name="connsiteY128" fmla="*/ 3086989 h 6853150"/>
              <a:gd name="connsiteX129" fmla="*/ 104636 w 324091"/>
              <a:gd name="connsiteY129" fmla="*/ 3109849 h 6853150"/>
              <a:gd name="connsiteX130" fmla="*/ 104635 w 324091"/>
              <a:gd name="connsiteY130" fmla="*/ 3109849 h 6853150"/>
              <a:gd name="connsiteX131" fmla="*/ 81775 w 324091"/>
              <a:gd name="connsiteY131" fmla="*/ 3132709 h 6853150"/>
              <a:gd name="connsiteX132" fmla="*/ 0 w 324091"/>
              <a:gd name="connsiteY132" fmla="*/ 3132709 h 6853150"/>
              <a:gd name="connsiteX133" fmla="*/ 0 w 324091"/>
              <a:gd name="connsiteY133" fmla="*/ 2889206 h 6853150"/>
              <a:gd name="connsiteX134" fmla="*/ 279104 w 324091"/>
              <a:gd name="connsiteY134" fmla="*/ 2889206 h 6853150"/>
              <a:gd name="connsiteX135" fmla="*/ 324091 w 324091"/>
              <a:gd name="connsiteY135" fmla="*/ 2934194 h 6853150"/>
              <a:gd name="connsiteX136" fmla="*/ 279104 w 324091"/>
              <a:gd name="connsiteY136" fmla="*/ 2979180 h 6853150"/>
              <a:gd name="connsiteX137" fmla="*/ 0 w 324091"/>
              <a:gd name="connsiteY137" fmla="*/ 2979180 h 6853150"/>
              <a:gd name="connsiteX138" fmla="*/ 0 w 324091"/>
              <a:gd name="connsiteY138" fmla="*/ 2711367 h 6853150"/>
              <a:gd name="connsiteX139" fmla="*/ 81776 w 324091"/>
              <a:gd name="connsiteY139" fmla="*/ 2711367 h 6853150"/>
              <a:gd name="connsiteX140" fmla="*/ 104636 w 324091"/>
              <a:gd name="connsiteY140" fmla="*/ 2734227 h 6853150"/>
              <a:gd name="connsiteX141" fmla="*/ 104635 w 324091"/>
              <a:gd name="connsiteY141" fmla="*/ 2734227 h 6853150"/>
              <a:gd name="connsiteX142" fmla="*/ 81775 w 324091"/>
              <a:gd name="connsiteY142" fmla="*/ 2757087 h 6853150"/>
              <a:gd name="connsiteX143" fmla="*/ 0 w 324091"/>
              <a:gd name="connsiteY143" fmla="*/ 2757087 h 6853150"/>
              <a:gd name="connsiteX144" fmla="*/ 0 w 324091"/>
              <a:gd name="connsiteY144" fmla="*/ 2557839 h 6853150"/>
              <a:gd name="connsiteX145" fmla="*/ 173216 w 324091"/>
              <a:gd name="connsiteY145" fmla="*/ 2557839 h 6853150"/>
              <a:gd name="connsiteX146" fmla="*/ 196076 w 324091"/>
              <a:gd name="connsiteY146" fmla="*/ 2580699 h 6853150"/>
              <a:gd name="connsiteX147" fmla="*/ 196075 w 324091"/>
              <a:gd name="connsiteY147" fmla="*/ 2580699 h 6853150"/>
              <a:gd name="connsiteX148" fmla="*/ 173215 w 324091"/>
              <a:gd name="connsiteY148" fmla="*/ 2603559 h 6853150"/>
              <a:gd name="connsiteX149" fmla="*/ 0 w 324091"/>
              <a:gd name="connsiteY149" fmla="*/ 2603559 h 6853150"/>
              <a:gd name="connsiteX150" fmla="*/ 0 w 324091"/>
              <a:gd name="connsiteY150" fmla="*/ 2404312 h 6853150"/>
              <a:gd name="connsiteX151" fmla="*/ 81776 w 324091"/>
              <a:gd name="connsiteY151" fmla="*/ 2404312 h 6853150"/>
              <a:gd name="connsiteX152" fmla="*/ 104636 w 324091"/>
              <a:gd name="connsiteY152" fmla="*/ 2427171 h 6853150"/>
              <a:gd name="connsiteX153" fmla="*/ 104635 w 324091"/>
              <a:gd name="connsiteY153" fmla="*/ 2427171 h 6853150"/>
              <a:gd name="connsiteX154" fmla="*/ 81775 w 324091"/>
              <a:gd name="connsiteY154" fmla="*/ 2450032 h 6853150"/>
              <a:gd name="connsiteX155" fmla="*/ 0 w 324091"/>
              <a:gd name="connsiteY155" fmla="*/ 2450032 h 6853150"/>
              <a:gd name="connsiteX156" fmla="*/ 0 w 324091"/>
              <a:gd name="connsiteY156" fmla="*/ 2206528 h 6853150"/>
              <a:gd name="connsiteX157" fmla="*/ 279104 w 324091"/>
              <a:gd name="connsiteY157" fmla="*/ 2206528 h 6853150"/>
              <a:gd name="connsiteX158" fmla="*/ 324091 w 324091"/>
              <a:gd name="connsiteY158" fmla="*/ 2251515 h 6853150"/>
              <a:gd name="connsiteX159" fmla="*/ 279104 w 324091"/>
              <a:gd name="connsiteY159" fmla="*/ 2296503 h 6853150"/>
              <a:gd name="connsiteX160" fmla="*/ 0 w 324091"/>
              <a:gd name="connsiteY160" fmla="*/ 2296503 h 6853150"/>
              <a:gd name="connsiteX161" fmla="*/ 0 w 324091"/>
              <a:gd name="connsiteY161" fmla="*/ 2028689 h 6853150"/>
              <a:gd name="connsiteX162" fmla="*/ 81776 w 324091"/>
              <a:gd name="connsiteY162" fmla="*/ 2028689 h 6853150"/>
              <a:gd name="connsiteX163" fmla="*/ 104636 w 324091"/>
              <a:gd name="connsiteY163" fmla="*/ 2051550 h 6853150"/>
              <a:gd name="connsiteX164" fmla="*/ 104635 w 324091"/>
              <a:gd name="connsiteY164" fmla="*/ 2051550 h 6853150"/>
              <a:gd name="connsiteX165" fmla="*/ 81775 w 324091"/>
              <a:gd name="connsiteY165" fmla="*/ 2074409 h 6853150"/>
              <a:gd name="connsiteX166" fmla="*/ 0 w 324091"/>
              <a:gd name="connsiteY166" fmla="*/ 2074409 h 6853150"/>
              <a:gd name="connsiteX167" fmla="*/ 0 w 324091"/>
              <a:gd name="connsiteY167" fmla="*/ 1875162 h 6853150"/>
              <a:gd name="connsiteX168" fmla="*/ 173216 w 324091"/>
              <a:gd name="connsiteY168" fmla="*/ 1875162 h 6853150"/>
              <a:gd name="connsiteX169" fmla="*/ 196076 w 324091"/>
              <a:gd name="connsiteY169" fmla="*/ 1898022 h 6853150"/>
              <a:gd name="connsiteX170" fmla="*/ 196075 w 324091"/>
              <a:gd name="connsiteY170" fmla="*/ 1898022 h 6853150"/>
              <a:gd name="connsiteX171" fmla="*/ 173215 w 324091"/>
              <a:gd name="connsiteY171" fmla="*/ 1920882 h 6853150"/>
              <a:gd name="connsiteX172" fmla="*/ 0 w 324091"/>
              <a:gd name="connsiteY172" fmla="*/ 1920882 h 6853150"/>
              <a:gd name="connsiteX173" fmla="*/ 0 w 324091"/>
              <a:gd name="connsiteY173" fmla="*/ 1721635 h 6853150"/>
              <a:gd name="connsiteX174" fmla="*/ 81776 w 324091"/>
              <a:gd name="connsiteY174" fmla="*/ 1721635 h 6853150"/>
              <a:gd name="connsiteX175" fmla="*/ 104636 w 324091"/>
              <a:gd name="connsiteY175" fmla="*/ 1744495 h 6853150"/>
              <a:gd name="connsiteX176" fmla="*/ 104635 w 324091"/>
              <a:gd name="connsiteY176" fmla="*/ 1744495 h 6853150"/>
              <a:gd name="connsiteX177" fmla="*/ 81775 w 324091"/>
              <a:gd name="connsiteY177" fmla="*/ 1767355 h 6853150"/>
              <a:gd name="connsiteX178" fmla="*/ 0 w 324091"/>
              <a:gd name="connsiteY178" fmla="*/ 1767355 h 6853150"/>
              <a:gd name="connsiteX179" fmla="*/ 0 w 324091"/>
              <a:gd name="connsiteY179" fmla="*/ 1523851 h 6853150"/>
              <a:gd name="connsiteX180" fmla="*/ 279104 w 324091"/>
              <a:gd name="connsiteY180" fmla="*/ 1523851 h 6853150"/>
              <a:gd name="connsiteX181" fmla="*/ 324091 w 324091"/>
              <a:gd name="connsiteY181" fmla="*/ 1568838 h 6853150"/>
              <a:gd name="connsiteX182" fmla="*/ 279104 w 324091"/>
              <a:gd name="connsiteY182" fmla="*/ 1613826 h 6853150"/>
              <a:gd name="connsiteX183" fmla="*/ 0 w 324091"/>
              <a:gd name="connsiteY183" fmla="*/ 1613826 h 6853150"/>
              <a:gd name="connsiteX184" fmla="*/ 0 w 324091"/>
              <a:gd name="connsiteY184" fmla="*/ 1346012 h 6853150"/>
              <a:gd name="connsiteX185" fmla="*/ 81776 w 324091"/>
              <a:gd name="connsiteY185" fmla="*/ 1346012 h 6853150"/>
              <a:gd name="connsiteX186" fmla="*/ 104636 w 324091"/>
              <a:gd name="connsiteY186" fmla="*/ 1368872 h 6853150"/>
              <a:gd name="connsiteX187" fmla="*/ 104635 w 324091"/>
              <a:gd name="connsiteY187" fmla="*/ 1368872 h 6853150"/>
              <a:gd name="connsiteX188" fmla="*/ 81775 w 324091"/>
              <a:gd name="connsiteY188" fmla="*/ 1391732 h 6853150"/>
              <a:gd name="connsiteX189" fmla="*/ 0 w 324091"/>
              <a:gd name="connsiteY189" fmla="*/ 1391732 h 6853150"/>
              <a:gd name="connsiteX190" fmla="*/ 0 w 324091"/>
              <a:gd name="connsiteY190" fmla="*/ 1192484 h 6853150"/>
              <a:gd name="connsiteX191" fmla="*/ 173216 w 324091"/>
              <a:gd name="connsiteY191" fmla="*/ 1192484 h 6853150"/>
              <a:gd name="connsiteX192" fmla="*/ 196076 w 324091"/>
              <a:gd name="connsiteY192" fmla="*/ 1215344 h 6853150"/>
              <a:gd name="connsiteX193" fmla="*/ 196075 w 324091"/>
              <a:gd name="connsiteY193" fmla="*/ 1215344 h 6853150"/>
              <a:gd name="connsiteX194" fmla="*/ 173215 w 324091"/>
              <a:gd name="connsiteY194" fmla="*/ 1238205 h 6853150"/>
              <a:gd name="connsiteX195" fmla="*/ 0 w 324091"/>
              <a:gd name="connsiteY195" fmla="*/ 1238205 h 6853150"/>
              <a:gd name="connsiteX196" fmla="*/ 0 w 324091"/>
              <a:gd name="connsiteY196" fmla="*/ 1038956 h 6853150"/>
              <a:gd name="connsiteX197" fmla="*/ 81776 w 324091"/>
              <a:gd name="connsiteY197" fmla="*/ 1038956 h 6853150"/>
              <a:gd name="connsiteX198" fmla="*/ 104636 w 324091"/>
              <a:gd name="connsiteY198" fmla="*/ 1061817 h 6853150"/>
              <a:gd name="connsiteX199" fmla="*/ 104635 w 324091"/>
              <a:gd name="connsiteY199" fmla="*/ 1061817 h 6853150"/>
              <a:gd name="connsiteX200" fmla="*/ 81775 w 324091"/>
              <a:gd name="connsiteY200" fmla="*/ 1084677 h 6853150"/>
              <a:gd name="connsiteX201" fmla="*/ 0 w 324091"/>
              <a:gd name="connsiteY201" fmla="*/ 1084677 h 6853150"/>
              <a:gd name="connsiteX202" fmla="*/ 0 w 324091"/>
              <a:gd name="connsiteY202" fmla="*/ 841173 h 6853150"/>
              <a:gd name="connsiteX203" fmla="*/ 279104 w 324091"/>
              <a:gd name="connsiteY203" fmla="*/ 841173 h 6853150"/>
              <a:gd name="connsiteX204" fmla="*/ 324091 w 324091"/>
              <a:gd name="connsiteY204" fmla="*/ 886160 h 6853150"/>
              <a:gd name="connsiteX205" fmla="*/ 279104 w 324091"/>
              <a:gd name="connsiteY205" fmla="*/ 931147 h 6853150"/>
              <a:gd name="connsiteX206" fmla="*/ 0 w 324091"/>
              <a:gd name="connsiteY206" fmla="*/ 931147 h 6853150"/>
              <a:gd name="connsiteX207" fmla="*/ 0 w 324091"/>
              <a:gd name="connsiteY207" fmla="*/ 663334 h 6853150"/>
              <a:gd name="connsiteX208" fmla="*/ 81776 w 324091"/>
              <a:gd name="connsiteY208" fmla="*/ 663334 h 6853150"/>
              <a:gd name="connsiteX209" fmla="*/ 104636 w 324091"/>
              <a:gd name="connsiteY209" fmla="*/ 686194 h 6853150"/>
              <a:gd name="connsiteX210" fmla="*/ 104635 w 324091"/>
              <a:gd name="connsiteY210" fmla="*/ 686194 h 6853150"/>
              <a:gd name="connsiteX211" fmla="*/ 81775 w 324091"/>
              <a:gd name="connsiteY211" fmla="*/ 709054 h 6853150"/>
              <a:gd name="connsiteX212" fmla="*/ 0 w 324091"/>
              <a:gd name="connsiteY212" fmla="*/ 709054 h 6853150"/>
              <a:gd name="connsiteX213" fmla="*/ 0 w 324091"/>
              <a:gd name="connsiteY213" fmla="*/ 509806 h 6853150"/>
              <a:gd name="connsiteX214" fmla="*/ 173216 w 324091"/>
              <a:gd name="connsiteY214" fmla="*/ 509806 h 6853150"/>
              <a:gd name="connsiteX215" fmla="*/ 196076 w 324091"/>
              <a:gd name="connsiteY215" fmla="*/ 532666 h 6853150"/>
              <a:gd name="connsiteX216" fmla="*/ 196075 w 324091"/>
              <a:gd name="connsiteY216" fmla="*/ 532666 h 6853150"/>
              <a:gd name="connsiteX217" fmla="*/ 173215 w 324091"/>
              <a:gd name="connsiteY217" fmla="*/ 555526 h 6853150"/>
              <a:gd name="connsiteX218" fmla="*/ 0 w 324091"/>
              <a:gd name="connsiteY218" fmla="*/ 555526 h 6853150"/>
              <a:gd name="connsiteX219" fmla="*/ 0 w 324091"/>
              <a:gd name="connsiteY219" fmla="*/ 356279 h 6853150"/>
              <a:gd name="connsiteX220" fmla="*/ 81776 w 324091"/>
              <a:gd name="connsiteY220" fmla="*/ 356279 h 6853150"/>
              <a:gd name="connsiteX221" fmla="*/ 104636 w 324091"/>
              <a:gd name="connsiteY221" fmla="*/ 379139 h 6853150"/>
              <a:gd name="connsiteX222" fmla="*/ 104635 w 324091"/>
              <a:gd name="connsiteY222" fmla="*/ 379139 h 6853150"/>
              <a:gd name="connsiteX223" fmla="*/ 81775 w 324091"/>
              <a:gd name="connsiteY223" fmla="*/ 401999 h 6853150"/>
              <a:gd name="connsiteX224" fmla="*/ 0 w 324091"/>
              <a:gd name="connsiteY224" fmla="*/ 401999 h 6853150"/>
              <a:gd name="connsiteX225" fmla="*/ 0 w 324091"/>
              <a:gd name="connsiteY225" fmla="*/ 158496 h 6853150"/>
              <a:gd name="connsiteX226" fmla="*/ 279104 w 324091"/>
              <a:gd name="connsiteY226" fmla="*/ 158496 h 6853150"/>
              <a:gd name="connsiteX227" fmla="*/ 324091 w 324091"/>
              <a:gd name="connsiteY227" fmla="*/ 203483 h 6853150"/>
              <a:gd name="connsiteX228" fmla="*/ 279104 w 324091"/>
              <a:gd name="connsiteY228" fmla="*/ 248470 h 6853150"/>
              <a:gd name="connsiteX229" fmla="*/ 0 w 324091"/>
              <a:gd name="connsiteY229" fmla="*/ 248470 h 6853150"/>
              <a:gd name="connsiteX230" fmla="*/ 0 w 324091"/>
              <a:gd name="connsiteY230" fmla="*/ 0 h 6853150"/>
              <a:gd name="connsiteX231" fmla="*/ 81776 w 324091"/>
              <a:gd name="connsiteY231" fmla="*/ 0 h 6853150"/>
              <a:gd name="connsiteX232" fmla="*/ 104636 w 324091"/>
              <a:gd name="connsiteY232" fmla="*/ 22860 h 6853150"/>
              <a:gd name="connsiteX233" fmla="*/ 104635 w 324091"/>
              <a:gd name="connsiteY233" fmla="*/ 22860 h 6853150"/>
              <a:gd name="connsiteX234" fmla="*/ 81775 w 324091"/>
              <a:gd name="connsiteY234" fmla="*/ 45720 h 6853150"/>
              <a:gd name="connsiteX235" fmla="*/ 0 w 324091"/>
              <a:gd name="connsiteY235" fmla="*/ 45720 h 6853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</a:cxnLst>
            <a:rect l="l" t="t" r="r" b="b"/>
            <a:pathLst>
              <a:path w="324091" h="6853150">
                <a:moveTo>
                  <a:pt x="0" y="6807430"/>
                </a:moveTo>
                <a:lnTo>
                  <a:pt x="81776" y="6807430"/>
                </a:lnTo>
                <a:cubicBezTo>
                  <a:pt x="94401" y="6807430"/>
                  <a:pt x="104636" y="6817665"/>
                  <a:pt x="104636" y="6830290"/>
                </a:cubicBezTo>
                <a:lnTo>
                  <a:pt x="104635" y="6830290"/>
                </a:lnTo>
                <a:cubicBezTo>
                  <a:pt x="104635" y="6842915"/>
                  <a:pt x="94400" y="6853150"/>
                  <a:pt x="81775" y="6853150"/>
                </a:cubicBezTo>
                <a:lnTo>
                  <a:pt x="0" y="6853150"/>
                </a:lnTo>
                <a:close/>
                <a:moveTo>
                  <a:pt x="0" y="6653902"/>
                </a:moveTo>
                <a:lnTo>
                  <a:pt x="173216" y="6653902"/>
                </a:lnTo>
                <a:cubicBezTo>
                  <a:pt x="185841" y="6653902"/>
                  <a:pt x="196076" y="6664137"/>
                  <a:pt x="196076" y="6676762"/>
                </a:cubicBezTo>
                <a:lnTo>
                  <a:pt x="196075" y="6676762"/>
                </a:lnTo>
                <a:cubicBezTo>
                  <a:pt x="196075" y="6689387"/>
                  <a:pt x="185840" y="6699622"/>
                  <a:pt x="173215" y="6699622"/>
                </a:cubicBezTo>
                <a:lnTo>
                  <a:pt x="0" y="6699622"/>
                </a:lnTo>
                <a:close/>
                <a:moveTo>
                  <a:pt x="0" y="6500374"/>
                </a:moveTo>
                <a:lnTo>
                  <a:pt x="81776" y="6500374"/>
                </a:lnTo>
                <a:cubicBezTo>
                  <a:pt x="94401" y="6500374"/>
                  <a:pt x="104636" y="6510609"/>
                  <a:pt x="104636" y="6523234"/>
                </a:cubicBezTo>
                <a:lnTo>
                  <a:pt x="104635" y="6523234"/>
                </a:lnTo>
                <a:cubicBezTo>
                  <a:pt x="104635" y="6535859"/>
                  <a:pt x="94400" y="6546094"/>
                  <a:pt x="81775" y="6546094"/>
                </a:cubicBezTo>
                <a:lnTo>
                  <a:pt x="0" y="6546094"/>
                </a:lnTo>
                <a:close/>
                <a:moveTo>
                  <a:pt x="0" y="6302591"/>
                </a:moveTo>
                <a:lnTo>
                  <a:pt x="279104" y="6302591"/>
                </a:lnTo>
                <a:cubicBezTo>
                  <a:pt x="303950" y="6302591"/>
                  <a:pt x="324091" y="6322732"/>
                  <a:pt x="324091" y="6347578"/>
                </a:cubicBezTo>
                <a:cubicBezTo>
                  <a:pt x="324091" y="6372424"/>
                  <a:pt x="303950" y="6392565"/>
                  <a:pt x="279104" y="6392565"/>
                </a:cubicBezTo>
                <a:lnTo>
                  <a:pt x="0" y="6392565"/>
                </a:lnTo>
                <a:close/>
                <a:moveTo>
                  <a:pt x="0" y="6124755"/>
                </a:moveTo>
                <a:lnTo>
                  <a:pt x="81776" y="6124755"/>
                </a:lnTo>
                <a:cubicBezTo>
                  <a:pt x="94401" y="6124755"/>
                  <a:pt x="104636" y="6134990"/>
                  <a:pt x="104636" y="6147615"/>
                </a:cubicBezTo>
                <a:lnTo>
                  <a:pt x="104635" y="6147615"/>
                </a:lnTo>
                <a:cubicBezTo>
                  <a:pt x="104635" y="6160240"/>
                  <a:pt x="94400" y="6170475"/>
                  <a:pt x="81775" y="6170475"/>
                </a:cubicBezTo>
                <a:lnTo>
                  <a:pt x="0" y="6170475"/>
                </a:lnTo>
                <a:close/>
                <a:moveTo>
                  <a:pt x="0" y="5971227"/>
                </a:moveTo>
                <a:lnTo>
                  <a:pt x="173216" y="5971227"/>
                </a:lnTo>
                <a:cubicBezTo>
                  <a:pt x="185841" y="5971227"/>
                  <a:pt x="196076" y="5981462"/>
                  <a:pt x="196076" y="5994087"/>
                </a:cubicBezTo>
                <a:lnTo>
                  <a:pt x="196075" y="5994087"/>
                </a:lnTo>
                <a:cubicBezTo>
                  <a:pt x="196075" y="6006712"/>
                  <a:pt x="185840" y="6016947"/>
                  <a:pt x="173215" y="6016947"/>
                </a:cubicBezTo>
                <a:lnTo>
                  <a:pt x="0" y="6016947"/>
                </a:lnTo>
                <a:close/>
                <a:moveTo>
                  <a:pt x="0" y="5817699"/>
                </a:moveTo>
                <a:lnTo>
                  <a:pt x="81776" y="5817699"/>
                </a:lnTo>
                <a:cubicBezTo>
                  <a:pt x="94401" y="5817699"/>
                  <a:pt x="104636" y="5827934"/>
                  <a:pt x="104636" y="5840559"/>
                </a:cubicBezTo>
                <a:lnTo>
                  <a:pt x="104635" y="5840559"/>
                </a:lnTo>
                <a:cubicBezTo>
                  <a:pt x="104635" y="5853184"/>
                  <a:pt x="94400" y="5863419"/>
                  <a:pt x="81775" y="5863419"/>
                </a:cubicBezTo>
                <a:lnTo>
                  <a:pt x="0" y="5863419"/>
                </a:lnTo>
                <a:close/>
                <a:moveTo>
                  <a:pt x="0" y="5619916"/>
                </a:moveTo>
                <a:lnTo>
                  <a:pt x="279104" y="5619916"/>
                </a:lnTo>
                <a:cubicBezTo>
                  <a:pt x="303950" y="5619916"/>
                  <a:pt x="324091" y="5640057"/>
                  <a:pt x="324091" y="5664903"/>
                </a:cubicBezTo>
                <a:cubicBezTo>
                  <a:pt x="324091" y="5689749"/>
                  <a:pt x="303950" y="5709890"/>
                  <a:pt x="279104" y="5709890"/>
                </a:cubicBezTo>
                <a:lnTo>
                  <a:pt x="0" y="5709890"/>
                </a:lnTo>
                <a:close/>
                <a:moveTo>
                  <a:pt x="0" y="5442077"/>
                </a:moveTo>
                <a:lnTo>
                  <a:pt x="81776" y="5442077"/>
                </a:lnTo>
                <a:cubicBezTo>
                  <a:pt x="94401" y="5442077"/>
                  <a:pt x="104636" y="5452312"/>
                  <a:pt x="104636" y="5464937"/>
                </a:cubicBezTo>
                <a:lnTo>
                  <a:pt x="104635" y="5464937"/>
                </a:lnTo>
                <a:cubicBezTo>
                  <a:pt x="104635" y="5477562"/>
                  <a:pt x="94400" y="5487797"/>
                  <a:pt x="81775" y="5487797"/>
                </a:cubicBezTo>
                <a:lnTo>
                  <a:pt x="0" y="5487797"/>
                </a:lnTo>
                <a:close/>
                <a:moveTo>
                  <a:pt x="0" y="5288549"/>
                </a:moveTo>
                <a:lnTo>
                  <a:pt x="173216" y="5288549"/>
                </a:lnTo>
                <a:cubicBezTo>
                  <a:pt x="185841" y="5288549"/>
                  <a:pt x="196076" y="5298784"/>
                  <a:pt x="196076" y="5311409"/>
                </a:cubicBezTo>
                <a:lnTo>
                  <a:pt x="196075" y="5311409"/>
                </a:lnTo>
                <a:cubicBezTo>
                  <a:pt x="196075" y="5324034"/>
                  <a:pt x="185840" y="5334269"/>
                  <a:pt x="173215" y="5334269"/>
                </a:cubicBezTo>
                <a:lnTo>
                  <a:pt x="0" y="5334269"/>
                </a:lnTo>
                <a:close/>
                <a:moveTo>
                  <a:pt x="0" y="5135021"/>
                </a:moveTo>
                <a:lnTo>
                  <a:pt x="81776" y="5135021"/>
                </a:lnTo>
                <a:cubicBezTo>
                  <a:pt x="94401" y="5135021"/>
                  <a:pt x="104636" y="5145256"/>
                  <a:pt x="104636" y="5157881"/>
                </a:cubicBezTo>
                <a:lnTo>
                  <a:pt x="104635" y="5157881"/>
                </a:lnTo>
                <a:cubicBezTo>
                  <a:pt x="104635" y="5170506"/>
                  <a:pt x="94400" y="5180741"/>
                  <a:pt x="81775" y="5180741"/>
                </a:cubicBezTo>
                <a:lnTo>
                  <a:pt x="0" y="5180741"/>
                </a:lnTo>
                <a:close/>
                <a:moveTo>
                  <a:pt x="0" y="4937238"/>
                </a:moveTo>
                <a:lnTo>
                  <a:pt x="279104" y="4937238"/>
                </a:lnTo>
                <a:cubicBezTo>
                  <a:pt x="303950" y="4937238"/>
                  <a:pt x="324091" y="4957379"/>
                  <a:pt x="324091" y="4982225"/>
                </a:cubicBezTo>
                <a:cubicBezTo>
                  <a:pt x="324091" y="5007071"/>
                  <a:pt x="303950" y="5027212"/>
                  <a:pt x="279104" y="5027212"/>
                </a:cubicBezTo>
                <a:lnTo>
                  <a:pt x="0" y="5027212"/>
                </a:lnTo>
                <a:close/>
                <a:moveTo>
                  <a:pt x="0" y="4759399"/>
                </a:moveTo>
                <a:lnTo>
                  <a:pt x="81776" y="4759399"/>
                </a:lnTo>
                <a:cubicBezTo>
                  <a:pt x="94401" y="4759399"/>
                  <a:pt x="104636" y="4769634"/>
                  <a:pt x="104636" y="4782259"/>
                </a:cubicBezTo>
                <a:lnTo>
                  <a:pt x="104635" y="4782259"/>
                </a:lnTo>
                <a:cubicBezTo>
                  <a:pt x="104635" y="4794884"/>
                  <a:pt x="94400" y="4805119"/>
                  <a:pt x="81775" y="4805119"/>
                </a:cubicBezTo>
                <a:lnTo>
                  <a:pt x="0" y="4805119"/>
                </a:lnTo>
                <a:close/>
                <a:moveTo>
                  <a:pt x="0" y="4605871"/>
                </a:moveTo>
                <a:lnTo>
                  <a:pt x="173216" y="4605871"/>
                </a:lnTo>
                <a:cubicBezTo>
                  <a:pt x="185841" y="4605871"/>
                  <a:pt x="196076" y="4616106"/>
                  <a:pt x="196076" y="4628731"/>
                </a:cubicBezTo>
                <a:lnTo>
                  <a:pt x="196075" y="4628731"/>
                </a:lnTo>
                <a:cubicBezTo>
                  <a:pt x="196075" y="4641356"/>
                  <a:pt x="185840" y="4651591"/>
                  <a:pt x="173215" y="4651591"/>
                </a:cubicBezTo>
                <a:lnTo>
                  <a:pt x="0" y="4651591"/>
                </a:lnTo>
                <a:close/>
                <a:moveTo>
                  <a:pt x="0" y="4452343"/>
                </a:moveTo>
                <a:lnTo>
                  <a:pt x="81776" y="4452343"/>
                </a:lnTo>
                <a:cubicBezTo>
                  <a:pt x="94401" y="4452343"/>
                  <a:pt x="104636" y="4462578"/>
                  <a:pt x="104636" y="4475203"/>
                </a:cubicBezTo>
                <a:lnTo>
                  <a:pt x="104635" y="4475203"/>
                </a:lnTo>
                <a:cubicBezTo>
                  <a:pt x="104635" y="4487828"/>
                  <a:pt x="94400" y="4498063"/>
                  <a:pt x="81775" y="4498063"/>
                </a:cubicBezTo>
                <a:lnTo>
                  <a:pt x="0" y="4498063"/>
                </a:lnTo>
                <a:close/>
                <a:moveTo>
                  <a:pt x="0" y="4254560"/>
                </a:moveTo>
                <a:lnTo>
                  <a:pt x="279104" y="4254560"/>
                </a:lnTo>
                <a:cubicBezTo>
                  <a:pt x="303950" y="4254560"/>
                  <a:pt x="324091" y="4274701"/>
                  <a:pt x="324091" y="4299547"/>
                </a:cubicBezTo>
                <a:cubicBezTo>
                  <a:pt x="324091" y="4324393"/>
                  <a:pt x="303950" y="4344534"/>
                  <a:pt x="279104" y="4344534"/>
                </a:cubicBezTo>
                <a:lnTo>
                  <a:pt x="0" y="4344534"/>
                </a:lnTo>
                <a:close/>
                <a:moveTo>
                  <a:pt x="0" y="4076721"/>
                </a:moveTo>
                <a:lnTo>
                  <a:pt x="81776" y="4076721"/>
                </a:lnTo>
                <a:cubicBezTo>
                  <a:pt x="94401" y="4076721"/>
                  <a:pt x="104636" y="4086956"/>
                  <a:pt x="104636" y="4099581"/>
                </a:cubicBezTo>
                <a:lnTo>
                  <a:pt x="104635" y="4099581"/>
                </a:lnTo>
                <a:cubicBezTo>
                  <a:pt x="104635" y="4112206"/>
                  <a:pt x="94400" y="4122441"/>
                  <a:pt x="81775" y="4122441"/>
                </a:cubicBezTo>
                <a:lnTo>
                  <a:pt x="0" y="4122441"/>
                </a:lnTo>
                <a:close/>
                <a:moveTo>
                  <a:pt x="0" y="3923193"/>
                </a:moveTo>
                <a:lnTo>
                  <a:pt x="173216" y="3923193"/>
                </a:lnTo>
                <a:cubicBezTo>
                  <a:pt x="185841" y="3923193"/>
                  <a:pt x="196076" y="3933428"/>
                  <a:pt x="196076" y="3946053"/>
                </a:cubicBezTo>
                <a:lnTo>
                  <a:pt x="196075" y="3946053"/>
                </a:lnTo>
                <a:cubicBezTo>
                  <a:pt x="196075" y="3958678"/>
                  <a:pt x="185840" y="3968913"/>
                  <a:pt x="173215" y="3968913"/>
                </a:cubicBezTo>
                <a:lnTo>
                  <a:pt x="0" y="3968913"/>
                </a:lnTo>
                <a:close/>
                <a:moveTo>
                  <a:pt x="0" y="3769665"/>
                </a:moveTo>
                <a:lnTo>
                  <a:pt x="81776" y="3769665"/>
                </a:lnTo>
                <a:cubicBezTo>
                  <a:pt x="94401" y="3769665"/>
                  <a:pt x="104636" y="3779900"/>
                  <a:pt x="104636" y="3792525"/>
                </a:cubicBezTo>
                <a:lnTo>
                  <a:pt x="104635" y="3792525"/>
                </a:lnTo>
                <a:cubicBezTo>
                  <a:pt x="104635" y="3805150"/>
                  <a:pt x="94400" y="3815385"/>
                  <a:pt x="81775" y="3815385"/>
                </a:cubicBezTo>
                <a:lnTo>
                  <a:pt x="0" y="3815385"/>
                </a:lnTo>
                <a:close/>
                <a:moveTo>
                  <a:pt x="0" y="3571882"/>
                </a:moveTo>
                <a:lnTo>
                  <a:pt x="279104" y="3571882"/>
                </a:lnTo>
                <a:cubicBezTo>
                  <a:pt x="303950" y="3571882"/>
                  <a:pt x="324091" y="3592023"/>
                  <a:pt x="324091" y="3616869"/>
                </a:cubicBezTo>
                <a:cubicBezTo>
                  <a:pt x="324091" y="3641715"/>
                  <a:pt x="303950" y="3661856"/>
                  <a:pt x="279104" y="3661856"/>
                </a:cubicBezTo>
                <a:lnTo>
                  <a:pt x="0" y="3661856"/>
                </a:lnTo>
                <a:close/>
                <a:moveTo>
                  <a:pt x="0" y="3394043"/>
                </a:moveTo>
                <a:lnTo>
                  <a:pt x="81776" y="3394043"/>
                </a:lnTo>
                <a:cubicBezTo>
                  <a:pt x="94401" y="3394043"/>
                  <a:pt x="104636" y="3404279"/>
                  <a:pt x="104636" y="3416905"/>
                </a:cubicBezTo>
                <a:lnTo>
                  <a:pt x="104635" y="3416905"/>
                </a:lnTo>
                <a:cubicBezTo>
                  <a:pt x="104635" y="3429528"/>
                  <a:pt x="94400" y="3439763"/>
                  <a:pt x="81775" y="3439763"/>
                </a:cubicBezTo>
                <a:lnTo>
                  <a:pt x="0" y="3439763"/>
                </a:lnTo>
                <a:close/>
                <a:moveTo>
                  <a:pt x="0" y="3240516"/>
                </a:moveTo>
                <a:lnTo>
                  <a:pt x="173216" y="3240516"/>
                </a:lnTo>
                <a:cubicBezTo>
                  <a:pt x="185841" y="3240516"/>
                  <a:pt x="196076" y="3250752"/>
                  <a:pt x="196076" y="3263376"/>
                </a:cubicBezTo>
                <a:lnTo>
                  <a:pt x="196075" y="3263376"/>
                </a:lnTo>
                <a:cubicBezTo>
                  <a:pt x="196075" y="3276001"/>
                  <a:pt x="185840" y="3286236"/>
                  <a:pt x="173215" y="3286236"/>
                </a:cubicBezTo>
                <a:lnTo>
                  <a:pt x="0" y="3286236"/>
                </a:lnTo>
                <a:close/>
                <a:moveTo>
                  <a:pt x="0" y="3086989"/>
                </a:moveTo>
                <a:lnTo>
                  <a:pt x="81776" y="3086989"/>
                </a:lnTo>
                <a:cubicBezTo>
                  <a:pt x="94401" y="3086989"/>
                  <a:pt x="104636" y="3097224"/>
                  <a:pt x="104636" y="3109849"/>
                </a:cubicBezTo>
                <a:lnTo>
                  <a:pt x="104635" y="3109849"/>
                </a:lnTo>
                <a:cubicBezTo>
                  <a:pt x="104635" y="3122474"/>
                  <a:pt x="94400" y="3132709"/>
                  <a:pt x="81775" y="3132709"/>
                </a:cubicBezTo>
                <a:lnTo>
                  <a:pt x="0" y="3132709"/>
                </a:lnTo>
                <a:close/>
                <a:moveTo>
                  <a:pt x="0" y="2889206"/>
                </a:moveTo>
                <a:lnTo>
                  <a:pt x="279104" y="2889206"/>
                </a:lnTo>
                <a:cubicBezTo>
                  <a:pt x="303950" y="2889206"/>
                  <a:pt x="324091" y="2909347"/>
                  <a:pt x="324091" y="2934194"/>
                </a:cubicBezTo>
                <a:cubicBezTo>
                  <a:pt x="324091" y="2959039"/>
                  <a:pt x="303950" y="2979180"/>
                  <a:pt x="279104" y="2979180"/>
                </a:cubicBezTo>
                <a:lnTo>
                  <a:pt x="0" y="2979180"/>
                </a:lnTo>
                <a:close/>
                <a:moveTo>
                  <a:pt x="0" y="2711367"/>
                </a:moveTo>
                <a:lnTo>
                  <a:pt x="81776" y="2711367"/>
                </a:lnTo>
                <a:cubicBezTo>
                  <a:pt x="94401" y="2711367"/>
                  <a:pt x="104636" y="2721602"/>
                  <a:pt x="104636" y="2734227"/>
                </a:cubicBezTo>
                <a:lnTo>
                  <a:pt x="104635" y="2734227"/>
                </a:lnTo>
                <a:cubicBezTo>
                  <a:pt x="104635" y="2746852"/>
                  <a:pt x="94400" y="2757087"/>
                  <a:pt x="81775" y="2757087"/>
                </a:cubicBezTo>
                <a:lnTo>
                  <a:pt x="0" y="2757087"/>
                </a:lnTo>
                <a:close/>
                <a:moveTo>
                  <a:pt x="0" y="2557839"/>
                </a:moveTo>
                <a:lnTo>
                  <a:pt x="173216" y="2557839"/>
                </a:lnTo>
                <a:cubicBezTo>
                  <a:pt x="185841" y="2557839"/>
                  <a:pt x="196076" y="2568074"/>
                  <a:pt x="196076" y="2580699"/>
                </a:cubicBezTo>
                <a:lnTo>
                  <a:pt x="196075" y="2580699"/>
                </a:lnTo>
                <a:cubicBezTo>
                  <a:pt x="196075" y="2593324"/>
                  <a:pt x="185840" y="2603559"/>
                  <a:pt x="173215" y="2603559"/>
                </a:cubicBezTo>
                <a:lnTo>
                  <a:pt x="0" y="2603559"/>
                </a:lnTo>
                <a:close/>
                <a:moveTo>
                  <a:pt x="0" y="2404312"/>
                </a:moveTo>
                <a:lnTo>
                  <a:pt x="81776" y="2404312"/>
                </a:lnTo>
                <a:cubicBezTo>
                  <a:pt x="94401" y="2404312"/>
                  <a:pt x="104636" y="2414546"/>
                  <a:pt x="104636" y="2427171"/>
                </a:cubicBezTo>
                <a:lnTo>
                  <a:pt x="104635" y="2427171"/>
                </a:lnTo>
                <a:cubicBezTo>
                  <a:pt x="104635" y="2439796"/>
                  <a:pt x="94400" y="2450032"/>
                  <a:pt x="81775" y="2450032"/>
                </a:cubicBezTo>
                <a:lnTo>
                  <a:pt x="0" y="2450032"/>
                </a:lnTo>
                <a:close/>
                <a:moveTo>
                  <a:pt x="0" y="2206528"/>
                </a:moveTo>
                <a:lnTo>
                  <a:pt x="279104" y="2206528"/>
                </a:lnTo>
                <a:cubicBezTo>
                  <a:pt x="303950" y="2206528"/>
                  <a:pt x="324091" y="2226669"/>
                  <a:pt x="324091" y="2251515"/>
                </a:cubicBezTo>
                <a:cubicBezTo>
                  <a:pt x="324091" y="2276362"/>
                  <a:pt x="303950" y="2296503"/>
                  <a:pt x="279104" y="2296503"/>
                </a:cubicBezTo>
                <a:lnTo>
                  <a:pt x="0" y="2296503"/>
                </a:lnTo>
                <a:close/>
                <a:moveTo>
                  <a:pt x="0" y="2028689"/>
                </a:moveTo>
                <a:lnTo>
                  <a:pt x="81776" y="2028689"/>
                </a:lnTo>
                <a:cubicBezTo>
                  <a:pt x="94401" y="2028689"/>
                  <a:pt x="104636" y="2038925"/>
                  <a:pt x="104636" y="2051550"/>
                </a:cubicBezTo>
                <a:lnTo>
                  <a:pt x="104635" y="2051550"/>
                </a:lnTo>
                <a:cubicBezTo>
                  <a:pt x="104635" y="2064175"/>
                  <a:pt x="94400" y="2074409"/>
                  <a:pt x="81775" y="2074409"/>
                </a:cubicBezTo>
                <a:lnTo>
                  <a:pt x="0" y="2074409"/>
                </a:lnTo>
                <a:close/>
                <a:moveTo>
                  <a:pt x="0" y="1875162"/>
                </a:moveTo>
                <a:lnTo>
                  <a:pt x="173216" y="1875162"/>
                </a:lnTo>
                <a:cubicBezTo>
                  <a:pt x="185841" y="1875162"/>
                  <a:pt x="196076" y="1885397"/>
                  <a:pt x="196076" y="1898022"/>
                </a:cubicBezTo>
                <a:lnTo>
                  <a:pt x="196075" y="1898022"/>
                </a:lnTo>
                <a:cubicBezTo>
                  <a:pt x="196075" y="1910647"/>
                  <a:pt x="185840" y="1920882"/>
                  <a:pt x="173215" y="1920882"/>
                </a:cubicBezTo>
                <a:lnTo>
                  <a:pt x="0" y="1920882"/>
                </a:lnTo>
                <a:close/>
                <a:moveTo>
                  <a:pt x="0" y="1721635"/>
                </a:moveTo>
                <a:lnTo>
                  <a:pt x="81776" y="1721635"/>
                </a:lnTo>
                <a:cubicBezTo>
                  <a:pt x="94401" y="1721635"/>
                  <a:pt x="104636" y="1731870"/>
                  <a:pt x="104636" y="1744495"/>
                </a:cubicBezTo>
                <a:lnTo>
                  <a:pt x="104635" y="1744495"/>
                </a:lnTo>
                <a:cubicBezTo>
                  <a:pt x="104635" y="1757120"/>
                  <a:pt x="94400" y="1767355"/>
                  <a:pt x="81775" y="1767355"/>
                </a:cubicBezTo>
                <a:lnTo>
                  <a:pt x="0" y="1767355"/>
                </a:lnTo>
                <a:close/>
                <a:moveTo>
                  <a:pt x="0" y="1523851"/>
                </a:moveTo>
                <a:lnTo>
                  <a:pt x="279104" y="1523851"/>
                </a:lnTo>
                <a:cubicBezTo>
                  <a:pt x="303950" y="1523851"/>
                  <a:pt x="324091" y="1543992"/>
                  <a:pt x="324091" y="1568838"/>
                </a:cubicBezTo>
                <a:cubicBezTo>
                  <a:pt x="324091" y="1593684"/>
                  <a:pt x="303950" y="1613826"/>
                  <a:pt x="279104" y="1613826"/>
                </a:cubicBezTo>
                <a:lnTo>
                  <a:pt x="0" y="1613826"/>
                </a:lnTo>
                <a:close/>
                <a:moveTo>
                  <a:pt x="0" y="1346012"/>
                </a:moveTo>
                <a:lnTo>
                  <a:pt x="81776" y="1346012"/>
                </a:lnTo>
                <a:cubicBezTo>
                  <a:pt x="94401" y="1346012"/>
                  <a:pt x="104636" y="1356247"/>
                  <a:pt x="104636" y="1368872"/>
                </a:cubicBezTo>
                <a:lnTo>
                  <a:pt x="104635" y="1368872"/>
                </a:lnTo>
                <a:cubicBezTo>
                  <a:pt x="104635" y="1381497"/>
                  <a:pt x="94400" y="1391732"/>
                  <a:pt x="81775" y="1391732"/>
                </a:cubicBezTo>
                <a:lnTo>
                  <a:pt x="0" y="1391732"/>
                </a:lnTo>
                <a:close/>
                <a:moveTo>
                  <a:pt x="0" y="1192484"/>
                </a:moveTo>
                <a:lnTo>
                  <a:pt x="173216" y="1192484"/>
                </a:lnTo>
                <a:cubicBezTo>
                  <a:pt x="185841" y="1192484"/>
                  <a:pt x="196076" y="1202719"/>
                  <a:pt x="196076" y="1215344"/>
                </a:cubicBezTo>
                <a:lnTo>
                  <a:pt x="196075" y="1215344"/>
                </a:lnTo>
                <a:cubicBezTo>
                  <a:pt x="196075" y="1227969"/>
                  <a:pt x="185840" y="1238205"/>
                  <a:pt x="173215" y="1238205"/>
                </a:cubicBezTo>
                <a:lnTo>
                  <a:pt x="0" y="1238205"/>
                </a:lnTo>
                <a:close/>
                <a:moveTo>
                  <a:pt x="0" y="1038956"/>
                </a:moveTo>
                <a:lnTo>
                  <a:pt x="81776" y="1038956"/>
                </a:lnTo>
                <a:cubicBezTo>
                  <a:pt x="94401" y="1038956"/>
                  <a:pt x="104636" y="1049192"/>
                  <a:pt x="104636" y="1061817"/>
                </a:cubicBezTo>
                <a:lnTo>
                  <a:pt x="104635" y="1061817"/>
                </a:lnTo>
                <a:cubicBezTo>
                  <a:pt x="104635" y="1074442"/>
                  <a:pt x="94400" y="1084677"/>
                  <a:pt x="81775" y="1084677"/>
                </a:cubicBezTo>
                <a:lnTo>
                  <a:pt x="0" y="1084677"/>
                </a:lnTo>
                <a:close/>
                <a:moveTo>
                  <a:pt x="0" y="841173"/>
                </a:moveTo>
                <a:lnTo>
                  <a:pt x="279104" y="841173"/>
                </a:lnTo>
                <a:cubicBezTo>
                  <a:pt x="303950" y="841173"/>
                  <a:pt x="324091" y="861314"/>
                  <a:pt x="324091" y="886160"/>
                </a:cubicBezTo>
                <a:cubicBezTo>
                  <a:pt x="324091" y="911007"/>
                  <a:pt x="303950" y="931147"/>
                  <a:pt x="279104" y="931147"/>
                </a:cubicBezTo>
                <a:lnTo>
                  <a:pt x="0" y="931147"/>
                </a:lnTo>
                <a:close/>
                <a:moveTo>
                  <a:pt x="0" y="663334"/>
                </a:moveTo>
                <a:lnTo>
                  <a:pt x="81776" y="663334"/>
                </a:lnTo>
                <a:cubicBezTo>
                  <a:pt x="94401" y="663334"/>
                  <a:pt x="104636" y="673569"/>
                  <a:pt x="104636" y="686194"/>
                </a:cubicBezTo>
                <a:lnTo>
                  <a:pt x="104635" y="686194"/>
                </a:lnTo>
                <a:cubicBezTo>
                  <a:pt x="104635" y="698819"/>
                  <a:pt x="94400" y="709054"/>
                  <a:pt x="81775" y="709054"/>
                </a:cubicBezTo>
                <a:lnTo>
                  <a:pt x="0" y="709054"/>
                </a:lnTo>
                <a:close/>
                <a:moveTo>
                  <a:pt x="0" y="509806"/>
                </a:moveTo>
                <a:lnTo>
                  <a:pt x="173216" y="509806"/>
                </a:lnTo>
                <a:cubicBezTo>
                  <a:pt x="185841" y="509806"/>
                  <a:pt x="196076" y="520041"/>
                  <a:pt x="196076" y="532666"/>
                </a:cubicBezTo>
                <a:lnTo>
                  <a:pt x="196075" y="532666"/>
                </a:lnTo>
                <a:cubicBezTo>
                  <a:pt x="196075" y="545291"/>
                  <a:pt x="185840" y="555526"/>
                  <a:pt x="173215" y="555526"/>
                </a:cubicBezTo>
                <a:lnTo>
                  <a:pt x="0" y="555526"/>
                </a:lnTo>
                <a:close/>
                <a:moveTo>
                  <a:pt x="0" y="356279"/>
                </a:moveTo>
                <a:lnTo>
                  <a:pt x="81776" y="356279"/>
                </a:lnTo>
                <a:cubicBezTo>
                  <a:pt x="94401" y="356279"/>
                  <a:pt x="104636" y="366514"/>
                  <a:pt x="104636" y="379139"/>
                </a:cubicBezTo>
                <a:lnTo>
                  <a:pt x="104635" y="379139"/>
                </a:lnTo>
                <a:cubicBezTo>
                  <a:pt x="104635" y="391764"/>
                  <a:pt x="94400" y="401999"/>
                  <a:pt x="81775" y="401999"/>
                </a:cubicBezTo>
                <a:lnTo>
                  <a:pt x="0" y="401999"/>
                </a:lnTo>
                <a:close/>
                <a:moveTo>
                  <a:pt x="0" y="158496"/>
                </a:moveTo>
                <a:lnTo>
                  <a:pt x="279104" y="158496"/>
                </a:lnTo>
                <a:cubicBezTo>
                  <a:pt x="303950" y="158496"/>
                  <a:pt x="324091" y="178637"/>
                  <a:pt x="324091" y="203483"/>
                </a:cubicBezTo>
                <a:cubicBezTo>
                  <a:pt x="324091" y="228329"/>
                  <a:pt x="303950" y="248470"/>
                  <a:pt x="279104" y="248470"/>
                </a:cubicBezTo>
                <a:lnTo>
                  <a:pt x="0" y="248470"/>
                </a:lnTo>
                <a:close/>
                <a:moveTo>
                  <a:pt x="0" y="0"/>
                </a:moveTo>
                <a:lnTo>
                  <a:pt x="81776" y="0"/>
                </a:lnTo>
                <a:cubicBezTo>
                  <a:pt x="94401" y="0"/>
                  <a:pt x="104636" y="10235"/>
                  <a:pt x="104636" y="22860"/>
                </a:cubicBezTo>
                <a:lnTo>
                  <a:pt x="104635" y="22860"/>
                </a:lnTo>
                <a:cubicBezTo>
                  <a:pt x="104635" y="35485"/>
                  <a:pt x="94400" y="45720"/>
                  <a:pt x="81775" y="45720"/>
                </a:cubicBezTo>
                <a:lnTo>
                  <a:pt x="0" y="45720"/>
                </a:lnTo>
                <a:close/>
              </a:path>
            </a:pathLst>
          </a:custGeom>
          <a:solidFill>
            <a:schemeClr val="bg1">
              <a:alpha val="3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331113" y="2211598"/>
            <a:ext cx="9108607" cy="165576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3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0A7676B-2AF7-4ED8-A0D0-89A20E7F8870}"/>
              </a:ext>
            </a:extLst>
          </p:cNvPr>
          <p:cNvGrpSpPr/>
          <p:nvPr userDrawn="1"/>
        </p:nvGrpSpPr>
        <p:grpSpPr>
          <a:xfrm>
            <a:off x="11803080" y="979776"/>
            <a:ext cx="221196" cy="228600"/>
            <a:chOff x="11806154" y="979776"/>
            <a:chExt cx="221254" cy="228600"/>
          </a:xfrm>
        </p:grpSpPr>
        <p:sp>
          <p:nvSpPr>
            <p:cNvPr id="13" name="Round Same-side Corner of Rectangle 79">
              <a:extLst>
                <a:ext uri="{FF2B5EF4-FFF2-40B4-BE49-F238E27FC236}">
                  <a16:creationId xmlns:a16="http://schemas.microsoft.com/office/drawing/2014/main" id="{B9BCAF18-4615-42B9-902A-44E171DCB3BF}"/>
                </a:ext>
              </a:extLst>
            </p:cNvPr>
            <p:cNvSpPr/>
            <p:nvPr/>
          </p:nvSpPr>
          <p:spPr>
            <a:xfrm rot="5400000">
              <a:off x="11802481" y="983449"/>
              <a:ext cx="228600" cy="221254"/>
            </a:xfrm>
            <a:prstGeom prst="round2SameRect">
              <a:avLst>
                <a:gd name="adj1" fmla="val 0"/>
                <a:gd name="adj2" fmla="val 50000"/>
              </a:avLst>
            </a:prstGeom>
            <a:solidFill>
              <a:schemeClr val="tx2"/>
            </a:solidFill>
            <a:ln w="9525">
              <a:noFill/>
            </a:ln>
            <a:effectLst>
              <a:innerShdw blurRad="63500" dist="25400" dir="5400000">
                <a:prstClr val="black">
                  <a:alpha val="32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7D4A63D1-478D-4C09-A7E2-214975EAC28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843840" y="1010005"/>
              <a:ext cx="155448" cy="155448"/>
            </a:xfrm>
            <a:prstGeom prst="rect">
              <a:avLst/>
            </a:prstGeom>
          </p:spPr>
        </p:pic>
      </p:grp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A515D08-7FC7-442E-B410-6A2F6F29CE1B}"/>
              </a:ext>
            </a:extLst>
          </p:cNvPr>
          <p:cNvSpPr/>
          <p:nvPr userDrawn="1"/>
        </p:nvSpPr>
        <p:spPr>
          <a:xfrm>
            <a:off x="558654" y="706397"/>
            <a:ext cx="4012155" cy="977900"/>
          </a:xfrm>
          <a:prstGeom prst="roundRect">
            <a:avLst>
              <a:gd name="adj" fmla="val 50000"/>
            </a:avLst>
          </a:prstGeom>
          <a:solidFill>
            <a:schemeClr val="bg1">
              <a:alpha val="39000"/>
            </a:schemeClr>
          </a:solidFill>
          <a:ln w="190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293027" y="552617"/>
            <a:ext cx="9385073" cy="1304513"/>
          </a:xfrm>
        </p:spPr>
        <p:txBody>
          <a:bodyPr anchor="ctr">
            <a:noAutofit/>
          </a:bodyPr>
          <a:lstStyle>
            <a:lvl1pPr algn="l">
              <a:defRPr sz="3999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C0BFD91-4BA7-4EBF-8725-DDE8E16C107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6846" y="830910"/>
            <a:ext cx="756788" cy="737866"/>
            <a:chOff x="2578100" y="0"/>
            <a:chExt cx="11628438" cy="11334750"/>
          </a:xfrm>
          <a:solidFill>
            <a:schemeClr val="bg1">
              <a:alpha val="80000"/>
            </a:schemeClr>
          </a:solidFill>
        </p:grpSpPr>
        <p:sp>
          <p:nvSpPr>
            <p:cNvPr id="18" name="Freeform 15">
              <a:extLst>
                <a:ext uri="{FF2B5EF4-FFF2-40B4-BE49-F238E27FC236}">
                  <a16:creationId xmlns:a16="http://schemas.microsoft.com/office/drawing/2014/main" id="{EEF9C15E-F755-4EF9-A226-EB18D6956F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2263" y="0"/>
              <a:ext cx="4994275" cy="5073650"/>
            </a:xfrm>
            <a:custGeom>
              <a:avLst/>
              <a:gdLst>
                <a:gd name="T0" fmla="*/ 211 w 442"/>
                <a:gd name="T1" fmla="*/ 137 h 449"/>
                <a:gd name="T2" fmla="*/ 308 w 442"/>
                <a:gd name="T3" fmla="*/ 215 h 449"/>
                <a:gd name="T4" fmla="*/ 231 w 442"/>
                <a:gd name="T5" fmla="*/ 312 h 449"/>
                <a:gd name="T6" fmla="*/ 133 w 442"/>
                <a:gd name="T7" fmla="*/ 235 h 449"/>
                <a:gd name="T8" fmla="*/ 211 w 442"/>
                <a:gd name="T9" fmla="*/ 137 h 449"/>
                <a:gd name="T10" fmla="*/ 65 w 442"/>
                <a:gd name="T11" fmla="*/ 283 h 449"/>
                <a:gd name="T12" fmla="*/ 16 w 442"/>
                <a:gd name="T13" fmla="*/ 320 h 449"/>
                <a:gd name="T14" fmla="*/ 71 w 442"/>
                <a:gd name="T15" fmla="*/ 394 h 449"/>
                <a:gd name="T16" fmla="*/ 121 w 442"/>
                <a:gd name="T17" fmla="*/ 357 h 449"/>
                <a:gd name="T18" fmla="*/ 194 w 442"/>
                <a:gd name="T19" fmla="*/ 389 h 449"/>
                <a:gd name="T20" fmla="*/ 201 w 442"/>
                <a:gd name="T21" fmla="*/ 449 h 449"/>
                <a:gd name="T22" fmla="*/ 292 w 442"/>
                <a:gd name="T23" fmla="*/ 439 h 449"/>
                <a:gd name="T24" fmla="*/ 285 w 442"/>
                <a:gd name="T25" fmla="*/ 378 h 449"/>
                <a:gd name="T26" fmla="*/ 349 w 442"/>
                <a:gd name="T27" fmla="*/ 330 h 449"/>
                <a:gd name="T28" fmla="*/ 405 w 442"/>
                <a:gd name="T29" fmla="*/ 354 h 449"/>
                <a:gd name="T30" fmla="*/ 442 w 442"/>
                <a:gd name="T31" fmla="*/ 270 h 449"/>
                <a:gd name="T32" fmla="*/ 385 w 442"/>
                <a:gd name="T33" fmla="*/ 246 h 449"/>
                <a:gd name="T34" fmla="*/ 376 w 442"/>
                <a:gd name="T35" fmla="*/ 166 h 449"/>
                <a:gd name="T36" fmla="*/ 425 w 442"/>
                <a:gd name="T37" fmla="*/ 130 h 449"/>
                <a:gd name="T38" fmla="*/ 370 w 442"/>
                <a:gd name="T39" fmla="*/ 56 h 449"/>
                <a:gd name="T40" fmla="*/ 321 w 442"/>
                <a:gd name="T41" fmla="*/ 93 h 449"/>
                <a:gd name="T42" fmla="*/ 248 w 442"/>
                <a:gd name="T43" fmla="*/ 61 h 449"/>
                <a:gd name="T44" fmla="*/ 241 w 442"/>
                <a:gd name="T45" fmla="*/ 0 h 449"/>
                <a:gd name="T46" fmla="*/ 149 w 442"/>
                <a:gd name="T47" fmla="*/ 11 h 449"/>
                <a:gd name="T48" fmla="*/ 156 w 442"/>
                <a:gd name="T49" fmla="*/ 72 h 449"/>
                <a:gd name="T50" fmla="*/ 93 w 442"/>
                <a:gd name="T51" fmla="*/ 119 h 449"/>
                <a:gd name="T52" fmla="*/ 36 w 442"/>
                <a:gd name="T53" fmla="*/ 95 h 449"/>
                <a:gd name="T54" fmla="*/ 0 w 442"/>
                <a:gd name="T55" fmla="*/ 180 h 449"/>
                <a:gd name="T56" fmla="*/ 56 w 442"/>
                <a:gd name="T57" fmla="*/ 204 h 449"/>
                <a:gd name="T58" fmla="*/ 65 w 442"/>
                <a:gd name="T59" fmla="*/ 283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2" h="449">
                  <a:moveTo>
                    <a:pt x="211" y="137"/>
                  </a:moveTo>
                  <a:cubicBezTo>
                    <a:pt x="259" y="132"/>
                    <a:pt x="303" y="166"/>
                    <a:pt x="308" y="215"/>
                  </a:cubicBezTo>
                  <a:cubicBezTo>
                    <a:pt x="314" y="263"/>
                    <a:pt x="279" y="307"/>
                    <a:pt x="231" y="312"/>
                  </a:cubicBezTo>
                  <a:cubicBezTo>
                    <a:pt x="183" y="318"/>
                    <a:pt x="139" y="283"/>
                    <a:pt x="133" y="235"/>
                  </a:cubicBezTo>
                  <a:cubicBezTo>
                    <a:pt x="128" y="187"/>
                    <a:pt x="162" y="143"/>
                    <a:pt x="211" y="137"/>
                  </a:cubicBezTo>
                  <a:close/>
                  <a:moveTo>
                    <a:pt x="65" y="283"/>
                  </a:moveTo>
                  <a:cubicBezTo>
                    <a:pt x="16" y="320"/>
                    <a:pt x="16" y="320"/>
                    <a:pt x="16" y="320"/>
                  </a:cubicBezTo>
                  <a:cubicBezTo>
                    <a:pt x="71" y="394"/>
                    <a:pt x="71" y="394"/>
                    <a:pt x="71" y="394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94" y="389"/>
                    <a:pt x="194" y="389"/>
                    <a:pt x="194" y="389"/>
                  </a:cubicBezTo>
                  <a:cubicBezTo>
                    <a:pt x="201" y="449"/>
                    <a:pt x="201" y="449"/>
                    <a:pt x="201" y="449"/>
                  </a:cubicBezTo>
                  <a:cubicBezTo>
                    <a:pt x="292" y="439"/>
                    <a:pt x="292" y="439"/>
                    <a:pt x="292" y="439"/>
                  </a:cubicBezTo>
                  <a:cubicBezTo>
                    <a:pt x="285" y="378"/>
                    <a:pt x="285" y="378"/>
                    <a:pt x="285" y="378"/>
                  </a:cubicBezTo>
                  <a:cubicBezTo>
                    <a:pt x="349" y="330"/>
                    <a:pt x="349" y="330"/>
                    <a:pt x="349" y="330"/>
                  </a:cubicBezTo>
                  <a:cubicBezTo>
                    <a:pt x="405" y="354"/>
                    <a:pt x="405" y="354"/>
                    <a:pt x="405" y="354"/>
                  </a:cubicBezTo>
                  <a:cubicBezTo>
                    <a:pt x="442" y="270"/>
                    <a:pt x="442" y="270"/>
                    <a:pt x="442" y="270"/>
                  </a:cubicBezTo>
                  <a:cubicBezTo>
                    <a:pt x="385" y="246"/>
                    <a:pt x="385" y="246"/>
                    <a:pt x="385" y="246"/>
                  </a:cubicBezTo>
                  <a:cubicBezTo>
                    <a:pt x="376" y="166"/>
                    <a:pt x="376" y="166"/>
                    <a:pt x="376" y="166"/>
                  </a:cubicBezTo>
                  <a:cubicBezTo>
                    <a:pt x="425" y="130"/>
                    <a:pt x="425" y="130"/>
                    <a:pt x="425" y="130"/>
                  </a:cubicBezTo>
                  <a:cubicBezTo>
                    <a:pt x="370" y="56"/>
                    <a:pt x="370" y="56"/>
                    <a:pt x="370" y="56"/>
                  </a:cubicBezTo>
                  <a:cubicBezTo>
                    <a:pt x="321" y="93"/>
                    <a:pt x="321" y="93"/>
                    <a:pt x="321" y="93"/>
                  </a:cubicBezTo>
                  <a:cubicBezTo>
                    <a:pt x="248" y="61"/>
                    <a:pt x="248" y="61"/>
                    <a:pt x="248" y="61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56" y="72"/>
                    <a:pt x="156" y="72"/>
                    <a:pt x="156" y="72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36" y="95"/>
                    <a:pt x="36" y="95"/>
                    <a:pt x="36" y="95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56" y="204"/>
                    <a:pt x="56" y="204"/>
                    <a:pt x="56" y="204"/>
                  </a:cubicBezTo>
                  <a:lnTo>
                    <a:pt x="65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19" name="Freeform 16">
              <a:extLst>
                <a:ext uri="{FF2B5EF4-FFF2-40B4-BE49-F238E27FC236}">
                  <a16:creationId xmlns:a16="http://schemas.microsoft.com/office/drawing/2014/main" id="{C47B1B4D-CA46-4208-B905-69216BCEE9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0313" y="6340475"/>
              <a:ext cx="5073650" cy="4994275"/>
            </a:xfrm>
            <a:custGeom>
              <a:avLst/>
              <a:gdLst>
                <a:gd name="T0" fmla="*/ 306 w 449"/>
                <a:gd name="T1" fmla="*/ 256 h 442"/>
                <a:gd name="T2" fmla="*/ 190 w 449"/>
                <a:gd name="T3" fmla="*/ 302 h 442"/>
                <a:gd name="T4" fmla="*/ 144 w 449"/>
                <a:gd name="T5" fmla="*/ 186 h 442"/>
                <a:gd name="T6" fmla="*/ 259 w 449"/>
                <a:gd name="T7" fmla="*/ 140 h 442"/>
                <a:gd name="T8" fmla="*/ 306 w 449"/>
                <a:gd name="T9" fmla="*/ 256 h 442"/>
                <a:gd name="T10" fmla="*/ 449 w 449"/>
                <a:gd name="T11" fmla="*/ 240 h 442"/>
                <a:gd name="T12" fmla="*/ 438 w 449"/>
                <a:gd name="T13" fmla="*/ 149 h 442"/>
                <a:gd name="T14" fmla="*/ 377 w 449"/>
                <a:gd name="T15" fmla="*/ 156 h 442"/>
                <a:gd name="T16" fmla="*/ 330 w 449"/>
                <a:gd name="T17" fmla="*/ 92 h 442"/>
                <a:gd name="T18" fmla="*/ 354 w 449"/>
                <a:gd name="T19" fmla="*/ 36 h 442"/>
                <a:gd name="T20" fmla="*/ 269 w 449"/>
                <a:gd name="T21" fmla="*/ 0 h 442"/>
                <a:gd name="T22" fmla="*/ 245 w 449"/>
                <a:gd name="T23" fmla="*/ 56 h 442"/>
                <a:gd name="T24" fmla="*/ 166 w 449"/>
                <a:gd name="T25" fmla="*/ 66 h 442"/>
                <a:gd name="T26" fmla="*/ 129 w 449"/>
                <a:gd name="T27" fmla="*/ 17 h 442"/>
                <a:gd name="T28" fmla="*/ 55 w 449"/>
                <a:gd name="T29" fmla="*/ 72 h 442"/>
                <a:gd name="T30" fmla="*/ 92 w 449"/>
                <a:gd name="T31" fmla="*/ 121 h 442"/>
                <a:gd name="T32" fmla="*/ 61 w 449"/>
                <a:gd name="T33" fmla="*/ 194 h 442"/>
                <a:gd name="T34" fmla="*/ 0 w 449"/>
                <a:gd name="T35" fmla="*/ 202 h 442"/>
                <a:gd name="T36" fmla="*/ 11 w 449"/>
                <a:gd name="T37" fmla="*/ 293 h 442"/>
                <a:gd name="T38" fmla="*/ 72 w 449"/>
                <a:gd name="T39" fmla="*/ 286 h 442"/>
                <a:gd name="T40" fmla="*/ 120 w 449"/>
                <a:gd name="T41" fmla="*/ 350 h 442"/>
                <a:gd name="T42" fmla="*/ 96 w 449"/>
                <a:gd name="T43" fmla="*/ 406 h 442"/>
                <a:gd name="T44" fmla="*/ 180 w 449"/>
                <a:gd name="T45" fmla="*/ 442 h 442"/>
                <a:gd name="T46" fmla="*/ 205 w 449"/>
                <a:gd name="T47" fmla="*/ 386 h 442"/>
                <a:gd name="T48" fmla="*/ 284 w 449"/>
                <a:gd name="T49" fmla="*/ 376 h 442"/>
                <a:gd name="T50" fmla="*/ 320 w 449"/>
                <a:gd name="T51" fmla="*/ 425 h 442"/>
                <a:gd name="T52" fmla="*/ 394 w 449"/>
                <a:gd name="T53" fmla="*/ 370 h 442"/>
                <a:gd name="T54" fmla="*/ 357 w 449"/>
                <a:gd name="T55" fmla="*/ 321 h 442"/>
                <a:gd name="T56" fmla="*/ 389 w 449"/>
                <a:gd name="T57" fmla="*/ 248 h 442"/>
                <a:gd name="T58" fmla="*/ 449 w 449"/>
                <a:gd name="T59" fmla="*/ 24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9" h="442">
                  <a:moveTo>
                    <a:pt x="306" y="256"/>
                  </a:moveTo>
                  <a:cubicBezTo>
                    <a:pt x="287" y="300"/>
                    <a:pt x="235" y="321"/>
                    <a:pt x="190" y="302"/>
                  </a:cubicBezTo>
                  <a:cubicBezTo>
                    <a:pt x="145" y="283"/>
                    <a:pt x="125" y="231"/>
                    <a:pt x="144" y="186"/>
                  </a:cubicBezTo>
                  <a:cubicBezTo>
                    <a:pt x="163" y="142"/>
                    <a:pt x="215" y="121"/>
                    <a:pt x="259" y="140"/>
                  </a:cubicBezTo>
                  <a:cubicBezTo>
                    <a:pt x="304" y="159"/>
                    <a:pt x="325" y="211"/>
                    <a:pt x="306" y="256"/>
                  </a:cubicBezTo>
                  <a:close/>
                  <a:moveTo>
                    <a:pt x="449" y="240"/>
                  </a:moveTo>
                  <a:cubicBezTo>
                    <a:pt x="438" y="149"/>
                    <a:pt x="438" y="149"/>
                    <a:pt x="438" y="149"/>
                  </a:cubicBezTo>
                  <a:cubicBezTo>
                    <a:pt x="377" y="156"/>
                    <a:pt x="377" y="156"/>
                    <a:pt x="377" y="156"/>
                  </a:cubicBezTo>
                  <a:cubicBezTo>
                    <a:pt x="330" y="92"/>
                    <a:pt x="330" y="92"/>
                    <a:pt x="330" y="92"/>
                  </a:cubicBezTo>
                  <a:cubicBezTo>
                    <a:pt x="354" y="36"/>
                    <a:pt x="354" y="36"/>
                    <a:pt x="354" y="36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245" y="56"/>
                    <a:pt x="245" y="56"/>
                    <a:pt x="245" y="56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92" y="121"/>
                    <a:pt x="92" y="121"/>
                    <a:pt x="92" y="121"/>
                  </a:cubicBezTo>
                  <a:cubicBezTo>
                    <a:pt x="61" y="194"/>
                    <a:pt x="61" y="194"/>
                    <a:pt x="61" y="194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11" y="293"/>
                    <a:pt x="11" y="293"/>
                    <a:pt x="11" y="293"/>
                  </a:cubicBezTo>
                  <a:cubicBezTo>
                    <a:pt x="72" y="286"/>
                    <a:pt x="72" y="286"/>
                    <a:pt x="72" y="286"/>
                  </a:cubicBezTo>
                  <a:cubicBezTo>
                    <a:pt x="120" y="350"/>
                    <a:pt x="120" y="350"/>
                    <a:pt x="120" y="350"/>
                  </a:cubicBezTo>
                  <a:cubicBezTo>
                    <a:pt x="96" y="406"/>
                    <a:pt x="96" y="406"/>
                    <a:pt x="96" y="406"/>
                  </a:cubicBezTo>
                  <a:cubicBezTo>
                    <a:pt x="180" y="442"/>
                    <a:pt x="180" y="442"/>
                    <a:pt x="180" y="442"/>
                  </a:cubicBezTo>
                  <a:cubicBezTo>
                    <a:pt x="205" y="386"/>
                    <a:pt x="205" y="386"/>
                    <a:pt x="205" y="386"/>
                  </a:cubicBezTo>
                  <a:cubicBezTo>
                    <a:pt x="284" y="376"/>
                    <a:pt x="284" y="376"/>
                    <a:pt x="284" y="376"/>
                  </a:cubicBezTo>
                  <a:cubicBezTo>
                    <a:pt x="320" y="425"/>
                    <a:pt x="320" y="425"/>
                    <a:pt x="320" y="425"/>
                  </a:cubicBezTo>
                  <a:cubicBezTo>
                    <a:pt x="394" y="370"/>
                    <a:pt x="394" y="370"/>
                    <a:pt x="394" y="370"/>
                  </a:cubicBezTo>
                  <a:cubicBezTo>
                    <a:pt x="357" y="321"/>
                    <a:pt x="357" y="321"/>
                    <a:pt x="357" y="321"/>
                  </a:cubicBezTo>
                  <a:cubicBezTo>
                    <a:pt x="389" y="248"/>
                    <a:pt x="389" y="248"/>
                    <a:pt x="389" y="248"/>
                  </a:cubicBezTo>
                  <a:lnTo>
                    <a:pt x="449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0" name="Freeform 17">
              <a:extLst>
                <a:ext uri="{FF2B5EF4-FFF2-40B4-BE49-F238E27FC236}">
                  <a16:creationId xmlns:a16="http://schemas.microsoft.com/office/drawing/2014/main" id="{22B1DE75-892C-41C7-B11E-F0232FDBEB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8100" y="1638300"/>
              <a:ext cx="7627938" cy="7616825"/>
            </a:xfrm>
            <a:custGeom>
              <a:avLst/>
              <a:gdLst>
                <a:gd name="T0" fmla="*/ 337 w 675"/>
                <a:gd name="T1" fmla="*/ 485 h 674"/>
                <a:gd name="T2" fmla="*/ 189 w 675"/>
                <a:gd name="T3" fmla="*/ 337 h 674"/>
                <a:gd name="T4" fmla="*/ 337 w 675"/>
                <a:gd name="T5" fmla="*/ 189 h 674"/>
                <a:gd name="T6" fmla="*/ 486 w 675"/>
                <a:gd name="T7" fmla="*/ 337 h 674"/>
                <a:gd name="T8" fmla="*/ 337 w 675"/>
                <a:gd name="T9" fmla="*/ 485 h 674"/>
                <a:gd name="T10" fmla="*/ 571 w 675"/>
                <a:gd name="T11" fmla="*/ 479 h 674"/>
                <a:gd name="T12" fmla="*/ 602 w 675"/>
                <a:gd name="T13" fmla="*/ 401 h 674"/>
                <a:gd name="T14" fmla="*/ 675 w 675"/>
                <a:gd name="T15" fmla="*/ 395 h 674"/>
                <a:gd name="T16" fmla="*/ 675 w 675"/>
                <a:gd name="T17" fmla="*/ 279 h 674"/>
                <a:gd name="T18" fmla="*/ 602 w 675"/>
                <a:gd name="T19" fmla="*/ 272 h 674"/>
                <a:gd name="T20" fmla="*/ 571 w 675"/>
                <a:gd name="T21" fmla="*/ 195 h 674"/>
                <a:gd name="T22" fmla="*/ 617 w 675"/>
                <a:gd name="T23" fmla="*/ 139 h 674"/>
                <a:gd name="T24" fmla="*/ 535 w 675"/>
                <a:gd name="T25" fmla="*/ 57 h 674"/>
                <a:gd name="T26" fmla="*/ 479 w 675"/>
                <a:gd name="T27" fmla="*/ 104 h 674"/>
                <a:gd name="T28" fmla="*/ 402 w 675"/>
                <a:gd name="T29" fmla="*/ 72 h 674"/>
                <a:gd name="T30" fmla="*/ 395 w 675"/>
                <a:gd name="T31" fmla="*/ 0 h 674"/>
                <a:gd name="T32" fmla="*/ 279 w 675"/>
                <a:gd name="T33" fmla="*/ 0 h 674"/>
                <a:gd name="T34" fmla="*/ 273 w 675"/>
                <a:gd name="T35" fmla="*/ 72 h 674"/>
                <a:gd name="T36" fmla="*/ 195 w 675"/>
                <a:gd name="T37" fmla="*/ 103 h 674"/>
                <a:gd name="T38" fmla="*/ 140 w 675"/>
                <a:gd name="T39" fmla="*/ 57 h 674"/>
                <a:gd name="T40" fmla="*/ 58 w 675"/>
                <a:gd name="T41" fmla="*/ 139 h 674"/>
                <a:gd name="T42" fmla="*/ 104 w 675"/>
                <a:gd name="T43" fmla="*/ 195 h 674"/>
                <a:gd name="T44" fmla="*/ 72 w 675"/>
                <a:gd name="T45" fmla="*/ 272 h 674"/>
                <a:gd name="T46" fmla="*/ 0 w 675"/>
                <a:gd name="T47" fmla="*/ 279 h 674"/>
                <a:gd name="T48" fmla="*/ 0 w 675"/>
                <a:gd name="T49" fmla="*/ 395 h 674"/>
                <a:gd name="T50" fmla="*/ 72 w 675"/>
                <a:gd name="T51" fmla="*/ 401 h 674"/>
                <a:gd name="T52" fmla="*/ 104 w 675"/>
                <a:gd name="T53" fmla="*/ 479 h 674"/>
                <a:gd name="T54" fmla="*/ 58 w 675"/>
                <a:gd name="T55" fmla="*/ 534 h 674"/>
                <a:gd name="T56" fmla="*/ 140 w 675"/>
                <a:gd name="T57" fmla="*/ 616 h 674"/>
                <a:gd name="T58" fmla="*/ 195 w 675"/>
                <a:gd name="T59" fmla="*/ 570 h 674"/>
                <a:gd name="T60" fmla="*/ 273 w 675"/>
                <a:gd name="T61" fmla="*/ 602 h 674"/>
                <a:gd name="T62" fmla="*/ 279 w 675"/>
                <a:gd name="T63" fmla="*/ 674 h 674"/>
                <a:gd name="T64" fmla="*/ 395 w 675"/>
                <a:gd name="T65" fmla="*/ 674 h 674"/>
                <a:gd name="T66" fmla="*/ 402 w 675"/>
                <a:gd name="T67" fmla="*/ 602 h 674"/>
                <a:gd name="T68" fmla="*/ 479 w 675"/>
                <a:gd name="T69" fmla="*/ 570 h 674"/>
                <a:gd name="T70" fmla="*/ 535 w 675"/>
                <a:gd name="T71" fmla="*/ 616 h 674"/>
                <a:gd name="T72" fmla="*/ 617 w 675"/>
                <a:gd name="T73" fmla="*/ 534 h 674"/>
                <a:gd name="T74" fmla="*/ 571 w 675"/>
                <a:gd name="T75" fmla="*/ 479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5" h="674">
                  <a:moveTo>
                    <a:pt x="337" y="485"/>
                  </a:moveTo>
                  <a:cubicBezTo>
                    <a:pt x="255" y="485"/>
                    <a:pt x="189" y="419"/>
                    <a:pt x="189" y="337"/>
                  </a:cubicBezTo>
                  <a:cubicBezTo>
                    <a:pt x="189" y="255"/>
                    <a:pt x="255" y="189"/>
                    <a:pt x="337" y="189"/>
                  </a:cubicBezTo>
                  <a:cubicBezTo>
                    <a:pt x="419" y="189"/>
                    <a:pt x="486" y="255"/>
                    <a:pt x="486" y="337"/>
                  </a:cubicBezTo>
                  <a:cubicBezTo>
                    <a:pt x="486" y="419"/>
                    <a:pt x="419" y="485"/>
                    <a:pt x="337" y="485"/>
                  </a:cubicBezTo>
                  <a:close/>
                  <a:moveTo>
                    <a:pt x="571" y="479"/>
                  </a:moveTo>
                  <a:cubicBezTo>
                    <a:pt x="602" y="401"/>
                    <a:pt x="602" y="401"/>
                    <a:pt x="602" y="401"/>
                  </a:cubicBezTo>
                  <a:cubicBezTo>
                    <a:pt x="675" y="395"/>
                    <a:pt x="675" y="395"/>
                    <a:pt x="675" y="395"/>
                  </a:cubicBezTo>
                  <a:cubicBezTo>
                    <a:pt x="675" y="279"/>
                    <a:pt x="675" y="279"/>
                    <a:pt x="675" y="279"/>
                  </a:cubicBezTo>
                  <a:cubicBezTo>
                    <a:pt x="602" y="272"/>
                    <a:pt x="602" y="272"/>
                    <a:pt x="602" y="272"/>
                  </a:cubicBezTo>
                  <a:cubicBezTo>
                    <a:pt x="571" y="195"/>
                    <a:pt x="571" y="195"/>
                    <a:pt x="571" y="195"/>
                  </a:cubicBezTo>
                  <a:cubicBezTo>
                    <a:pt x="617" y="139"/>
                    <a:pt x="617" y="139"/>
                    <a:pt x="617" y="139"/>
                  </a:cubicBezTo>
                  <a:cubicBezTo>
                    <a:pt x="535" y="57"/>
                    <a:pt x="535" y="57"/>
                    <a:pt x="535" y="57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02" y="72"/>
                    <a:pt x="402" y="72"/>
                    <a:pt x="402" y="72"/>
                  </a:cubicBezTo>
                  <a:cubicBezTo>
                    <a:pt x="395" y="0"/>
                    <a:pt x="395" y="0"/>
                    <a:pt x="395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3" y="72"/>
                    <a:pt x="273" y="72"/>
                    <a:pt x="273" y="72"/>
                  </a:cubicBezTo>
                  <a:cubicBezTo>
                    <a:pt x="195" y="103"/>
                    <a:pt x="195" y="103"/>
                    <a:pt x="195" y="103"/>
                  </a:cubicBezTo>
                  <a:cubicBezTo>
                    <a:pt x="140" y="57"/>
                    <a:pt x="140" y="57"/>
                    <a:pt x="140" y="57"/>
                  </a:cubicBezTo>
                  <a:cubicBezTo>
                    <a:pt x="58" y="139"/>
                    <a:pt x="58" y="139"/>
                    <a:pt x="58" y="139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72" y="272"/>
                    <a:pt x="72" y="272"/>
                    <a:pt x="72" y="272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0" y="395"/>
                    <a:pt x="0" y="395"/>
                    <a:pt x="0" y="395"/>
                  </a:cubicBezTo>
                  <a:cubicBezTo>
                    <a:pt x="72" y="401"/>
                    <a:pt x="72" y="401"/>
                    <a:pt x="72" y="401"/>
                  </a:cubicBezTo>
                  <a:cubicBezTo>
                    <a:pt x="104" y="479"/>
                    <a:pt x="104" y="479"/>
                    <a:pt x="104" y="479"/>
                  </a:cubicBezTo>
                  <a:cubicBezTo>
                    <a:pt x="58" y="534"/>
                    <a:pt x="58" y="534"/>
                    <a:pt x="58" y="534"/>
                  </a:cubicBezTo>
                  <a:cubicBezTo>
                    <a:pt x="140" y="616"/>
                    <a:pt x="140" y="616"/>
                    <a:pt x="140" y="616"/>
                  </a:cubicBezTo>
                  <a:cubicBezTo>
                    <a:pt x="195" y="570"/>
                    <a:pt x="195" y="570"/>
                    <a:pt x="195" y="570"/>
                  </a:cubicBezTo>
                  <a:cubicBezTo>
                    <a:pt x="273" y="602"/>
                    <a:pt x="273" y="602"/>
                    <a:pt x="273" y="602"/>
                  </a:cubicBezTo>
                  <a:cubicBezTo>
                    <a:pt x="279" y="674"/>
                    <a:pt x="279" y="674"/>
                    <a:pt x="279" y="674"/>
                  </a:cubicBezTo>
                  <a:cubicBezTo>
                    <a:pt x="395" y="674"/>
                    <a:pt x="395" y="674"/>
                    <a:pt x="395" y="674"/>
                  </a:cubicBezTo>
                  <a:cubicBezTo>
                    <a:pt x="402" y="602"/>
                    <a:pt x="402" y="602"/>
                    <a:pt x="402" y="602"/>
                  </a:cubicBezTo>
                  <a:cubicBezTo>
                    <a:pt x="479" y="570"/>
                    <a:pt x="479" y="570"/>
                    <a:pt x="479" y="570"/>
                  </a:cubicBezTo>
                  <a:cubicBezTo>
                    <a:pt x="535" y="616"/>
                    <a:pt x="535" y="616"/>
                    <a:pt x="535" y="616"/>
                  </a:cubicBezTo>
                  <a:cubicBezTo>
                    <a:pt x="617" y="534"/>
                    <a:pt x="617" y="534"/>
                    <a:pt x="617" y="534"/>
                  </a:cubicBezTo>
                  <a:lnTo>
                    <a:pt x="571" y="4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pic>
        <p:nvPicPr>
          <p:cNvPr id="21" name="Picture 20" descr="Logo&#10;&#10;Description automatically generated">
            <a:extLst>
              <a:ext uri="{FF2B5EF4-FFF2-40B4-BE49-F238E27FC236}">
                <a16:creationId xmlns:a16="http://schemas.microsoft.com/office/drawing/2014/main" id="{44F45850-62A8-4590-818F-5373124BEAA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32883" y="6120714"/>
            <a:ext cx="1017656" cy="420241"/>
          </a:xfrm>
          <a:prstGeom prst="rect">
            <a:avLst/>
          </a:prstGeom>
        </p:spPr>
      </p:pic>
      <p:sp>
        <p:nvSpPr>
          <p:cNvPr id="22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D1654BF4-55FF-42BA-9BBA-90A8ED8BEBE9}"/>
              </a:ext>
            </a:extLst>
          </p:cNvPr>
          <p:cNvSpPr/>
          <p:nvPr userDrawn="1"/>
        </p:nvSpPr>
        <p:spPr>
          <a:xfrm rot="5400000">
            <a:off x="11809682" y="871594"/>
            <a:ext cx="320468" cy="437817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9637314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llar 7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4" name="Round Same-side Corner of Rectangle 79">
            <a:extLst>
              <a:ext uri="{FF2B5EF4-FFF2-40B4-BE49-F238E27FC236}">
                <a16:creationId xmlns:a16="http://schemas.microsoft.com/office/drawing/2014/main" id="{429E155D-7E57-4822-8852-F94F1A49D6FC}"/>
              </a:ext>
            </a:extLst>
          </p:cNvPr>
          <p:cNvSpPr/>
          <p:nvPr userDrawn="1"/>
        </p:nvSpPr>
        <p:spPr>
          <a:xfrm rot="16200000">
            <a:off x="11384856" y="4661233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8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0" name="Round Same-side Corner of Rectangle 79">
            <a:extLst>
              <a:ext uri="{FF2B5EF4-FFF2-40B4-BE49-F238E27FC236}">
                <a16:creationId xmlns:a16="http://schemas.microsoft.com/office/drawing/2014/main" id="{DA632258-7E89-4C63-86BD-EA679E94BCAB}"/>
              </a:ext>
            </a:extLst>
          </p:cNvPr>
          <p:cNvSpPr/>
          <p:nvPr userDrawn="1"/>
        </p:nvSpPr>
        <p:spPr>
          <a:xfrm rot="16200000">
            <a:off x="11219849" y="4043622"/>
            <a:ext cx="388777" cy="137124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2102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600" b="1"/>
              <a:t>Pillar  </a:t>
            </a:r>
            <a:r>
              <a:rPr lang="en-US" sz="1600" b="1"/>
              <a:t>7</a:t>
            </a:r>
          </a:p>
        </p:txBody>
      </p:sp>
      <p:sp>
        <p:nvSpPr>
          <p:cNvPr id="71" name="Round Same-side Corner of Rectangle 79">
            <a:extLst>
              <a:ext uri="{FF2B5EF4-FFF2-40B4-BE49-F238E27FC236}">
                <a16:creationId xmlns:a16="http://schemas.microsoft.com/office/drawing/2014/main" id="{D4B93879-3513-4875-A1C4-5980915623CE}"/>
              </a:ext>
            </a:extLst>
          </p:cNvPr>
          <p:cNvSpPr/>
          <p:nvPr userDrawn="1"/>
        </p:nvSpPr>
        <p:spPr>
          <a:xfrm rot="16200000">
            <a:off x="11384854" y="3756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6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8" name="Round Same-side Corner of Rectangle 79">
            <a:extLst>
              <a:ext uri="{FF2B5EF4-FFF2-40B4-BE49-F238E27FC236}">
                <a16:creationId xmlns:a16="http://schemas.microsoft.com/office/drawing/2014/main" id="{312255C5-65A9-47AB-B67B-8924547FF7C2}"/>
              </a:ext>
            </a:extLst>
          </p:cNvPr>
          <p:cNvSpPr/>
          <p:nvPr userDrawn="1"/>
        </p:nvSpPr>
        <p:spPr>
          <a:xfrm rot="16200000">
            <a:off x="11384854" y="33034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5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9" name="Round Same-side Corner of Rectangle 79">
            <a:extLst>
              <a:ext uri="{FF2B5EF4-FFF2-40B4-BE49-F238E27FC236}">
                <a16:creationId xmlns:a16="http://schemas.microsoft.com/office/drawing/2014/main" id="{F23596D5-FD36-49E3-B746-F3D7A290DF3D}"/>
              </a:ext>
            </a:extLst>
          </p:cNvPr>
          <p:cNvSpPr/>
          <p:nvPr userDrawn="1"/>
        </p:nvSpPr>
        <p:spPr>
          <a:xfrm rot="16200000">
            <a:off x="11384853" y="28508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4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7" name="Round Same-side Corner of Rectangle 79">
            <a:extLst>
              <a:ext uri="{FF2B5EF4-FFF2-40B4-BE49-F238E27FC236}">
                <a16:creationId xmlns:a16="http://schemas.microsoft.com/office/drawing/2014/main" id="{059574F1-9FE9-480C-B4ED-14EFB4169B0E}"/>
              </a:ext>
            </a:extLst>
          </p:cNvPr>
          <p:cNvSpPr/>
          <p:nvPr userDrawn="1"/>
        </p:nvSpPr>
        <p:spPr>
          <a:xfrm rot="16200000">
            <a:off x="11384854" y="23982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3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8" name="Round Same-side Corner of Rectangle 79">
            <a:extLst>
              <a:ext uri="{FF2B5EF4-FFF2-40B4-BE49-F238E27FC236}">
                <a16:creationId xmlns:a16="http://schemas.microsoft.com/office/drawing/2014/main" id="{82236BCB-3538-4E87-B0C9-CACC40793A57}"/>
              </a:ext>
            </a:extLst>
          </p:cNvPr>
          <p:cNvSpPr/>
          <p:nvPr userDrawn="1"/>
        </p:nvSpPr>
        <p:spPr>
          <a:xfrm rot="16200000">
            <a:off x="11384854" y="19456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2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9" name="Round Same-side Corner of Rectangle 79">
            <a:extLst>
              <a:ext uri="{FF2B5EF4-FFF2-40B4-BE49-F238E27FC236}">
                <a16:creationId xmlns:a16="http://schemas.microsoft.com/office/drawing/2014/main" id="{61090AD0-0469-4342-901A-FC4BE401662F}"/>
              </a:ext>
            </a:extLst>
          </p:cNvPr>
          <p:cNvSpPr/>
          <p:nvPr userDrawn="1"/>
        </p:nvSpPr>
        <p:spPr>
          <a:xfrm rot="16200000">
            <a:off x="11384854" y="1493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1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96" name="Round Same-side Corner of Rectangle 79">
            <a:extLst>
              <a:ext uri="{FF2B5EF4-FFF2-40B4-BE49-F238E27FC236}">
                <a16:creationId xmlns:a16="http://schemas.microsoft.com/office/drawing/2014/main" id="{75C801CE-9FCA-486D-96A7-6973FA449CCA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8" name="Round Same-side Corner of Rectangle 79">
            <a:extLst>
              <a:ext uri="{FF2B5EF4-FFF2-40B4-BE49-F238E27FC236}">
                <a16:creationId xmlns:a16="http://schemas.microsoft.com/office/drawing/2014/main" id="{B358AAFE-318C-4629-9F49-D9DBA46F85EC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F465AEC-AC2C-4F26-A514-B16A2E6B814C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E8E7AEC-D397-4EF4-B63F-12A6FB09D5E6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4" name="Round Same-side Corner of Rectangle 79">
            <a:extLst>
              <a:ext uri="{FF2B5EF4-FFF2-40B4-BE49-F238E27FC236}">
                <a16:creationId xmlns:a16="http://schemas.microsoft.com/office/drawing/2014/main" id="{3A261BEA-A960-4E18-B27D-6E834535FA6D}"/>
              </a:ext>
            </a:extLst>
          </p:cNvPr>
          <p:cNvSpPr/>
          <p:nvPr userDrawn="1"/>
        </p:nvSpPr>
        <p:spPr>
          <a:xfrm rot="16200000">
            <a:off x="11900597" y="4635404"/>
            <a:ext cx="388777" cy="18768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>
              <a:lumMod val="75000"/>
              <a:alpha val="59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17" name="TextBox 16">
            <a:hlinkClick r:id="" action="ppaction://noaction"/>
            <a:extLst>
              <a:ext uri="{FF2B5EF4-FFF2-40B4-BE49-F238E27FC236}">
                <a16:creationId xmlns:a16="http://schemas.microsoft.com/office/drawing/2014/main" id="{49758E62-1728-41C3-986B-531C92523644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18" name="TextBox 17">
            <a:hlinkClick r:id="" action="ppaction://noaction"/>
            <a:extLst>
              <a:ext uri="{FF2B5EF4-FFF2-40B4-BE49-F238E27FC236}">
                <a16:creationId xmlns:a16="http://schemas.microsoft.com/office/drawing/2014/main" id="{7064BD3E-E930-4055-A8FA-D42586D02F4D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8AA79184-6D0A-4367-85F9-26259B1BB8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C560754B-34AB-419C-B9EF-5F60CBDC00B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762AA2B4-84A0-4EF3-852A-375A9FF1CC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45" name="Freeform 9">
            <a:extLst>
              <a:ext uri="{FF2B5EF4-FFF2-40B4-BE49-F238E27FC236}">
                <a16:creationId xmlns:a16="http://schemas.microsoft.com/office/drawing/2014/main" id="{04FE2D9C-0B20-4B7E-8BC6-652797D28F8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95767" y="4176118"/>
            <a:ext cx="181694" cy="212254"/>
          </a:xfrm>
          <a:custGeom>
            <a:avLst/>
            <a:gdLst>
              <a:gd name="T0" fmla="*/ 708 w 809"/>
              <a:gd name="T1" fmla="*/ 509 h 945"/>
              <a:gd name="T2" fmla="*/ 405 w 809"/>
              <a:gd name="T3" fmla="*/ 838 h 945"/>
              <a:gd name="T4" fmla="*/ 404 w 809"/>
              <a:gd name="T5" fmla="*/ 838 h 945"/>
              <a:gd name="T6" fmla="*/ 404 w 809"/>
              <a:gd name="T7" fmla="*/ 473 h 945"/>
              <a:gd name="T8" fmla="*/ 101 w 809"/>
              <a:gd name="T9" fmla="*/ 473 h 945"/>
              <a:gd name="T10" fmla="*/ 101 w 809"/>
              <a:gd name="T11" fmla="*/ 245 h 945"/>
              <a:gd name="T12" fmla="*/ 404 w 809"/>
              <a:gd name="T13" fmla="*/ 123 h 945"/>
              <a:gd name="T14" fmla="*/ 404 w 809"/>
              <a:gd name="T15" fmla="*/ 473 h 945"/>
              <a:gd name="T16" fmla="*/ 708 w 809"/>
              <a:gd name="T17" fmla="*/ 473 h 945"/>
              <a:gd name="T18" fmla="*/ 708 w 809"/>
              <a:gd name="T19" fmla="*/ 509 h 945"/>
              <a:gd name="T20" fmla="*/ 792 w 809"/>
              <a:gd name="T21" fmla="*/ 150 h 945"/>
              <a:gd name="T22" fmla="*/ 415 w 809"/>
              <a:gd name="T23" fmla="*/ 4 h 945"/>
              <a:gd name="T24" fmla="*/ 394 w 809"/>
              <a:gd name="T25" fmla="*/ 4 h 945"/>
              <a:gd name="T26" fmla="*/ 17 w 809"/>
              <a:gd name="T27" fmla="*/ 150 h 945"/>
              <a:gd name="T28" fmla="*/ 0 w 809"/>
              <a:gd name="T29" fmla="*/ 168 h 945"/>
              <a:gd name="T30" fmla="*/ 0 w 809"/>
              <a:gd name="T31" fmla="*/ 508 h 945"/>
              <a:gd name="T32" fmla="*/ 398 w 809"/>
              <a:gd name="T33" fmla="*/ 944 h 945"/>
              <a:gd name="T34" fmla="*/ 410 w 809"/>
              <a:gd name="T35" fmla="*/ 944 h 945"/>
              <a:gd name="T36" fmla="*/ 809 w 809"/>
              <a:gd name="T37" fmla="*/ 508 h 945"/>
              <a:gd name="T38" fmla="*/ 809 w 809"/>
              <a:gd name="T39" fmla="*/ 168 h 945"/>
              <a:gd name="T40" fmla="*/ 792 w 809"/>
              <a:gd name="T41" fmla="*/ 150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9" h="945">
                <a:moveTo>
                  <a:pt x="708" y="509"/>
                </a:moveTo>
                <a:cubicBezTo>
                  <a:pt x="708" y="713"/>
                  <a:pt x="483" y="811"/>
                  <a:pt x="405" y="838"/>
                </a:cubicBezTo>
                <a:cubicBezTo>
                  <a:pt x="405" y="838"/>
                  <a:pt x="404" y="838"/>
                  <a:pt x="404" y="838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101" y="473"/>
                  <a:pt x="101" y="473"/>
                  <a:pt x="101" y="473"/>
                </a:cubicBezTo>
                <a:cubicBezTo>
                  <a:pt x="101" y="245"/>
                  <a:pt x="101" y="245"/>
                  <a:pt x="101" y="245"/>
                </a:cubicBezTo>
                <a:cubicBezTo>
                  <a:pt x="185" y="231"/>
                  <a:pt x="288" y="197"/>
                  <a:pt x="404" y="123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708" y="473"/>
                  <a:pt x="708" y="473"/>
                  <a:pt x="708" y="473"/>
                </a:cubicBezTo>
                <a:lnTo>
                  <a:pt x="708" y="509"/>
                </a:lnTo>
                <a:close/>
                <a:moveTo>
                  <a:pt x="792" y="150"/>
                </a:moveTo>
                <a:cubicBezTo>
                  <a:pt x="691" y="146"/>
                  <a:pt x="562" y="109"/>
                  <a:pt x="415" y="4"/>
                </a:cubicBezTo>
                <a:cubicBezTo>
                  <a:pt x="409" y="0"/>
                  <a:pt x="400" y="0"/>
                  <a:pt x="394" y="4"/>
                </a:cubicBezTo>
                <a:cubicBezTo>
                  <a:pt x="247" y="109"/>
                  <a:pt x="118" y="146"/>
                  <a:pt x="17" y="150"/>
                </a:cubicBezTo>
                <a:cubicBezTo>
                  <a:pt x="7" y="150"/>
                  <a:pt x="0" y="158"/>
                  <a:pt x="0" y="168"/>
                </a:cubicBezTo>
                <a:cubicBezTo>
                  <a:pt x="0" y="209"/>
                  <a:pt x="0" y="325"/>
                  <a:pt x="0" y="508"/>
                </a:cubicBezTo>
                <a:cubicBezTo>
                  <a:pt x="0" y="792"/>
                  <a:pt x="348" y="926"/>
                  <a:pt x="398" y="944"/>
                </a:cubicBezTo>
                <a:cubicBezTo>
                  <a:pt x="402" y="945"/>
                  <a:pt x="406" y="945"/>
                  <a:pt x="410" y="944"/>
                </a:cubicBezTo>
                <a:cubicBezTo>
                  <a:pt x="460" y="926"/>
                  <a:pt x="809" y="792"/>
                  <a:pt x="809" y="508"/>
                </a:cubicBezTo>
                <a:cubicBezTo>
                  <a:pt x="809" y="325"/>
                  <a:pt x="809" y="209"/>
                  <a:pt x="809" y="168"/>
                </a:cubicBezTo>
                <a:cubicBezTo>
                  <a:pt x="809" y="158"/>
                  <a:pt x="801" y="150"/>
                  <a:pt x="792" y="15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46" name="Freeform 13">
            <a:extLst>
              <a:ext uri="{FF2B5EF4-FFF2-40B4-BE49-F238E27FC236}">
                <a16:creationId xmlns:a16="http://schemas.microsoft.com/office/drawing/2014/main" id="{44358A22-1548-493D-AB57-E81679F30530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87920" y="5097137"/>
            <a:ext cx="218911" cy="197141"/>
          </a:xfrm>
          <a:custGeom>
            <a:avLst/>
            <a:gdLst>
              <a:gd name="T0" fmla="*/ 757 w 1043"/>
              <a:gd name="T1" fmla="*/ 313 h 939"/>
              <a:gd name="T2" fmla="*/ 313 w 1043"/>
              <a:gd name="T3" fmla="*/ 321 h 939"/>
              <a:gd name="T4" fmla="*/ 321 w 1043"/>
              <a:gd name="T5" fmla="*/ 348 h 939"/>
              <a:gd name="T6" fmla="*/ 765 w 1043"/>
              <a:gd name="T7" fmla="*/ 340 h 939"/>
              <a:gd name="T8" fmla="*/ 765 w 1043"/>
              <a:gd name="T9" fmla="*/ 251 h 939"/>
              <a:gd name="T10" fmla="*/ 321 w 1043"/>
              <a:gd name="T11" fmla="*/ 243 h 939"/>
              <a:gd name="T12" fmla="*/ 313 w 1043"/>
              <a:gd name="T13" fmla="*/ 270 h 939"/>
              <a:gd name="T14" fmla="*/ 757 w 1043"/>
              <a:gd name="T15" fmla="*/ 278 h 939"/>
              <a:gd name="T16" fmla="*/ 765 w 1043"/>
              <a:gd name="T17" fmla="*/ 251 h 939"/>
              <a:gd name="T18" fmla="*/ 757 w 1043"/>
              <a:gd name="T19" fmla="*/ 382 h 939"/>
              <a:gd name="T20" fmla="*/ 313 w 1043"/>
              <a:gd name="T21" fmla="*/ 390 h 939"/>
              <a:gd name="T22" fmla="*/ 321 w 1043"/>
              <a:gd name="T23" fmla="*/ 417 h 939"/>
              <a:gd name="T24" fmla="*/ 765 w 1043"/>
              <a:gd name="T25" fmla="*/ 409 h 939"/>
              <a:gd name="T26" fmla="*/ 765 w 1043"/>
              <a:gd name="T27" fmla="*/ 182 h 939"/>
              <a:gd name="T28" fmla="*/ 321 w 1043"/>
              <a:gd name="T29" fmla="*/ 174 h 939"/>
              <a:gd name="T30" fmla="*/ 313 w 1043"/>
              <a:gd name="T31" fmla="*/ 201 h 939"/>
              <a:gd name="T32" fmla="*/ 757 w 1043"/>
              <a:gd name="T33" fmla="*/ 209 h 939"/>
              <a:gd name="T34" fmla="*/ 765 w 1043"/>
              <a:gd name="T35" fmla="*/ 182 h 939"/>
              <a:gd name="T36" fmla="*/ 1027 w 1043"/>
              <a:gd name="T37" fmla="*/ 730 h 939"/>
              <a:gd name="T38" fmla="*/ 491 w 1043"/>
              <a:gd name="T39" fmla="*/ 735 h 939"/>
              <a:gd name="T40" fmla="*/ 487 w 1043"/>
              <a:gd name="T41" fmla="*/ 747 h 939"/>
              <a:gd name="T42" fmla="*/ 358 w 1043"/>
              <a:gd name="T43" fmla="*/ 869 h 939"/>
              <a:gd name="T44" fmla="*/ 243 w 1043"/>
              <a:gd name="T45" fmla="*/ 757 h 939"/>
              <a:gd name="T46" fmla="*/ 243 w 1043"/>
              <a:gd name="T47" fmla="*/ 139 h 939"/>
              <a:gd name="T48" fmla="*/ 742 w 1043"/>
              <a:gd name="T49" fmla="*/ 69 h 939"/>
              <a:gd name="T50" fmla="*/ 834 w 1043"/>
              <a:gd name="T51" fmla="*/ 695 h 939"/>
              <a:gd name="T52" fmla="*/ 904 w 1043"/>
              <a:gd name="T53" fmla="*/ 161 h 939"/>
              <a:gd name="T54" fmla="*/ 685 w 1043"/>
              <a:gd name="T55" fmla="*/ 0 h 939"/>
              <a:gd name="T56" fmla="*/ 0 w 1043"/>
              <a:gd name="T57" fmla="*/ 174 h 939"/>
              <a:gd name="T58" fmla="*/ 16 w 1043"/>
              <a:gd name="T59" fmla="*/ 209 h 939"/>
              <a:gd name="T60" fmla="*/ 174 w 1043"/>
              <a:gd name="T61" fmla="*/ 757 h 939"/>
              <a:gd name="T62" fmla="*/ 820 w 1043"/>
              <a:gd name="T63" fmla="*/ 939 h 939"/>
              <a:gd name="T64" fmla="*/ 1043 w 1043"/>
              <a:gd name="T65" fmla="*/ 765 h 939"/>
              <a:gd name="T66" fmla="*/ 765 w 1043"/>
              <a:gd name="T67" fmla="*/ 529 h 939"/>
              <a:gd name="T68" fmla="*/ 321 w 1043"/>
              <a:gd name="T69" fmla="*/ 522 h 939"/>
              <a:gd name="T70" fmla="*/ 313 w 1043"/>
              <a:gd name="T71" fmla="*/ 548 h 939"/>
              <a:gd name="T72" fmla="*/ 757 w 1043"/>
              <a:gd name="T73" fmla="*/ 556 h 939"/>
              <a:gd name="T74" fmla="*/ 765 w 1043"/>
              <a:gd name="T75" fmla="*/ 529 h 939"/>
              <a:gd name="T76" fmla="*/ 757 w 1043"/>
              <a:gd name="T77" fmla="*/ 452 h 939"/>
              <a:gd name="T78" fmla="*/ 313 w 1043"/>
              <a:gd name="T79" fmla="*/ 460 h 939"/>
              <a:gd name="T80" fmla="*/ 321 w 1043"/>
              <a:gd name="T81" fmla="*/ 487 h 939"/>
              <a:gd name="T82" fmla="*/ 765 w 1043"/>
              <a:gd name="T83" fmla="*/ 479 h 939"/>
              <a:gd name="T84" fmla="*/ 765 w 1043"/>
              <a:gd name="T85" fmla="*/ 599 h 939"/>
              <a:gd name="T86" fmla="*/ 757 w 1043"/>
              <a:gd name="T87" fmla="*/ 626 h 939"/>
              <a:gd name="T88" fmla="*/ 313 w 1043"/>
              <a:gd name="T89" fmla="*/ 618 h 939"/>
              <a:gd name="T90" fmla="*/ 321 w 1043"/>
              <a:gd name="T91" fmla="*/ 591 h 939"/>
              <a:gd name="T92" fmla="*/ 765 w 1043"/>
              <a:gd name="T93" fmla="*/ 59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43" h="939">
                <a:moveTo>
                  <a:pt x="765" y="321"/>
                </a:moveTo>
                <a:cubicBezTo>
                  <a:pt x="765" y="316"/>
                  <a:pt x="761" y="313"/>
                  <a:pt x="757" y="313"/>
                </a:cubicBezTo>
                <a:cubicBezTo>
                  <a:pt x="321" y="313"/>
                  <a:pt x="321" y="313"/>
                  <a:pt x="321" y="313"/>
                </a:cubicBezTo>
                <a:cubicBezTo>
                  <a:pt x="316" y="313"/>
                  <a:pt x="313" y="316"/>
                  <a:pt x="313" y="321"/>
                </a:cubicBezTo>
                <a:cubicBezTo>
                  <a:pt x="313" y="340"/>
                  <a:pt x="313" y="340"/>
                  <a:pt x="313" y="340"/>
                </a:cubicBezTo>
                <a:cubicBezTo>
                  <a:pt x="313" y="344"/>
                  <a:pt x="316" y="348"/>
                  <a:pt x="321" y="348"/>
                </a:cubicBezTo>
                <a:cubicBezTo>
                  <a:pt x="757" y="348"/>
                  <a:pt x="757" y="348"/>
                  <a:pt x="757" y="348"/>
                </a:cubicBezTo>
                <a:cubicBezTo>
                  <a:pt x="761" y="348"/>
                  <a:pt x="765" y="344"/>
                  <a:pt x="765" y="340"/>
                </a:cubicBezTo>
                <a:lnTo>
                  <a:pt x="765" y="321"/>
                </a:lnTo>
                <a:close/>
                <a:moveTo>
                  <a:pt x="765" y="251"/>
                </a:moveTo>
                <a:cubicBezTo>
                  <a:pt x="765" y="247"/>
                  <a:pt x="761" y="243"/>
                  <a:pt x="757" y="243"/>
                </a:cubicBezTo>
                <a:cubicBezTo>
                  <a:pt x="321" y="243"/>
                  <a:pt x="321" y="243"/>
                  <a:pt x="321" y="243"/>
                </a:cubicBezTo>
                <a:cubicBezTo>
                  <a:pt x="316" y="243"/>
                  <a:pt x="313" y="247"/>
                  <a:pt x="313" y="251"/>
                </a:cubicBezTo>
                <a:cubicBezTo>
                  <a:pt x="313" y="270"/>
                  <a:pt x="313" y="270"/>
                  <a:pt x="313" y="270"/>
                </a:cubicBezTo>
                <a:cubicBezTo>
                  <a:pt x="313" y="275"/>
                  <a:pt x="316" y="278"/>
                  <a:pt x="321" y="278"/>
                </a:cubicBezTo>
                <a:cubicBezTo>
                  <a:pt x="757" y="278"/>
                  <a:pt x="757" y="278"/>
                  <a:pt x="757" y="278"/>
                </a:cubicBezTo>
                <a:cubicBezTo>
                  <a:pt x="761" y="278"/>
                  <a:pt x="765" y="275"/>
                  <a:pt x="765" y="270"/>
                </a:cubicBezTo>
                <a:lnTo>
                  <a:pt x="765" y="251"/>
                </a:lnTo>
                <a:close/>
                <a:moveTo>
                  <a:pt x="765" y="390"/>
                </a:moveTo>
                <a:cubicBezTo>
                  <a:pt x="765" y="386"/>
                  <a:pt x="761" y="382"/>
                  <a:pt x="757" y="382"/>
                </a:cubicBezTo>
                <a:cubicBezTo>
                  <a:pt x="321" y="382"/>
                  <a:pt x="321" y="382"/>
                  <a:pt x="321" y="382"/>
                </a:cubicBezTo>
                <a:cubicBezTo>
                  <a:pt x="316" y="382"/>
                  <a:pt x="313" y="386"/>
                  <a:pt x="313" y="390"/>
                </a:cubicBezTo>
                <a:cubicBezTo>
                  <a:pt x="313" y="409"/>
                  <a:pt x="313" y="409"/>
                  <a:pt x="313" y="409"/>
                </a:cubicBezTo>
                <a:cubicBezTo>
                  <a:pt x="313" y="414"/>
                  <a:pt x="316" y="417"/>
                  <a:pt x="321" y="417"/>
                </a:cubicBezTo>
                <a:cubicBezTo>
                  <a:pt x="757" y="417"/>
                  <a:pt x="757" y="417"/>
                  <a:pt x="757" y="417"/>
                </a:cubicBezTo>
                <a:cubicBezTo>
                  <a:pt x="761" y="417"/>
                  <a:pt x="765" y="414"/>
                  <a:pt x="765" y="409"/>
                </a:cubicBezTo>
                <a:lnTo>
                  <a:pt x="765" y="390"/>
                </a:lnTo>
                <a:close/>
                <a:moveTo>
                  <a:pt x="765" y="182"/>
                </a:moveTo>
                <a:cubicBezTo>
                  <a:pt x="765" y="177"/>
                  <a:pt x="761" y="174"/>
                  <a:pt x="757" y="174"/>
                </a:cubicBezTo>
                <a:cubicBezTo>
                  <a:pt x="321" y="174"/>
                  <a:pt x="321" y="174"/>
                  <a:pt x="321" y="174"/>
                </a:cubicBezTo>
                <a:cubicBezTo>
                  <a:pt x="316" y="174"/>
                  <a:pt x="313" y="177"/>
                  <a:pt x="313" y="182"/>
                </a:cubicBezTo>
                <a:cubicBezTo>
                  <a:pt x="313" y="201"/>
                  <a:pt x="313" y="201"/>
                  <a:pt x="313" y="201"/>
                </a:cubicBezTo>
                <a:cubicBezTo>
                  <a:pt x="313" y="205"/>
                  <a:pt x="316" y="209"/>
                  <a:pt x="321" y="209"/>
                </a:cubicBezTo>
                <a:cubicBezTo>
                  <a:pt x="757" y="209"/>
                  <a:pt x="757" y="209"/>
                  <a:pt x="757" y="209"/>
                </a:cubicBezTo>
                <a:cubicBezTo>
                  <a:pt x="761" y="209"/>
                  <a:pt x="765" y="205"/>
                  <a:pt x="765" y="201"/>
                </a:cubicBezTo>
                <a:lnTo>
                  <a:pt x="765" y="182"/>
                </a:lnTo>
                <a:close/>
                <a:moveTo>
                  <a:pt x="1041" y="743"/>
                </a:moveTo>
                <a:cubicBezTo>
                  <a:pt x="1041" y="736"/>
                  <a:pt x="1034" y="730"/>
                  <a:pt x="1027" y="730"/>
                </a:cubicBezTo>
                <a:cubicBezTo>
                  <a:pt x="501" y="730"/>
                  <a:pt x="501" y="730"/>
                  <a:pt x="501" y="730"/>
                </a:cubicBezTo>
                <a:cubicBezTo>
                  <a:pt x="497" y="730"/>
                  <a:pt x="494" y="732"/>
                  <a:pt x="491" y="735"/>
                </a:cubicBezTo>
                <a:cubicBezTo>
                  <a:pt x="488" y="737"/>
                  <a:pt x="486" y="741"/>
                  <a:pt x="487" y="745"/>
                </a:cubicBezTo>
                <a:cubicBezTo>
                  <a:pt x="487" y="746"/>
                  <a:pt x="487" y="747"/>
                  <a:pt x="487" y="747"/>
                </a:cubicBezTo>
                <a:cubicBezTo>
                  <a:pt x="487" y="815"/>
                  <a:pt x="432" y="869"/>
                  <a:pt x="365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295" y="869"/>
                  <a:pt x="243" y="819"/>
                  <a:pt x="243" y="757"/>
                </a:cubicBezTo>
                <a:cubicBezTo>
                  <a:pt x="243" y="757"/>
                  <a:pt x="243" y="243"/>
                  <a:pt x="243" y="174"/>
                </a:cubicBezTo>
                <a:cubicBezTo>
                  <a:pt x="243" y="139"/>
                  <a:pt x="243" y="139"/>
                  <a:pt x="243" y="139"/>
                </a:cubicBezTo>
                <a:cubicBezTo>
                  <a:pt x="243" y="100"/>
                  <a:pt x="212" y="69"/>
                  <a:pt x="174" y="69"/>
                </a:cubicBezTo>
                <a:cubicBezTo>
                  <a:pt x="742" y="69"/>
                  <a:pt x="742" y="69"/>
                  <a:pt x="742" y="69"/>
                </a:cubicBezTo>
                <a:cubicBezTo>
                  <a:pt x="793" y="69"/>
                  <a:pt x="834" y="111"/>
                  <a:pt x="834" y="161"/>
                </a:cubicBezTo>
                <a:cubicBezTo>
                  <a:pt x="834" y="695"/>
                  <a:pt x="834" y="695"/>
                  <a:pt x="834" y="695"/>
                </a:cubicBezTo>
                <a:cubicBezTo>
                  <a:pt x="904" y="695"/>
                  <a:pt x="904" y="695"/>
                  <a:pt x="904" y="695"/>
                </a:cubicBezTo>
                <a:cubicBezTo>
                  <a:pt x="904" y="573"/>
                  <a:pt x="904" y="326"/>
                  <a:pt x="904" y="161"/>
                </a:cubicBezTo>
                <a:cubicBezTo>
                  <a:pt x="904" y="72"/>
                  <a:pt x="832" y="0"/>
                  <a:pt x="742" y="0"/>
                </a:cubicBezTo>
                <a:cubicBezTo>
                  <a:pt x="685" y="0"/>
                  <a:pt x="685" y="0"/>
                  <a:pt x="685" y="0"/>
                </a:cubicBezTo>
                <a:cubicBezTo>
                  <a:pt x="174" y="0"/>
                  <a:pt x="174" y="0"/>
                  <a:pt x="174" y="0"/>
                </a:cubicBezTo>
                <a:cubicBezTo>
                  <a:pt x="78" y="0"/>
                  <a:pt x="0" y="78"/>
                  <a:pt x="0" y="174"/>
                </a:cubicBezTo>
                <a:cubicBezTo>
                  <a:pt x="0" y="181"/>
                  <a:pt x="0" y="188"/>
                  <a:pt x="1" y="196"/>
                </a:cubicBezTo>
                <a:cubicBezTo>
                  <a:pt x="2" y="203"/>
                  <a:pt x="8" y="209"/>
                  <a:pt x="16" y="209"/>
                </a:cubicBezTo>
                <a:cubicBezTo>
                  <a:pt x="174" y="209"/>
                  <a:pt x="174" y="209"/>
                  <a:pt x="174" y="209"/>
                </a:cubicBezTo>
                <a:cubicBezTo>
                  <a:pt x="174" y="410"/>
                  <a:pt x="174" y="694"/>
                  <a:pt x="174" y="757"/>
                </a:cubicBezTo>
                <a:cubicBezTo>
                  <a:pt x="174" y="857"/>
                  <a:pt x="256" y="939"/>
                  <a:pt x="358" y="939"/>
                </a:cubicBezTo>
                <a:cubicBezTo>
                  <a:pt x="820" y="939"/>
                  <a:pt x="820" y="939"/>
                  <a:pt x="820" y="939"/>
                </a:cubicBezTo>
                <a:cubicBezTo>
                  <a:pt x="869" y="939"/>
                  <a:pt x="869" y="939"/>
                  <a:pt x="869" y="939"/>
                </a:cubicBezTo>
                <a:cubicBezTo>
                  <a:pt x="965" y="939"/>
                  <a:pt x="1043" y="861"/>
                  <a:pt x="1043" y="765"/>
                </a:cubicBezTo>
                <a:cubicBezTo>
                  <a:pt x="1043" y="757"/>
                  <a:pt x="1042" y="750"/>
                  <a:pt x="1041" y="743"/>
                </a:cubicBezTo>
                <a:close/>
                <a:moveTo>
                  <a:pt x="765" y="529"/>
                </a:moveTo>
                <a:cubicBezTo>
                  <a:pt x="765" y="525"/>
                  <a:pt x="761" y="522"/>
                  <a:pt x="757" y="522"/>
                </a:cubicBezTo>
                <a:cubicBezTo>
                  <a:pt x="321" y="522"/>
                  <a:pt x="321" y="522"/>
                  <a:pt x="321" y="522"/>
                </a:cubicBezTo>
                <a:cubicBezTo>
                  <a:pt x="316" y="522"/>
                  <a:pt x="313" y="525"/>
                  <a:pt x="313" y="529"/>
                </a:cubicBezTo>
                <a:cubicBezTo>
                  <a:pt x="313" y="548"/>
                  <a:pt x="313" y="548"/>
                  <a:pt x="313" y="548"/>
                </a:cubicBezTo>
                <a:cubicBezTo>
                  <a:pt x="313" y="553"/>
                  <a:pt x="316" y="556"/>
                  <a:pt x="321" y="556"/>
                </a:cubicBezTo>
                <a:cubicBezTo>
                  <a:pt x="757" y="556"/>
                  <a:pt x="757" y="556"/>
                  <a:pt x="757" y="556"/>
                </a:cubicBezTo>
                <a:cubicBezTo>
                  <a:pt x="761" y="556"/>
                  <a:pt x="765" y="553"/>
                  <a:pt x="765" y="548"/>
                </a:cubicBezTo>
                <a:lnTo>
                  <a:pt x="765" y="529"/>
                </a:lnTo>
                <a:close/>
                <a:moveTo>
                  <a:pt x="765" y="460"/>
                </a:moveTo>
                <a:cubicBezTo>
                  <a:pt x="765" y="456"/>
                  <a:pt x="761" y="452"/>
                  <a:pt x="757" y="452"/>
                </a:cubicBezTo>
                <a:cubicBezTo>
                  <a:pt x="321" y="452"/>
                  <a:pt x="321" y="452"/>
                  <a:pt x="321" y="452"/>
                </a:cubicBezTo>
                <a:cubicBezTo>
                  <a:pt x="316" y="452"/>
                  <a:pt x="313" y="456"/>
                  <a:pt x="313" y="460"/>
                </a:cubicBezTo>
                <a:cubicBezTo>
                  <a:pt x="313" y="479"/>
                  <a:pt x="313" y="479"/>
                  <a:pt x="313" y="479"/>
                </a:cubicBezTo>
                <a:cubicBezTo>
                  <a:pt x="313" y="483"/>
                  <a:pt x="316" y="487"/>
                  <a:pt x="321" y="487"/>
                </a:cubicBezTo>
                <a:cubicBezTo>
                  <a:pt x="757" y="487"/>
                  <a:pt x="757" y="487"/>
                  <a:pt x="757" y="487"/>
                </a:cubicBezTo>
                <a:cubicBezTo>
                  <a:pt x="761" y="487"/>
                  <a:pt x="765" y="483"/>
                  <a:pt x="765" y="479"/>
                </a:cubicBezTo>
                <a:lnTo>
                  <a:pt x="765" y="460"/>
                </a:lnTo>
                <a:close/>
                <a:moveTo>
                  <a:pt x="765" y="599"/>
                </a:moveTo>
                <a:cubicBezTo>
                  <a:pt x="765" y="618"/>
                  <a:pt x="765" y="618"/>
                  <a:pt x="765" y="618"/>
                </a:cubicBezTo>
                <a:cubicBezTo>
                  <a:pt x="765" y="622"/>
                  <a:pt x="761" y="626"/>
                  <a:pt x="757" y="626"/>
                </a:cubicBezTo>
                <a:cubicBezTo>
                  <a:pt x="321" y="626"/>
                  <a:pt x="321" y="626"/>
                  <a:pt x="321" y="626"/>
                </a:cubicBezTo>
                <a:cubicBezTo>
                  <a:pt x="316" y="626"/>
                  <a:pt x="313" y="622"/>
                  <a:pt x="313" y="618"/>
                </a:cubicBezTo>
                <a:cubicBezTo>
                  <a:pt x="313" y="599"/>
                  <a:pt x="313" y="599"/>
                  <a:pt x="313" y="599"/>
                </a:cubicBezTo>
                <a:cubicBezTo>
                  <a:pt x="313" y="595"/>
                  <a:pt x="316" y="591"/>
                  <a:pt x="321" y="591"/>
                </a:cubicBezTo>
                <a:cubicBezTo>
                  <a:pt x="757" y="591"/>
                  <a:pt x="757" y="591"/>
                  <a:pt x="757" y="591"/>
                </a:cubicBezTo>
                <a:cubicBezTo>
                  <a:pt x="761" y="591"/>
                  <a:pt x="765" y="595"/>
                  <a:pt x="765" y="5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6E5B7E0B-C3FC-464C-B739-0FEC64D7920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200260" y="2340801"/>
            <a:ext cx="182832" cy="231961"/>
            <a:chOff x="849313" y="-539751"/>
            <a:chExt cx="8375650" cy="10623551"/>
          </a:xfrm>
          <a:solidFill>
            <a:schemeClr val="bg1">
              <a:alpha val="70000"/>
            </a:schemeClr>
          </a:solidFill>
        </p:grpSpPr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C0E5224F-46BC-4CB9-9B49-C35E8F2D141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3" y="2670175"/>
              <a:ext cx="8375650" cy="7413625"/>
            </a:xfrm>
            <a:custGeom>
              <a:avLst/>
              <a:gdLst>
                <a:gd name="T0" fmla="*/ 116 w 741"/>
                <a:gd name="T1" fmla="*/ 656 h 656"/>
                <a:gd name="T2" fmla="*/ 165 w 741"/>
                <a:gd name="T3" fmla="*/ 561 h 656"/>
                <a:gd name="T4" fmla="*/ 92 w 741"/>
                <a:gd name="T5" fmla="*/ 506 h 656"/>
                <a:gd name="T6" fmla="*/ 0 w 741"/>
                <a:gd name="T7" fmla="*/ 284 h 656"/>
                <a:gd name="T8" fmla="*/ 181 w 741"/>
                <a:gd name="T9" fmla="*/ 0 h 656"/>
                <a:gd name="T10" fmla="*/ 210 w 741"/>
                <a:gd name="T11" fmla="*/ 118 h 656"/>
                <a:gd name="T12" fmla="*/ 118 w 741"/>
                <a:gd name="T13" fmla="*/ 275 h 656"/>
                <a:gd name="T14" fmla="*/ 347 w 741"/>
                <a:gd name="T15" fmla="*/ 437 h 656"/>
                <a:gd name="T16" fmla="*/ 663 w 741"/>
                <a:gd name="T17" fmla="*/ 353 h 656"/>
                <a:gd name="T18" fmla="*/ 699 w 741"/>
                <a:gd name="T19" fmla="*/ 374 h 656"/>
                <a:gd name="T20" fmla="*/ 678 w 741"/>
                <a:gd name="T21" fmla="*/ 410 h 656"/>
                <a:gd name="T22" fmla="*/ 373 w 741"/>
                <a:gd name="T23" fmla="*/ 491 h 656"/>
                <a:gd name="T24" fmla="*/ 386 w 741"/>
                <a:gd name="T25" fmla="*/ 539 h 656"/>
                <a:gd name="T26" fmla="*/ 623 w 741"/>
                <a:gd name="T27" fmla="*/ 539 h 656"/>
                <a:gd name="T28" fmla="*/ 741 w 741"/>
                <a:gd name="T29" fmla="*/ 656 h 656"/>
                <a:gd name="T30" fmla="*/ 116 w 741"/>
                <a:gd name="T31" fmla="*/ 656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1" h="656">
                  <a:moveTo>
                    <a:pt x="116" y="656"/>
                  </a:moveTo>
                  <a:cubicBezTo>
                    <a:pt x="116" y="617"/>
                    <a:pt x="136" y="582"/>
                    <a:pt x="165" y="561"/>
                  </a:cubicBezTo>
                  <a:cubicBezTo>
                    <a:pt x="138" y="546"/>
                    <a:pt x="113" y="528"/>
                    <a:pt x="92" y="506"/>
                  </a:cubicBezTo>
                  <a:cubicBezTo>
                    <a:pt x="35" y="449"/>
                    <a:pt x="0" y="371"/>
                    <a:pt x="0" y="284"/>
                  </a:cubicBezTo>
                  <a:cubicBezTo>
                    <a:pt x="0" y="162"/>
                    <a:pt x="71" y="52"/>
                    <a:pt x="181" y="0"/>
                  </a:cubicBezTo>
                  <a:cubicBezTo>
                    <a:pt x="171" y="41"/>
                    <a:pt x="182" y="86"/>
                    <a:pt x="210" y="118"/>
                  </a:cubicBezTo>
                  <a:cubicBezTo>
                    <a:pt x="156" y="151"/>
                    <a:pt x="120" y="210"/>
                    <a:pt x="118" y="275"/>
                  </a:cubicBezTo>
                  <a:cubicBezTo>
                    <a:pt x="114" y="385"/>
                    <a:pt x="226" y="466"/>
                    <a:pt x="347" y="437"/>
                  </a:cubicBezTo>
                  <a:cubicBezTo>
                    <a:pt x="663" y="353"/>
                    <a:pt x="663" y="353"/>
                    <a:pt x="663" y="353"/>
                  </a:cubicBezTo>
                  <a:cubicBezTo>
                    <a:pt x="678" y="349"/>
                    <a:pt x="694" y="358"/>
                    <a:pt x="699" y="374"/>
                  </a:cubicBezTo>
                  <a:cubicBezTo>
                    <a:pt x="703" y="389"/>
                    <a:pt x="693" y="406"/>
                    <a:pt x="678" y="410"/>
                  </a:cubicBezTo>
                  <a:cubicBezTo>
                    <a:pt x="373" y="491"/>
                    <a:pt x="373" y="491"/>
                    <a:pt x="373" y="491"/>
                  </a:cubicBezTo>
                  <a:cubicBezTo>
                    <a:pt x="386" y="539"/>
                    <a:pt x="386" y="539"/>
                    <a:pt x="386" y="539"/>
                  </a:cubicBezTo>
                  <a:cubicBezTo>
                    <a:pt x="623" y="539"/>
                    <a:pt x="623" y="539"/>
                    <a:pt x="623" y="539"/>
                  </a:cubicBezTo>
                  <a:cubicBezTo>
                    <a:pt x="688" y="539"/>
                    <a:pt x="741" y="591"/>
                    <a:pt x="741" y="656"/>
                  </a:cubicBezTo>
                  <a:lnTo>
                    <a:pt x="116" y="6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90D34931-2226-4D73-B84C-7CAD0E1EB41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1" y="5043487"/>
              <a:ext cx="2587625" cy="1231900"/>
            </a:xfrm>
            <a:custGeom>
              <a:avLst/>
              <a:gdLst>
                <a:gd name="T0" fmla="*/ 40 w 229"/>
                <a:gd name="T1" fmla="*/ 104 h 109"/>
                <a:gd name="T2" fmla="*/ 4 w 229"/>
                <a:gd name="T3" fmla="*/ 84 h 109"/>
                <a:gd name="T4" fmla="*/ 25 w 229"/>
                <a:gd name="T5" fmla="*/ 48 h 109"/>
                <a:gd name="T6" fmla="*/ 188 w 229"/>
                <a:gd name="T7" fmla="*/ 4 h 109"/>
                <a:gd name="T8" fmla="*/ 224 w 229"/>
                <a:gd name="T9" fmla="*/ 25 h 109"/>
                <a:gd name="T10" fmla="*/ 204 w 229"/>
                <a:gd name="T11" fmla="*/ 61 h 109"/>
                <a:gd name="T12" fmla="*/ 40 w 229"/>
                <a:gd name="T13" fmla="*/ 10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109">
                  <a:moveTo>
                    <a:pt x="40" y="104"/>
                  </a:moveTo>
                  <a:cubicBezTo>
                    <a:pt x="25" y="109"/>
                    <a:pt x="9" y="99"/>
                    <a:pt x="4" y="84"/>
                  </a:cubicBezTo>
                  <a:cubicBezTo>
                    <a:pt x="0" y="68"/>
                    <a:pt x="10" y="52"/>
                    <a:pt x="25" y="48"/>
                  </a:cubicBezTo>
                  <a:cubicBezTo>
                    <a:pt x="188" y="4"/>
                    <a:pt x="188" y="4"/>
                    <a:pt x="188" y="4"/>
                  </a:cubicBezTo>
                  <a:cubicBezTo>
                    <a:pt x="204" y="0"/>
                    <a:pt x="220" y="9"/>
                    <a:pt x="224" y="25"/>
                  </a:cubicBezTo>
                  <a:cubicBezTo>
                    <a:pt x="229" y="40"/>
                    <a:pt x="219" y="57"/>
                    <a:pt x="204" y="61"/>
                  </a:cubicBezTo>
                  <a:lnTo>
                    <a:pt x="4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36039B62-E7D0-4152-BBFE-2DC2A8F732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4851" y="-539751"/>
              <a:ext cx="4092575" cy="5910263"/>
            </a:xfrm>
            <a:custGeom>
              <a:avLst/>
              <a:gdLst>
                <a:gd name="T0" fmla="*/ 105 w 362"/>
                <a:gd name="T1" fmla="*/ 348 h 523"/>
                <a:gd name="T2" fmla="*/ 69 w 362"/>
                <a:gd name="T3" fmla="*/ 327 h 523"/>
                <a:gd name="T4" fmla="*/ 90 w 362"/>
                <a:gd name="T5" fmla="*/ 291 h 523"/>
                <a:gd name="T6" fmla="*/ 126 w 362"/>
                <a:gd name="T7" fmla="*/ 312 h 523"/>
                <a:gd name="T8" fmla="*/ 105 w 362"/>
                <a:gd name="T9" fmla="*/ 348 h 523"/>
                <a:gd name="T10" fmla="*/ 358 w 362"/>
                <a:gd name="T11" fmla="*/ 441 h 523"/>
                <a:gd name="T12" fmla="*/ 271 w 362"/>
                <a:gd name="T13" fmla="*/ 115 h 523"/>
                <a:gd name="T14" fmla="*/ 233 w 362"/>
                <a:gd name="T15" fmla="*/ 93 h 523"/>
                <a:gd name="T16" fmla="*/ 206 w 362"/>
                <a:gd name="T17" fmla="*/ 101 h 523"/>
                <a:gd name="T18" fmla="*/ 182 w 362"/>
                <a:gd name="T19" fmla="*/ 12 h 523"/>
                <a:gd name="T20" fmla="*/ 164 w 362"/>
                <a:gd name="T21" fmla="*/ 2 h 523"/>
                <a:gd name="T22" fmla="*/ 93 w 362"/>
                <a:gd name="T23" fmla="*/ 21 h 523"/>
                <a:gd name="T24" fmla="*/ 83 w 362"/>
                <a:gd name="T25" fmla="*/ 39 h 523"/>
                <a:gd name="T26" fmla="*/ 107 w 362"/>
                <a:gd name="T27" fmla="*/ 127 h 523"/>
                <a:gd name="T28" fmla="*/ 80 w 362"/>
                <a:gd name="T29" fmla="*/ 135 h 523"/>
                <a:gd name="T30" fmla="*/ 58 w 362"/>
                <a:gd name="T31" fmla="*/ 172 h 523"/>
                <a:gd name="T32" fmla="*/ 75 w 362"/>
                <a:gd name="T33" fmla="*/ 235 h 523"/>
                <a:gd name="T34" fmla="*/ 12 w 362"/>
                <a:gd name="T35" fmla="*/ 342 h 523"/>
                <a:gd name="T36" fmla="*/ 120 w 362"/>
                <a:gd name="T37" fmla="*/ 405 h 523"/>
                <a:gd name="T38" fmla="*/ 120 w 362"/>
                <a:gd name="T39" fmla="*/ 405 h 523"/>
                <a:gd name="T40" fmla="*/ 145 w 362"/>
                <a:gd name="T41" fmla="*/ 498 h 523"/>
                <a:gd name="T42" fmla="*/ 181 w 362"/>
                <a:gd name="T43" fmla="*/ 518 h 523"/>
                <a:gd name="T44" fmla="*/ 337 w 362"/>
                <a:gd name="T45" fmla="*/ 477 h 523"/>
                <a:gd name="T46" fmla="*/ 358 w 362"/>
                <a:gd name="T47" fmla="*/ 441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2" h="523">
                  <a:moveTo>
                    <a:pt x="105" y="348"/>
                  </a:moveTo>
                  <a:cubicBezTo>
                    <a:pt x="89" y="352"/>
                    <a:pt x="73" y="343"/>
                    <a:pt x="69" y="327"/>
                  </a:cubicBezTo>
                  <a:cubicBezTo>
                    <a:pt x="65" y="311"/>
                    <a:pt x="74" y="295"/>
                    <a:pt x="90" y="291"/>
                  </a:cubicBezTo>
                  <a:cubicBezTo>
                    <a:pt x="106" y="287"/>
                    <a:pt x="122" y="296"/>
                    <a:pt x="126" y="312"/>
                  </a:cubicBezTo>
                  <a:cubicBezTo>
                    <a:pt x="130" y="328"/>
                    <a:pt x="121" y="344"/>
                    <a:pt x="105" y="348"/>
                  </a:cubicBezTo>
                  <a:close/>
                  <a:moveTo>
                    <a:pt x="358" y="441"/>
                  </a:moveTo>
                  <a:cubicBezTo>
                    <a:pt x="271" y="115"/>
                    <a:pt x="271" y="115"/>
                    <a:pt x="271" y="115"/>
                  </a:cubicBezTo>
                  <a:cubicBezTo>
                    <a:pt x="266" y="99"/>
                    <a:pt x="250" y="89"/>
                    <a:pt x="233" y="93"/>
                  </a:cubicBezTo>
                  <a:cubicBezTo>
                    <a:pt x="206" y="101"/>
                    <a:pt x="206" y="101"/>
                    <a:pt x="206" y="101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0" y="4"/>
                    <a:pt x="172" y="0"/>
                    <a:pt x="164" y="2"/>
                  </a:cubicBezTo>
                  <a:cubicBezTo>
                    <a:pt x="93" y="21"/>
                    <a:pt x="93" y="21"/>
                    <a:pt x="93" y="21"/>
                  </a:cubicBezTo>
                  <a:cubicBezTo>
                    <a:pt x="86" y="23"/>
                    <a:pt x="81" y="31"/>
                    <a:pt x="83" y="39"/>
                  </a:cubicBezTo>
                  <a:cubicBezTo>
                    <a:pt x="107" y="127"/>
                    <a:pt x="107" y="127"/>
                    <a:pt x="107" y="127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63" y="139"/>
                    <a:pt x="54" y="156"/>
                    <a:pt x="58" y="172"/>
                  </a:cubicBezTo>
                  <a:cubicBezTo>
                    <a:pt x="75" y="235"/>
                    <a:pt x="75" y="235"/>
                    <a:pt x="75" y="235"/>
                  </a:cubicBezTo>
                  <a:cubicBezTo>
                    <a:pt x="28" y="247"/>
                    <a:pt x="0" y="295"/>
                    <a:pt x="12" y="342"/>
                  </a:cubicBezTo>
                  <a:cubicBezTo>
                    <a:pt x="25" y="389"/>
                    <a:pt x="73" y="417"/>
                    <a:pt x="120" y="405"/>
                  </a:cubicBezTo>
                  <a:cubicBezTo>
                    <a:pt x="120" y="405"/>
                    <a:pt x="120" y="405"/>
                    <a:pt x="120" y="405"/>
                  </a:cubicBezTo>
                  <a:cubicBezTo>
                    <a:pt x="145" y="498"/>
                    <a:pt x="145" y="498"/>
                    <a:pt x="145" y="498"/>
                  </a:cubicBezTo>
                  <a:cubicBezTo>
                    <a:pt x="150" y="513"/>
                    <a:pt x="166" y="523"/>
                    <a:pt x="181" y="518"/>
                  </a:cubicBezTo>
                  <a:cubicBezTo>
                    <a:pt x="337" y="477"/>
                    <a:pt x="337" y="477"/>
                    <a:pt x="337" y="477"/>
                  </a:cubicBezTo>
                  <a:cubicBezTo>
                    <a:pt x="353" y="472"/>
                    <a:pt x="362" y="456"/>
                    <a:pt x="358" y="4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51" name="Freeform 47">
            <a:extLst>
              <a:ext uri="{FF2B5EF4-FFF2-40B4-BE49-F238E27FC236}">
                <a16:creationId xmlns:a16="http://schemas.microsoft.com/office/drawing/2014/main" id="{1DA91999-BB53-49CC-A201-1149313FC1E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74781" y="3268800"/>
            <a:ext cx="201116" cy="201139"/>
          </a:xfrm>
          <a:custGeom>
            <a:avLst/>
            <a:gdLst>
              <a:gd name="T0" fmla="*/ 951 w 981"/>
              <a:gd name="T1" fmla="*/ 842 h 981"/>
              <a:gd name="T2" fmla="*/ 711 w 981"/>
              <a:gd name="T3" fmla="*/ 603 h 981"/>
              <a:gd name="T4" fmla="*/ 603 w 981"/>
              <a:gd name="T5" fmla="*/ 107 h 981"/>
              <a:gd name="T6" fmla="*/ 107 w 981"/>
              <a:gd name="T7" fmla="*/ 216 h 981"/>
              <a:gd name="T8" fmla="*/ 216 w 981"/>
              <a:gd name="T9" fmla="*/ 712 h 981"/>
              <a:gd name="T10" fmla="*/ 603 w 981"/>
              <a:gd name="T11" fmla="*/ 712 h 981"/>
              <a:gd name="T12" fmla="*/ 842 w 981"/>
              <a:gd name="T13" fmla="*/ 951 h 981"/>
              <a:gd name="T14" fmla="*/ 951 w 981"/>
              <a:gd name="T15" fmla="*/ 951 h 981"/>
              <a:gd name="T16" fmla="*/ 951 w 981"/>
              <a:gd name="T17" fmla="*/ 843 h 981"/>
              <a:gd name="T18" fmla="*/ 951 w 981"/>
              <a:gd name="T19" fmla="*/ 842 h 981"/>
              <a:gd name="T20" fmla="*/ 153 w 981"/>
              <a:gd name="T21" fmla="*/ 410 h 981"/>
              <a:gd name="T22" fmla="*/ 410 w 981"/>
              <a:gd name="T23" fmla="*/ 153 h 981"/>
              <a:gd name="T24" fmla="*/ 666 w 981"/>
              <a:gd name="T25" fmla="*/ 410 h 981"/>
              <a:gd name="T26" fmla="*/ 410 w 981"/>
              <a:gd name="T27" fmla="*/ 666 h 981"/>
              <a:gd name="T28" fmla="*/ 153 w 981"/>
              <a:gd name="T29" fmla="*/ 410 h 9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81" h="981">
                <a:moveTo>
                  <a:pt x="951" y="842"/>
                </a:moveTo>
                <a:cubicBezTo>
                  <a:pt x="711" y="603"/>
                  <a:pt x="711" y="603"/>
                  <a:pt x="711" y="603"/>
                </a:cubicBezTo>
                <a:cubicBezTo>
                  <a:pt x="818" y="436"/>
                  <a:pt x="770" y="214"/>
                  <a:pt x="603" y="107"/>
                </a:cubicBezTo>
                <a:cubicBezTo>
                  <a:pt x="436" y="0"/>
                  <a:pt x="214" y="49"/>
                  <a:pt x="107" y="216"/>
                </a:cubicBezTo>
                <a:cubicBezTo>
                  <a:pt x="0" y="383"/>
                  <a:pt x="49" y="605"/>
                  <a:pt x="216" y="712"/>
                </a:cubicBezTo>
                <a:cubicBezTo>
                  <a:pt x="334" y="787"/>
                  <a:pt x="485" y="787"/>
                  <a:pt x="603" y="712"/>
                </a:cubicBezTo>
                <a:cubicBezTo>
                  <a:pt x="842" y="951"/>
                  <a:pt x="842" y="951"/>
                  <a:pt x="842" y="951"/>
                </a:cubicBezTo>
                <a:cubicBezTo>
                  <a:pt x="872" y="981"/>
                  <a:pt x="921" y="981"/>
                  <a:pt x="951" y="951"/>
                </a:cubicBezTo>
                <a:cubicBezTo>
                  <a:pt x="981" y="921"/>
                  <a:pt x="981" y="873"/>
                  <a:pt x="951" y="843"/>
                </a:cubicBezTo>
                <a:cubicBezTo>
                  <a:pt x="951" y="843"/>
                  <a:pt x="951" y="842"/>
                  <a:pt x="951" y="842"/>
                </a:cubicBezTo>
                <a:close/>
                <a:moveTo>
                  <a:pt x="153" y="410"/>
                </a:moveTo>
                <a:cubicBezTo>
                  <a:pt x="153" y="268"/>
                  <a:pt x="268" y="153"/>
                  <a:pt x="410" y="153"/>
                </a:cubicBezTo>
                <a:cubicBezTo>
                  <a:pt x="551" y="153"/>
                  <a:pt x="666" y="268"/>
                  <a:pt x="666" y="410"/>
                </a:cubicBezTo>
                <a:cubicBezTo>
                  <a:pt x="666" y="551"/>
                  <a:pt x="551" y="666"/>
                  <a:pt x="410" y="666"/>
                </a:cubicBezTo>
                <a:cubicBezTo>
                  <a:pt x="268" y="666"/>
                  <a:pt x="153" y="551"/>
                  <a:pt x="153" y="41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1BD94613-9034-4F85-BF55-C1330DBAD32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6706" y="918349"/>
            <a:ext cx="9963591" cy="5673283"/>
          </a:xfrm>
        </p:spPr>
        <p:txBody>
          <a:bodyPr/>
          <a:lstStyle>
            <a:lvl1pPr marL="0" indent="0">
              <a:spcBef>
                <a:spcPts val="1200"/>
              </a:spcBef>
              <a:buFontTx/>
              <a:buNone/>
              <a:defRPr sz="1799" b="1">
                <a:solidFill>
                  <a:schemeClr val="accent1">
                    <a:lumMod val="75000"/>
                  </a:schemeClr>
                </a:solidFill>
              </a:defRPr>
            </a:lvl1pPr>
            <a:lvl2pPr marL="168225" indent="-168225">
              <a:spcBef>
                <a:spcPts val="1200"/>
              </a:spcBef>
              <a:buFont typeface="Arial" panose="020B0604020202020204" pitchFamily="34" charset="0"/>
              <a:buChar char="•"/>
              <a:defRPr/>
            </a:lvl2pPr>
            <a:lvl3pPr marL="512609" indent="-171399">
              <a:spcBef>
                <a:spcPts val="600"/>
              </a:spcBef>
              <a:buFont typeface="Arial" panose="020B0604020202020204" pitchFamily="34" charset="0"/>
              <a:buChar char="‒"/>
              <a:defRPr sz="1300"/>
            </a:lvl3pPr>
            <a:lvl4pPr marL="798273" indent="-169812">
              <a:spcBef>
                <a:spcPts val="400"/>
              </a:spcBef>
              <a:buFont typeface="Arial" panose="020B0604020202020204" pitchFamily="34" charset="0"/>
              <a:buChar char="-"/>
              <a:defRPr sz="1300"/>
            </a:lvl4pPr>
            <a:lvl5pPr marL="1144245" indent="-115853">
              <a:spcBef>
                <a:spcPts val="200"/>
              </a:spcBef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FCC55850-0B4D-459E-9DFA-826A8F8DD9C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84359" y="2786642"/>
            <a:ext cx="219317" cy="283896"/>
            <a:chOff x="10758416" y="1419641"/>
            <a:chExt cx="3297184" cy="4266944"/>
          </a:xfrm>
          <a:solidFill>
            <a:schemeClr val="bg1">
              <a:alpha val="80000"/>
            </a:schemeClr>
          </a:solidFill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D1774698-E6E0-4328-BE18-5A15690D2252}"/>
                </a:ext>
              </a:extLst>
            </p:cNvPr>
            <p:cNvSpPr/>
            <p:nvPr/>
          </p:nvSpPr>
          <p:spPr>
            <a:xfrm>
              <a:off x="10758416" y="1419641"/>
              <a:ext cx="3297184" cy="4266944"/>
            </a:xfrm>
            <a:custGeom>
              <a:avLst/>
              <a:gdLst>
                <a:gd name="connsiteX0" fmla="*/ 2763817 w 3297184"/>
                <a:gd name="connsiteY0" fmla="*/ 1939520 h 4266944"/>
                <a:gd name="connsiteX1" fmla="*/ 2424401 w 3297184"/>
                <a:gd name="connsiteY1" fmla="*/ 1600104 h 4266944"/>
                <a:gd name="connsiteX2" fmla="*/ 2763817 w 3297184"/>
                <a:gd name="connsiteY2" fmla="*/ 1260688 h 4266944"/>
                <a:gd name="connsiteX3" fmla="*/ 3103233 w 3297184"/>
                <a:gd name="connsiteY3" fmla="*/ 1600104 h 4266944"/>
                <a:gd name="connsiteX4" fmla="*/ 2763817 w 3297184"/>
                <a:gd name="connsiteY4" fmla="*/ 1939520 h 4266944"/>
                <a:gd name="connsiteX5" fmla="*/ 3297185 w 3297184"/>
                <a:gd name="connsiteY5" fmla="*/ 1600104 h 4266944"/>
                <a:gd name="connsiteX6" fmla="*/ 2763817 w 3297184"/>
                <a:gd name="connsiteY6" fmla="*/ 1066736 h 4266944"/>
                <a:gd name="connsiteX7" fmla="*/ 2230449 w 3297184"/>
                <a:gd name="connsiteY7" fmla="*/ 1600104 h 4266944"/>
                <a:gd name="connsiteX8" fmla="*/ 2618353 w 3297184"/>
                <a:gd name="connsiteY8" fmla="*/ 2114077 h 4266944"/>
                <a:gd name="connsiteX9" fmla="*/ 2618353 w 3297184"/>
                <a:gd name="connsiteY9" fmla="*/ 3248697 h 4266944"/>
                <a:gd name="connsiteX10" fmla="*/ 1891032 w 3297184"/>
                <a:gd name="connsiteY10" fmla="*/ 3976017 h 4266944"/>
                <a:gd name="connsiteX11" fmla="*/ 1163712 w 3297184"/>
                <a:gd name="connsiteY11" fmla="*/ 3248697 h 4266944"/>
                <a:gd name="connsiteX12" fmla="*/ 1163712 w 3297184"/>
                <a:gd name="connsiteY12" fmla="*/ 2754119 h 4266944"/>
                <a:gd name="connsiteX13" fmla="*/ 2036496 w 3297184"/>
                <a:gd name="connsiteY13" fmla="*/ 1745568 h 4266944"/>
                <a:gd name="connsiteX14" fmla="*/ 1939520 w 3297184"/>
                <a:gd name="connsiteY14" fmla="*/ 1580709 h 4266944"/>
                <a:gd name="connsiteX15" fmla="*/ 1939520 w 3297184"/>
                <a:gd name="connsiteY15" fmla="*/ 387904 h 4266944"/>
                <a:gd name="connsiteX16" fmla="*/ 1687383 w 3297184"/>
                <a:gd name="connsiteY16" fmla="*/ 101825 h 4266944"/>
                <a:gd name="connsiteX17" fmla="*/ 1551616 w 3297184"/>
                <a:gd name="connsiteY17" fmla="*/ 0 h 4266944"/>
                <a:gd name="connsiteX18" fmla="*/ 1503128 w 3297184"/>
                <a:gd name="connsiteY18" fmla="*/ 0 h 4266944"/>
                <a:gd name="connsiteX19" fmla="*/ 1309176 w 3297184"/>
                <a:gd name="connsiteY19" fmla="*/ 193952 h 4266944"/>
                <a:gd name="connsiteX20" fmla="*/ 1503128 w 3297184"/>
                <a:gd name="connsiteY20" fmla="*/ 387904 h 4266944"/>
                <a:gd name="connsiteX21" fmla="*/ 1551616 w 3297184"/>
                <a:gd name="connsiteY21" fmla="*/ 387904 h 4266944"/>
                <a:gd name="connsiteX22" fmla="*/ 1687383 w 3297184"/>
                <a:gd name="connsiteY22" fmla="*/ 300626 h 4266944"/>
                <a:gd name="connsiteX23" fmla="*/ 1745568 w 3297184"/>
                <a:gd name="connsiteY23" fmla="*/ 387904 h 4266944"/>
                <a:gd name="connsiteX24" fmla="*/ 1745568 w 3297184"/>
                <a:gd name="connsiteY24" fmla="*/ 1580709 h 4266944"/>
                <a:gd name="connsiteX25" fmla="*/ 1648592 w 3297184"/>
                <a:gd name="connsiteY25" fmla="*/ 1745568 h 4266944"/>
                <a:gd name="connsiteX26" fmla="*/ 1018248 w 3297184"/>
                <a:gd name="connsiteY26" fmla="*/ 2375913 h 4266944"/>
                <a:gd name="connsiteX27" fmla="*/ 387904 w 3297184"/>
                <a:gd name="connsiteY27" fmla="*/ 1745568 h 4266944"/>
                <a:gd name="connsiteX28" fmla="*/ 290928 w 3297184"/>
                <a:gd name="connsiteY28" fmla="*/ 1580709 h 4266944"/>
                <a:gd name="connsiteX29" fmla="*/ 290928 w 3297184"/>
                <a:gd name="connsiteY29" fmla="*/ 387904 h 4266944"/>
                <a:gd name="connsiteX30" fmla="*/ 349114 w 3297184"/>
                <a:gd name="connsiteY30" fmla="*/ 300626 h 4266944"/>
                <a:gd name="connsiteX31" fmla="*/ 484880 w 3297184"/>
                <a:gd name="connsiteY31" fmla="*/ 387904 h 4266944"/>
                <a:gd name="connsiteX32" fmla="*/ 533368 w 3297184"/>
                <a:gd name="connsiteY32" fmla="*/ 387904 h 4266944"/>
                <a:gd name="connsiteX33" fmla="*/ 727320 w 3297184"/>
                <a:gd name="connsiteY33" fmla="*/ 193952 h 4266944"/>
                <a:gd name="connsiteX34" fmla="*/ 533368 w 3297184"/>
                <a:gd name="connsiteY34" fmla="*/ 0 h 4266944"/>
                <a:gd name="connsiteX35" fmla="*/ 484880 w 3297184"/>
                <a:gd name="connsiteY35" fmla="*/ 0 h 4266944"/>
                <a:gd name="connsiteX36" fmla="*/ 349114 w 3297184"/>
                <a:gd name="connsiteY36" fmla="*/ 101825 h 4266944"/>
                <a:gd name="connsiteX37" fmla="*/ 96976 w 3297184"/>
                <a:gd name="connsiteY37" fmla="*/ 387904 h 4266944"/>
                <a:gd name="connsiteX38" fmla="*/ 96976 w 3297184"/>
                <a:gd name="connsiteY38" fmla="*/ 1580709 h 4266944"/>
                <a:gd name="connsiteX39" fmla="*/ 0 w 3297184"/>
                <a:gd name="connsiteY39" fmla="*/ 1745568 h 4266944"/>
                <a:gd name="connsiteX40" fmla="*/ 872784 w 3297184"/>
                <a:gd name="connsiteY40" fmla="*/ 2754119 h 4266944"/>
                <a:gd name="connsiteX41" fmla="*/ 872784 w 3297184"/>
                <a:gd name="connsiteY41" fmla="*/ 3248697 h 4266944"/>
                <a:gd name="connsiteX42" fmla="*/ 1891032 w 3297184"/>
                <a:gd name="connsiteY42" fmla="*/ 4266945 h 4266944"/>
                <a:gd name="connsiteX43" fmla="*/ 2909281 w 3297184"/>
                <a:gd name="connsiteY43" fmla="*/ 3248697 h 4266944"/>
                <a:gd name="connsiteX44" fmla="*/ 2909281 w 3297184"/>
                <a:gd name="connsiteY44" fmla="*/ 2114077 h 4266944"/>
                <a:gd name="connsiteX45" fmla="*/ 3297185 w 3297184"/>
                <a:gd name="connsiteY45" fmla="*/ 1600104 h 4266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3297184" h="4266944">
                  <a:moveTo>
                    <a:pt x="2763817" y="1939520"/>
                  </a:moveTo>
                  <a:cubicBezTo>
                    <a:pt x="2574713" y="1939520"/>
                    <a:pt x="2424401" y="1789208"/>
                    <a:pt x="2424401" y="1600104"/>
                  </a:cubicBezTo>
                  <a:cubicBezTo>
                    <a:pt x="2424401" y="1411001"/>
                    <a:pt x="2574713" y="1260688"/>
                    <a:pt x="2763817" y="1260688"/>
                  </a:cubicBezTo>
                  <a:cubicBezTo>
                    <a:pt x="2952920" y="1260688"/>
                    <a:pt x="3103233" y="1411001"/>
                    <a:pt x="3103233" y="1600104"/>
                  </a:cubicBezTo>
                  <a:cubicBezTo>
                    <a:pt x="3103233" y="1789208"/>
                    <a:pt x="2952920" y="1939520"/>
                    <a:pt x="2763817" y="1939520"/>
                  </a:cubicBezTo>
                  <a:close/>
                  <a:moveTo>
                    <a:pt x="3297185" y="1600104"/>
                  </a:moveTo>
                  <a:cubicBezTo>
                    <a:pt x="3297185" y="1304328"/>
                    <a:pt x="3059594" y="1066736"/>
                    <a:pt x="2763817" y="1066736"/>
                  </a:cubicBezTo>
                  <a:cubicBezTo>
                    <a:pt x="2468040" y="1066736"/>
                    <a:pt x="2230449" y="1304328"/>
                    <a:pt x="2230449" y="1600104"/>
                  </a:cubicBezTo>
                  <a:cubicBezTo>
                    <a:pt x="2230449" y="1842544"/>
                    <a:pt x="2395308" y="2051043"/>
                    <a:pt x="2618353" y="2114077"/>
                  </a:cubicBezTo>
                  <a:lnTo>
                    <a:pt x="2618353" y="3248697"/>
                  </a:lnTo>
                  <a:cubicBezTo>
                    <a:pt x="2618353" y="3651147"/>
                    <a:pt x="2293483" y="3976017"/>
                    <a:pt x="1891032" y="3976017"/>
                  </a:cubicBezTo>
                  <a:cubicBezTo>
                    <a:pt x="1488582" y="3976017"/>
                    <a:pt x="1163712" y="3651147"/>
                    <a:pt x="1163712" y="3248697"/>
                  </a:cubicBezTo>
                  <a:lnTo>
                    <a:pt x="1163712" y="2754119"/>
                  </a:lnTo>
                  <a:cubicBezTo>
                    <a:pt x="1658290" y="2681387"/>
                    <a:pt x="2036496" y="2259541"/>
                    <a:pt x="2036496" y="1745568"/>
                  </a:cubicBezTo>
                  <a:cubicBezTo>
                    <a:pt x="2036496" y="1672836"/>
                    <a:pt x="1997706" y="1609802"/>
                    <a:pt x="1939520" y="1580709"/>
                  </a:cubicBezTo>
                  <a:lnTo>
                    <a:pt x="1939520" y="387904"/>
                  </a:lnTo>
                  <a:cubicBezTo>
                    <a:pt x="1939520" y="242440"/>
                    <a:pt x="1827998" y="121220"/>
                    <a:pt x="1687383" y="101825"/>
                  </a:cubicBezTo>
                  <a:cubicBezTo>
                    <a:pt x="1667988" y="43639"/>
                    <a:pt x="1614651" y="0"/>
                    <a:pt x="1551616" y="0"/>
                  </a:cubicBezTo>
                  <a:lnTo>
                    <a:pt x="1503128" y="0"/>
                  </a:lnTo>
                  <a:cubicBezTo>
                    <a:pt x="1396455" y="0"/>
                    <a:pt x="1309176" y="87278"/>
                    <a:pt x="1309176" y="193952"/>
                  </a:cubicBezTo>
                  <a:cubicBezTo>
                    <a:pt x="1309176" y="300626"/>
                    <a:pt x="1396455" y="387904"/>
                    <a:pt x="1503128" y="387904"/>
                  </a:cubicBezTo>
                  <a:lnTo>
                    <a:pt x="1551616" y="387904"/>
                  </a:lnTo>
                  <a:cubicBezTo>
                    <a:pt x="1609802" y="387904"/>
                    <a:pt x="1663139" y="349114"/>
                    <a:pt x="1687383" y="300626"/>
                  </a:cubicBezTo>
                  <a:cubicBezTo>
                    <a:pt x="1721324" y="315172"/>
                    <a:pt x="1745568" y="349114"/>
                    <a:pt x="1745568" y="387904"/>
                  </a:cubicBezTo>
                  <a:lnTo>
                    <a:pt x="1745568" y="1580709"/>
                  </a:lnTo>
                  <a:cubicBezTo>
                    <a:pt x="1687383" y="1614651"/>
                    <a:pt x="1648592" y="1677685"/>
                    <a:pt x="1648592" y="1745568"/>
                  </a:cubicBezTo>
                  <a:cubicBezTo>
                    <a:pt x="1648592" y="2094682"/>
                    <a:pt x="1367362" y="2375913"/>
                    <a:pt x="1018248" y="2375913"/>
                  </a:cubicBezTo>
                  <a:cubicBezTo>
                    <a:pt x="669135" y="2375913"/>
                    <a:pt x="387904" y="2094682"/>
                    <a:pt x="387904" y="1745568"/>
                  </a:cubicBezTo>
                  <a:cubicBezTo>
                    <a:pt x="387904" y="1672836"/>
                    <a:pt x="349114" y="1609802"/>
                    <a:pt x="290928" y="1580709"/>
                  </a:cubicBezTo>
                  <a:lnTo>
                    <a:pt x="290928" y="387904"/>
                  </a:lnTo>
                  <a:cubicBezTo>
                    <a:pt x="290928" y="349114"/>
                    <a:pt x="315172" y="315172"/>
                    <a:pt x="349114" y="300626"/>
                  </a:cubicBezTo>
                  <a:cubicBezTo>
                    <a:pt x="373358" y="353963"/>
                    <a:pt x="421846" y="387904"/>
                    <a:pt x="484880" y="387904"/>
                  </a:cubicBezTo>
                  <a:lnTo>
                    <a:pt x="533368" y="387904"/>
                  </a:lnTo>
                  <a:cubicBezTo>
                    <a:pt x="640042" y="387904"/>
                    <a:pt x="727320" y="300626"/>
                    <a:pt x="727320" y="193952"/>
                  </a:cubicBezTo>
                  <a:cubicBezTo>
                    <a:pt x="727320" y="87278"/>
                    <a:pt x="640042" y="0"/>
                    <a:pt x="533368" y="0"/>
                  </a:cubicBezTo>
                  <a:lnTo>
                    <a:pt x="484880" y="0"/>
                  </a:lnTo>
                  <a:cubicBezTo>
                    <a:pt x="421846" y="0"/>
                    <a:pt x="368509" y="43639"/>
                    <a:pt x="349114" y="101825"/>
                  </a:cubicBezTo>
                  <a:cubicBezTo>
                    <a:pt x="208498" y="121220"/>
                    <a:pt x="96976" y="242440"/>
                    <a:pt x="96976" y="387904"/>
                  </a:cubicBezTo>
                  <a:lnTo>
                    <a:pt x="96976" y="1580709"/>
                  </a:lnTo>
                  <a:cubicBezTo>
                    <a:pt x="38790" y="1614651"/>
                    <a:pt x="0" y="1677685"/>
                    <a:pt x="0" y="1745568"/>
                  </a:cubicBezTo>
                  <a:cubicBezTo>
                    <a:pt x="0" y="2259541"/>
                    <a:pt x="378206" y="2681387"/>
                    <a:pt x="872784" y="2754119"/>
                  </a:cubicBezTo>
                  <a:lnTo>
                    <a:pt x="872784" y="3248697"/>
                  </a:lnTo>
                  <a:cubicBezTo>
                    <a:pt x="872784" y="3811158"/>
                    <a:pt x="1328572" y="4266945"/>
                    <a:pt x="1891032" y="4266945"/>
                  </a:cubicBezTo>
                  <a:cubicBezTo>
                    <a:pt x="2453493" y="4266945"/>
                    <a:pt x="2909281" y="3811158"/>
                    <a:pt x="2909281" y="3248697"/>
                  </a:cubicBezTo>
                  <a:lnTo>
                    <a:pt x="2909281" y="2114077"/>
                  </a:lnTo>
                  <a:cubicBezTo>
                    <a:pt x="3132326" y="2051043"/>
                    <a:pt x="3297185" y="1842544"/>
                    <a:pt x="3297185" y="1600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70ABEA9D-8331-480D-AE18-076B3A39BF1B}"/>
                </a:ext>
              </a:extLst>
            </p:cNvPr>
            <p:cNvSpPr/>
            <p:nvPr/>
          </p:nvSpPr>
          <p:spPr>
            <a:xfrm>
              <a:off x="13279792" y="2777305"/>
              <a:ext cx="484880" cy="484880"/>
            </a:xfrm>
            <a:custGeom>
              <a:avLst/>
              <a:gdLst>
                <a:gd name="connsiteX0" fmla="*/ 484880 w 484880"/>
                <a:gd name="connsiteY0" fmla="*/ 242440 h 484880"/>
                <a:gd name="connsiteX1" fmla="*/ 242440 w 484880"/>
                <a:gd name="connsiteY1" fmla="*/ 484880 h 484880"/>
                <a:gd name="connsiteX2" fmla="*/ 0 w 484880"/>
                <a:gd name="connsiteY2" fmla="*/ 242440 h 484880"/>
                <a:gd name="connsiteX3" fmla="*/ 242440 w 484880"/>
                <a:gd name="connsiteY3" fmla="*/ 0 h 484880"/>
                <a:gd name="connsiteX4" fmla="*/ 484880 w 484880"/>
                <a:gd name="connsiteY4" fmla="*/ 242440 h 484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880" h="484880">
                  <a:moveTo>
                    <a:pt x="484880" y="242440"/>
                  </a:moveTo>
                  <a:cubicBezTo>
                    <a:pt x="484880" y="376336"/>
                    <a:pt x="376336" y="484880"/>
                    <a:pt x="242440" y="484880"/>
                  </a:cubicBezTo>
                  <a:cubicBezTo>
                    <a:pt x="108544" y="484880"/>
                    <a:pt x="0" y="376336"/>
                    <a:pt x="0" y="242440"/>
                  </a:cubicBezTo>
                  <a:cubicBezTo>
                    <a:pt x="0" y="108544"/>
                    <a:pt x="108544" y="0"/>
                    <a:pt x="242440" y="0"/>
                  </a:cubicBezTo>
                  <a:cubicBezTo>
                    <a:pt x="376336" y="0"/>
                    <a:pt x="484880" y="108544"/>
                    <a:pt x="484880" y="2424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87C247BC-BA04-499E-A1EF-51DF1F791813}"/>
              </a:ext>
            </a:extLst>
          </p:cNvPr>
          <p:cNvGrpSpPr/>
          <p:nvPr userDrawn="1"/>
        </p:nvGrpSpPr>
        <p:grpSpPr>
          <a:xfrm>
            <a:off x="11169212" y="3702633"/>
            <a:ext cx="229989" cy="225311"/>
            <a:chOff x="2634853" y="3844528"/>
            <a:chExt cx="261938" cy="268319"/>
          </a:xfrm>
          <a:solidFill>
            <a:schemeClr val="bg1">
              <a:alpha val="80000"/>
            </a:schemeClr>
          </a:solidFill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DB1A55E2-B374-4FB3-8256-86D4ABE27221}"/>
                </a:ext>
              </a:extLst>
            </p:cNvPr>
            <p:cNvSpPr/>
            <p:nvPr/>
          </p:nvSpPr>
          <p:spPr>
            <a:xfrm>
              <a:off x="2634853" y="3965972"/>
              <a:ext cx="34366" cy="108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81B02360-0FDB-4B96-9C5C-BCA0D3551988}"/>
                </a:ext>
              </a:extLst>
            </p:cNvPr>
            <p:cNvSpPr/>
            <p:nvPr/>
          </p:nvSpPr>
          <p:spPr>
            <a:xfrm>
              <a:off x="2691746" y="3894534"/>
              <a:ext cx="34366" cy="18024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E674843E-87CC-4950-A9BC-DE91197586AE}"/>
                </a:ext>
              </a:extLst>
            </p:cNvPr>
            <p:cNvSpPr/>
            <p:nvPr/>
          </p:nvSpPr>
          <p:spPr>
            <a:xfrm>
              <a:off x="2748639" y="3992166"/>
              <a:ext cx="34366" cy="826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5B1BB7E0-00D9-4D88-ACC1-37A5D8EECB21}"/>
                </a:ext>
              </a:extLst>
            </p:cNvPr>
            <p:cNvSpPr/>
            <p:nvPr/>
          </p:nvSpPr>
          <p:spPr>
            <a:xfrm>
              <a:off x="2805532" y="3942160"/>
              <a:ext cx="34366" cy="13261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620CA995-F88A-47E6-8930-2551D6A896D5}"/>
                </a:ext>
              </a:extLst>
            </p:cNvPr>
            <p:cNvSpPr/>
            <p:nvPr/>
          </p:nvSpPr>
          <p:spPr>
            <a:xfrm>
              <a:off x="2862425" y="3844528"/>
              <a:ext cx="34366" cy="2302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5A6C7F06-E38C-488E-935E-52491DA75323}"/>
                </a:ext>
              </a:extLst>
            </p:cNvPr>
            <p:cNvSpPr/>
            <p:nvPr/>
          </p:nvSpPr>
          <p:spPr>
            <a:xfrm>
              <a:off x="2634853" y="4094559"/>
              <a:ext cx="261938" cy="1828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AE844C76-4745-45A3-8FB7-DFA20E1AEFE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841423" y="4609169"/>
            <a:ext cx="247314" cy="241130"/>
            <a:chOff x="2578100" y="0"/>
            <a:chExt cx="11628438" cy="11334750"/>
          </a:xfrm>
          <a:solidFill>
            <a:schemeClr val="bg1">
              <a:alpha val="80000"/>
            </a:schemeClr>
          </a:solidFill>
        </p:grpSpPr>
        <p:sp>
          <p:nvSpPr>
            <p:cNvPr id="56" name="Freeform 15">
              <a:extLst>
                <a:ext uri="{FF2B5EF4-FFF2-40B4-BE49-F238E27FC236}">
                  <a16:creationId xmlns:a16="http://schemas.microsoft.com/office/drawing/2014/main" id="{997C66A9-7C4A-45A8-AF06-B6D56D0083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2263" y="0"/>
              <a:ext cx="4994275" cy="5073650"/>
            </a:xfrm>
            <a:custGeom>
              <a:avLst/>
              <a:gdLst>
                <a:gd name="T0" fmla="*/ 211 w 442"/>
                <a:gd name="T1" fmla="*/ 137 h 449"/>
                <a:gd name="T2" fmla="*/ 308 w 442"/>
                <a:gd name="T3" fmla="*/ 215 h 449"/>
                <a:gd name="T4" fmla="*/ 231 w 442"/>
                <a:gd name="T5" fmla="*/ 312 h 449"/>
                <a:gd name="T6" fmla="*/ 133 w 442"/>
                <a:gd name="T7" fmla="*/ 235 h 449"/>
                <a:gd name="T8" fmla="*/ 211 w 442"/>
                <a:gd name="T9" fmla="*/ 137 h 449"/>
                <a:gd name="T10" fmla="*/ 65 w 442"/>
                <a:gd name="T11" fmla="*/ 283 h 449"/>
                <a:gd name="T12" fmla="*/ 16 w 442"/>
                <a:gd name="T13" fmla="*/ 320 h 449"/>
                <a:gd name="T14" fmla="*/ 71 w 442"/>
                <a:gd name="T15" fmla="*/ 394 h 449"/>
                <a:gd name="T16" fmla="*/ 121 w 442"/>
                <a:gd name="T17" fmla="*/ 357 h 449"/>
                <a:gd name="T18" fmla="*/ 194 w 442"/>
                <a:gd name="T19" fmla="*/ 389 h 449"/>
                <a:gd name="T20" fmla="*/ 201 w 442"/>
                <a:gd name="T21" fmla="*/ 449 h 449"/>
                <a:gd name="T22" fmla="*/ 292 w 442"/>
                <a:gd name="T23" fmla="*/ 439 h 449"/>
                <a:gd name="T24" fmla="*/ 285 w 442"/>
                <a:gd name="T25" fmla="*/ 378 h 449"/>
                <a:gd name="T26" fmla="*/ 349 w 442"/>
                <a:gd name="T27" fmla="*/ 330 h 449"/>
                <a:gd name="T28" fmla="*/ 405 w 442"/>
                <a:gd name="T29" fmla="*/ 354 h 449"/>
                <a:gd name="T30" fmla="*/ 442 w 442"/>
                <a:gd name="T31" fmla="*/ 270 h 449"/>
                <a:gd name="T32" fmla="*/ 385 w 442"/>
                <a:gd name="T33" fmla="*/ 246 h 449"/>
                <a:gd name="T34" fmla="*/ 376 w 442"/>
                <a:gd name="T35" fmla="*/ 166 h 449"/>
                <a:gd name="T36" fmla="*/ 425 w 442"/>
                <a:gd name="T37" fmla="*/ 130 h 449"/>
                <a:gd name="T38" fmla="*/ 370 w 442"/>
                <a:gd name="T39" fmla="*/ 56 h 449"/>
                <a:gd name="T40" fmla="*/ 321 w 442"/>
                <a:gd name="T41" fmla="*/ 93 h 449"/>
                <a:gd name="T42" fmla="*/ 248 w 442"/>
                <a:gd name="T43" fmla="*/ 61 h 449"/>
                <a:gd name="T44" fmla="*/ 241 w 442"/>
                <a:gd name="T45" fmla="*/ 0 h 449"/>
                <a:gd name="T46" fmla="*/ 149 w 442"/>
                <a:gd name="T47" fmla="*/ 11 h 449"/>
                <a:gd name="T48" fmla="*/ 156 w 442"/>
                <a:gd name="T49" fmla="*/ 72 h 449"/>
                <a:gd name="T50" fmla="*/ 93 w 442"/>
                <a:gd name="T51" fmla="*/ 119 h 449"/>
                <a:gd name="T52" fmla="*/ 36 w 442"/>
                <a:gd name="T53" fmla="*/ 95 h 449"/>
                <a:gd name="T54" fmla="*/ 0 w 442"/>
                <a:gd name="T55" fmla="*/ 180 h 449"/>
                <a:gd name="T56" fmla="*/ 56 w 442"/>
                <a:gd name="T57" fmla="*/ 204 h 449"/>
                <a:gd name="T58" fmla="*/ 65 w 442"/>
                <a:gd name="T59" fmla="*/ 283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2" h="449">
                  <a:moveTo>
                    <a:pt x="211" y="137"/>
                  </a:moveTo>
                  <a:cubicBezTo>
                    <a:pt x="259" y="132"/>
                    <a:pt x="303" y="166"/>
                    <a:pt x="308" y="215"/>
                  </a:cubicBezTo>
                  <a:cubicBezTo>
                    <a:pt x="314" y="263"/>
                    <a:pt x="279" y="307"/>
                    <a:pt x="231" y="312"/>
                  </a:cubicBezTo>
                  <a:cubicBezTo>
                    <a:pt x="183" y="318"/>
                    <a:pt x="139" y="283"/>
                    <a:pt x="133" y="235"/>
                  </a:cubicBezTo>
                  <a:cubicBezTo>
                    <a:pt x="128" y="187"/>
                    <a:pt x="162" y="143"/>
                    <a:pt x="211" y="137"/>
                  </a:cubicBezTo>
                  <a:close/>
                  <a:moveTo>
                    <a:pt x="65" y="283"/>
                  </a:moveTo>
                  <a:cubicBezTo>
                    <a:pt x="16" y="320"/>
                    <a:pt x="16" y="320"/>
                    <a:pt x="16" y="320"/>
                  </a:cubicBezTo>
                  <a:cubicBezTo>
                    <a:pt x="71" y="394"/>
                    <a:pt x="71" y="394"/>
                    <a:pt x="71" y="394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94" y="389"/>
                    <a:pt x="194" y="389"/>
                    <a:pt x="194" y="389"/>
                  </a:cubicBezTo>
                  <a:cubicBezTo>
                    <a:pt x="201" y="449"/>
                    <a:pt x="201" y="449"/>
                    <a:pt x="201" y="449"/>
                  </a:cubicBezTo>
                  <a:cubicBezTo>
                    <a:pt x="292" y="439"/>
                    <a:pt x="292" y="439"/>
                    <a:pt x="292" y="439"/>
                  </a:cubicBezTo>
                  <a:cubicBezTo>
                    <a:pt x="285" y="378"/>
                    <a:pt x="285" y="378"/>
                    <a:pt x="285" y="378"/>
                  </a:cubicBezTo>
                  <a:cubicBezTo>
                    <a:pt x="349" y="330"/>
                    <a:pt x="349" y="330"/>
                    <a:pt x="349" y="330"/>
                  </a:cubicBezTo>
                  <a:cubicBezTo>
                    <a:pt x="405" y="354"/>
                    <a:pt x="405" y="354"/>
                    <a:pt x="405" y="354"/>
                  </a:cubicBezTo>
                  <a:cubicBezTo>
                    <a:pt x="442" y="270"/>
                    <a:pt x="442" y="270"/>
                    <a:pt x="442" y="270"/>
                  </a:cubicBezTo>
                  <a:cubicBezTo>
                    <a:pt x="385" y="246"/>
                    <a:pt x="385" y="246"/>
                    <a:pt x="385" y="246"/>
                  </a:cubicBezTo>
                  <a:cubicBezTo>
                    <a:pt x="376" y="166"/>
                    <a:pt x="376" y="166"/>
                    <a:pt x="376" y="166"/>
                  </a:cubicBezTo>
                  <a:cubicBezTo>
                    <a:pt x="425" y="130"/>
                    <a:pt x="425" y="130"/>
                    <a:pt x="425" y="130"/>
                  </a:cubicBezTo>
                  <a:cubicBezTo>
                    <a:pt x="370" y="56"/>
                    <a:pt x="370" y="56"/>
                    <a:pt x="370" y="56"/>
                  </a:cubicBezTo>
                  <a:cubicBezTo>
                    <a:pt x="321" y="93"/>
                    <a:pt x="321" y="93"/>
                    <a:pt x="321" y="93"/>
                  </a:cubicBezTo>
                  <a:cubicBezTo>
                    <a:pt x="248" y="61"/>
                    <a:pt x="248" y="61"/>
                    <a:pt x="248" y="61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56" y="72"/>
                    <a:pt x="156" y="72"/>
                    <a:pt x="156" y="72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36" y="95"/>
                    <a:pt x="36" y="95"/>
                    <a:pt x="36" y="95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56" y="204"/>
                    <a:pt x="56" y="204"/>
                    <a:pt x="56" y="204"/>
                  </a:cubicBezTo>
                  <a:lnTo>
                    <a:pt x="65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D0E769C7-ED5C-46EA-85B5-4209A68B36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0313" y="6340475"/>
              <a:ext cx="5073650" cy="4994275"/>
            </a:xfrm>
            <a:custGeom>
              <a:avLst/>
              <a:gdLst>
                <a:gd name="T0" fmla="*/ 306 w 449"/>
                <a:gd name="T1" fmla="*/ 256 h 442"/>
                <a:gd name="T2" fmla="*/ 190 w 449"/>
                <a:gd name="T3" fmla="*/ 302 h 442"/>
                <a:gd name="T4" fmla="*/ 144 w 449"/>
                <a:gd name="T5" fmla="*/ 186 h 442"/>
                <a:gd name="T6" fmla="*/ 259 w 449"/>
                <a:gd name="T7" fmla="*/ 140 h 442"/>
                <a:gd name="T8" fmla="*/ 306 w 449"/>
                <a:gd name="T9" fmla="*/ 256 h 442"/>
                <a:gd name="T10" fmla="*/ 449 w 449"/>
                <a:gd name="T11" fmla="*/ 240 h 442"/>
                <a:gd name="T12" fmla="*/ 438 w 449"/>
                <a:gd name="T13" fmla="*/ 149 h 442"/>
                <a:gd name="T14" fmla="*/ 377 w 449"/>
                <a:gd name="T15" fmla="*/ 156 h 442"/>
                <a:gd name="T16" fmla="*/ 330 w 449"/>
                <a:gd name="T17" fmla="*/ 92 h 442"/>
                <a:gd name="T18" fmla="*/ 354 w 449"/>
                <a:gd name="T19" fmla="*/ 36 h 442"/>
                <a:gd name="T20" fmla="*/ 269 w 449"/>
                <a:gd name="T21" fmla="*/ 0 h 442"/>
                <a:gd name="T22" fmla="*/ 245 w 449"/>
                <a:gd name="T23" fmla="*/ 56 h 442"/>
                <a:gd name="T24" fmla="*/ 166 w 449"/>
                <a:gd name="T25" fmla="*/ 66 h 442"/>
                <a:gd name="T26" fmla="*/ 129 w 449"/>
                <a:gd name="T27" fmla="*/ 17 h 442"/>
                <a:gd name="T28" fmla="*/ 55 w 449"/>
                <a:gd name="T29" fmla="*/ 72 h 442"/>
                <a:gd name="T30" fmla="*/ 92 w 449"/>
                <a:gd name="T31" fmla="*/ 121 h 442"/>
                <a:gd name="T32" fmla="*/ 61 w 449"/>
                <a:gd name="T33" fmla="*/ 194 h 442"/>
                <a:gd name="T34" fmla="*/ 0 w 449"/>
                <a:gd name="T35" fmla="*/ 202 h 442"/>
                <a:gd name="T36" fmla="*/ 11 w 449"/>
                <a:gd name="T37" fmla="*/ 293 h 442"/>
                <a:gd name="T38" fmla="*/ 72 w 449"/>
                <a:gd name="T39" fmla="*/ 286 h 442"/>
                <a:gd name="T40" fmla="*/ 120 w 449"/>
                <a:gd name="T41" fmla="*/ 350 h 442"/>
                <a:gd name="T42" fmla="*/ 96 w 449"/>
                <a:gd name="T43" fmla="*/ 406 h 442"/>
                <a:gd name="T44" fmla="*/ 180 w 449"/>
                <a:gd name="T45" fmla="*/ 442 h 442"/>
                <a:gd name="T46" fmla="*/ 205 w 449"/>
                <a:gd name="T47" fmla="*/ 386 h 442"/>
                <a:gd name="T48" fmla="*/ 284 w 449"/>
                <a:gd name="T49" fmla="*/ 376 h 442"/>
                <a:gd name="T50" fmla="*/ 320 w 449"/>
                <a:gd name="T51" fmla="*/ 425 h 442"/>
                <a:gd name="T52" fmla="*/ 394 w 449"/>
                <a:gd name="T53" fmla="*/ 370 h 442"/>
                <a:gd name="T54" fmla="*/ 357 w 449"/>
                <a:gd name="T55" fmla="*/ 321 h 442"/>
                <a:gd name="T56" fmla="*/ 389 w 449"/>
                <a:gd name="T57" fmla="*/ 248 h 442"/>
                <a:gd name="T58" fmla="*/ 449 w 449"/>
                <a:gd name="T59" fmla="*/ 24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9" h="442">
                  <a:moveTo>
                    <a:pt x="306" y="256"/>
                  </a:moveTo>
                  <a:cubicBezTo>
                    <a:pt x="287" y="300"/>
                    <a:pt x="235" y="321"/>
                    <a:pt x="190" y="302"/>
                  </a:cubicBezTo>
                  <a:cubicBezTo>
                    <a:pt x="145" y="283"/>
                    <a:pt x="125" y="231"/>
                    <a:pt x="144" y="186"/>
                  </a:cubicBezTo>
                  <a:cubicBezTo>
                    <a:pt x="163" y="142"/>
                    <a:pt x="215" y="121"/>
                    <a:pt x="259" y="140"/>
                  </a:cubicBezTo>
                  <a:cubicBezTo>
                    <a:pt x="304" y="159"/>
                    <a:pt x="325" y="211"/>
                    <a:pt x="306" y="256"/>
                  </a:cubicBezTo>
                  <a:close/>
                  <a:moveTo>
                    <a:pt x="449" y="240"/>
                  </a:moveTo>
                  <a:cubicBezTo>
                    <a:pt x="438" y="149"/>
                    <a:pt x="438" y="149"/>
                    <a:pt x="438" y="149"/>
                  </a:cubicBezTo>
                  <a:cubicBezTo>
                    <a:pt x="377" y="156"/>
                    <a:pt x="377" y="156"/>
                    <a:pt x="377" y="156"/>
                  </a:cubicBezTo>
                  <a:cubicBezTo>
                    <a:pt x="330" y="92"/>
                    <a:pt x="330" y="92"/>
                    <a:pt x="330" y="92"/>
                  </a:cubicBezTo>
                  <a:cubicBezTo>
                    <a:pt x="354" y="36"/>
                    <a:pt x="354" y="36"/>
                    <a:pt x="354" y="36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245" y="56"/>
                    <a:pt x="245" y="56"/>
                    <a:pt x="245" y="56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92" y="121"/>
                    <a:pt x="92" y="121"/>
                    <a:pt x="92" y="121"/>
                  </a:cubicBezTo>
                  <a:cubicBezTo>
                    <a:pt x="61" y="194"/>
                    <a:pt x="61" y="194"/>
                    <a:pt x="61" y="194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11" y="293"/>
                    <a:pt x="11" y="293"/>
                    <a:pt x="11" y="293"/>
                  </a:cubicBezTo>
                  <a:cubicBezTo>
                    <a:pt x="72" y="286"/>
                    <a:pt x="72" y="286"/>
                    <a:pt x="72" y="286"/>
                  </a:cubicBezTo>
                  <a:cubicBezTo>
                    <a:pt x="120" y="350"/>
                    <a:pt x="120" y="350"/>
                    <a:pt x="120" y="350"/>
                  </a:cubicBezTo>
                  <a:cubicBezTo>
                    <a:pt x="96" y="406"/>
                    <a:pt x="96" y="406"/>
                    <a:pt x="96" y="406"/>
                  </a:cubicBezTo>
                  <a:cubicBezTo>
                    <a:pt x="180" y="442"/>
                    <a:pt x="180" y="442"/>
                    <a:pt x="180" y="442"/>
                  </a:cubicBezTo>
                  <a:cubicBezTo>
                    <a:pt x="205" y="386"/>
                    <a:pt x="205" y="386"/>
                    <a:pt x="205" y="386"/>
                  </a:cubicBezTo>
                  <a:cubicBezTo>
                    <a:pt x="284" y="376"/>
                    <a:pt x="284" y="376"/>
                    <a:pt x="284" y="376"/>
                  </a:cubicBezTo>
                  <a:cubicBezTo>
                    <a:pt x="320" y="425"/>
                    <a:pt x="320" y="425"/>
                    <a:pt x="320" y="425"/>
                  </a:cubicBezTo>
                  <a:cubicBezTo>
                    <a:pt x="394" y="370"/>
                    <a:pt x="394" y="370"/>
                    <a:pt x="394" y="370"/>
                  </a:cubicBezTo>
                  <a:cubicBezTo>
                    <a:pt x="357" y="321"/>
                    <a:pt x="357" y="321"/>
                    <a:pt x="357" y="321"/>
                  </a:cubicBezTo>
                  <a:cubicBezTo>
                    <a:pt x="389" y="248"/>
                    <a:pt x="389" y="248"/>
                    <a:pt x="389" y="248"/>
                  </a:cubicBezTo>
                  <a:lnTo>
                    <a:pt x="449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07A497BF-33B0-4054-AFD9-0ADC934294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8100" y="1638300"/>
              <a:ext cx="7627938" cy="7616825"/>
            </a:xfrm>
            <a:custGeom>
              <a:avLst/>
              <a:gdLst>
                <a:gd name="T0" fmla="*/ 337 w 675"/>
                <a:gd name="T1" fmla="*/ 485 h 674"/>
                <a:gd name="T2" fmla="*/ 189 w 675"/>
                <a:gd name="T3" fmla="*/ 337 h 674"/>
                <a:gd name="T4" fmla="*/ 337 w 675"/>
                <a:gd name="T5" fmla="*/ 189 h 674"/>
                <a:gd name="T6" fmla="*/ 486 w 675"/>
                <a:gd name="T7" fmla="*/ 337 h 674"/>
                <a:gd name="T8" fmla="*/ 337 w 675"/>
                <a:gd name="T9" fmla="*/ 485 h 674"/>
                <a:gd name="T10" fmla="*/ 571 w 675"/>
                <a:gd name="T11" fmla="*/ 479 h 674"/>
                <a:gd name="T12" fmla="*/ 602 w 675"/>
                <a:gd name="T13" fmla="*/ 401 h 674"/>
                <a:gd name="T14" fmla="*/ 675 w 675"/>
                <a:gd name="T15" fmla="*/ 395 h 674"/>
                <a:gd name="T16" fmla="*/ 675 w 675"/>
                <a:gd name="T17" fmla="*/ 279 h 674"/>
                <a:gd name="T18" fmla="*/ 602 w 675"/>
                <a:gd name="T19" fmla="*/ 272 h 674"/>
                <a:gd name="T20" fmla="*/ 571 w 675"/>
                <a:gd name="T21" fmla="*/ 195 h 674"/>
                <a:gd name="T22" fmla="*/ 617 w 675"/>
                <a:gd name="T23" fmla="*/ 139 h 674"/>
                <a:gd name="T24" fmla="*/ 535 w 675"/>
                <a:gd name="T25" fmla="*/ 57 h 674"/>
                <a:gd name="T26" fmla="*/ 479 w 675"/>
                <a:gd name="T27" fmla="*/ 104 h 674"/>
                <a:gd name="T28" fmla="*/ 402 w 675"/>
                <a:gd name="T29" fmla="*/ 72 h 674"/>
                <a:gd name="T30" fmla="*/ 395 w 675"/>
                <a:gd name="T31" fmla="*/ 0 h 674"/>
                <a:gd name="T32" fmla="*/ 279 w 675"/>
                <a:gd name="T33" fmla="*/ 0 h 674"/>
                <a:gd name="T34" fmla="*/ 273 w 675"/>
                <a:gd name="T35" fmla="*/ 72 h 674"/>
                <a:gd name="T36" fmla="*/ 195 w 675"/>
                <a:gd name="T37" fmla="*/ 103 h 674"/>
                <a:gd name="T38" fmla="*/ 140 w 675"/>
                <a:gd name="T39" fmla="*/ 57 h 674"/>
                <a:gd name="T40" fmla="*/ 58 w 675"/>
                <a:gd name="T41" fmla="*/ 139 h 674"/>
                <a:gd name="T42" fmla="*/ 104 w 675"/>
                <a:gd name="T43" fmla="*/ 195 h 674"/>
                <a:gd name="T44" fmla="*/ 72 w 675"/>
                <a:gd name="T45" fmla="*/ 272 h 674"/>
                <a:gd name="T46" fmla="*/ 0 w 675"/>
                <a:gd name="T47" fmla="*/ 279 h 674"/>
                <a:gd name="T48" fmla="*/ 0 w 675"/>
                <a:gd name="T49" fmla="*/ 395 h 674"/>
                <a:gd name="T50" fmla="*/ 72 w 675"/>
                <a:gd name="T51" fmla="*/ 401 h 674"/>
                <a:gd name="T52" fmla="*/ 104 w 675"/>
                <a:gd name="T53" fmla="*/ 479 h 674"/>
                <a:gd name="T54" fmla="*/ 58 w 675"/>
                <a:gd name="T55" fmla="*/ 534 h 674"/>
                <a:gd name="T56" fmla="*/ 140 w 675"/>
                <a:gd name="T57" fmla="*/ 616 h 674"/>
                <a:gd name="T58" fmla="*/ 195 w 675"/>
                <a:gd name="T59" fmla="*/ 570 h 674"/>
                <a:gd name="T60" fmla="*/ 273 w 675"/>
                <a:gd name="T61" fmla="*/ 602 h 674"/>
                <a:gd name="T62" fmla="*/ 279 w 675"/>
                <a:gd name="T63" fmla="*/ 674 h 674"/>
                <a:gd name="T64" fmla="*/ 395 w 675"/>
                <a:gd name="T65" fmla="*/ 674 h 674"/>
                <a:gd name="T66" fmla="*/ 402 w 675"/>
                <a:gd name="T67" fmla="*/ 602 h 674"/>
                <a:gd name="T68" fmla="*/ 479 w 675"/>
                <a:gd name="T69" fmla="*/ 570 h 674"/>
                <a:gd name="T70" fmla="*/ 535 w 675"/>
                <a:gd name="T71" fmla="*/ 616 h 674"/>
                <a:gd name="T72" fmla="*/ 617 w 675"/>
                <a:gd name="T73" fmla="*/ 534 h 674"/>
                <a:gd name="T74" fmla="*/ 571 w 675"/>
                <a:gd name="T75" fmla="*/ 479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5" h="674">
                  <a:moveTo>
                    <a:pt x="337" y="485"/>
                  </a:moveTo>
                  <a:cubicBezTo>
                    <a:pt x="255" y="485"/>
                    <a:pt x="189" y="419"/>
                    <a:pt x="189" y="337"/>
                  </a:cubicBezTo>
                  <a:cubicBezTo>
                    <a:pt x="189" y="255"/>
                    <a:pt x="255" y="189"/>
                    <a:pt x="337" y="189"/>
                  </a:cubicBezTo>
                  <a:cubicBezTo>
                    <a:pt x="419" y="189"/>
                    <a:pt x="486" y="255"/>
                    <a:pt x="486" y="337"/>
                  </a:cubicBezTo>
                  <a:cubicBezTo>
                    <a:pt x="486" y="419"/>
                    <a:pt x="419" y="485"/>
                    <a:pt x="337" y="485"/>
                  </a:cubicBezTo>
                  <a:close/>
                  <a:moveTo>
                    <a:pt x="571" y="479"/>
                  </a:moveTo>
                  <a:cubicBezTo>
                    <a:pt x="602" y="401"/>
                    <a:pt x="602" y="401"/>
                    <a:pt x="602" y="401"/>
                  </a:cubicBezTo>
                  <a:cubicBezTo>
                    <a:pt x="675" y="395"/>
                    <a:pt x="675" y="395"/>
                    <a:pt x="675" y="395"/>
                  </a:cubicBezTo>
                  <a:cubicBezTo>
                    <a:pt x="675" y="279"/>
                    <a:pt x="675" y="279"/>
                    <a:pt x="675" y="279"/>
                  </a:cubicBezTo>
                  <a:cubicBezTo>
                    <a:pt x="602" y="272"/>
                    <a:pt x="602" y="272"/>
                    <a:pt x="602" y="272"/>
                  </a:cubicBezTo>
                  <a:cubicBezTo>
                    <a:pt x="571" y="195"/>
                    <a:pt x="571" y="195"/>
                    <a:pt x="571" y="195"/>
                  </a:cubicBezTo>
                  <a:cubicBezTo>
                    <a:pt x="617" y="139"/>
                    <a:pt x="617" y="139"/>
                    <a:pt x="617" y="139"/>
                  </a:cubicBezTo>
                  <a:cubicBezTo>
                    <a:pt x="535" y="57"/>
                    <a:pt x="535" y="57"/>
                    <a:pt x="535" y="57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02" y="72"/>
                    <a:pt x="402" y="72"/>
                    <a:pt x="402" y="72"/>
                  </a:cubicBezTo>
                  <a:cubicBezTo>
                    <a:pt x="395" y="0"/>
                    <a:pt x="395" y="0"/>
                    <a:pt x="395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3" y="72"/>
                    <a:pt x="273" y="72"/>
                    <a:pt x="273" y="72"/>
                  </a:cubicBezTo>
                  <a:cubicBezTo>
                    <a:pt x="195" y="103"/>
                    <a:pt x="195" y="103"/>
                    <a:pt x="195" y="103"/>
                  </a:cubicBezTo>
                  <a:cubicBezTo>
                    <a:pt x="140" y="57"/>
                    <a:pt x="140" y="57"/>
                    <a:pt x="140" y="57"/>
                  </a:cubicBezTo>
                  <a:cubicBezTo>
                    <a:pt x="58" y="139"/>
                    <a:pt x="58" y="139"/>
                    <a:pt x="58" y="139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72" y="272"/>
                    <a:pt x="72" y="272"/>
                    <a:pt x="72" y="272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0" y="395"/>
                    <a:pt x="0" y="395"/>
                    <a:pt x="0" y="395"/>
                  </a:cubicBezTo>
                  <a:cubicBezTo>
                    <a:pt x="72" y="401"/>
                    <a:pt x="72" y="401"/>
                    <a:pt x="72" y="401"/>
                  </a:cubicBezTo>
                  <a:cubicBezTo>
                    <a:pt x="104" y="479"/>
                    <a:pt x="104" y="479"/>
                    <a:pt x="104" y="479"/>
                  </a:cubicBezTo>
                  <a:cubicBezTo>
                    <a:pt x="58" y="534"/>
                    <a:pt x="58" y="534"/>
                    <a:pt x="58" y="534"/>
                  </a:cubicBezTo>
                  <a:cubicBezTo>
                    <a:pt x="140" y="616"/>
                    <a:pt x="140" y="616"/>
                    <a:pt x="140" y="616"/>
                  </a:cubicBezTo>
                  <a:cubicBezTo>
                    <a:pt x="195" y="570"/>
                    <a:pt x="195" y="570"/>
                    <a:pt x="195" y="570"/>
                  </a:cubicBezTo>
                  <a:cubicBezTo>
                    <a:pt x="273" y="602"/>
                    <a:pt x="273" y="602"/>
                    <a:pt x="273" y="602"/>
                  </a:cubicBezTo>
                  <a:cubicBezTo>
                    <a:pt x="279" y="674"/>
                    <a:pt x="279" y="674"/>
                    <a:pt x="279" y="674"/>
                  </a:cubicBezTo>
                  <a:cubicBezTo>
                    <a:pt x="395" y="674"/>
                    <a:pt x="395" y="674"/>
                    <a:pt x="395" y="674"/>
                  </a:cubicBezTo>
                  <a:cubicBezTo>
                    <a:pt x="402" y="602"/>
                    <a:pt x="402" y="602"/>
                    <a:pt x="402" y="602"/>
                  </a:cubicBezTo>
                  <a:cubicBezTo>
                    <a:pt x="479" y="570"/>
                    <a:pt x="479" y="570"/>
                    <a:pt x="479" y="570"/>
                  </a:cubicBezTo>
                  <a:cubicBezTo>
                    <a:pt x="535" y="616"/>
                    <a:pt x="535" y="616"/>
                    <a:pt x="535" y="616"/>
                  </a:cubicBezTo>
                  <a:cubicBezTo>
                    <a:pt x="617" y="534"/>
                    <a:pt x="617" y="534"/>
                    <a:pt x="617" y="534"/>
                  </a:cubicBezTo>
                  <a:lnTo>
                    <a:pt x="571" y="4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746B6AFD-0F68-42B6-B3E2-8AAFF7056BC1}"/>
              </a:ext>
            </a:extLst>
          </p:cNvPr>
          <p:cNvGrpSpPr/>
          <p:nvPr userDrawn="1"/>
        </p:nvGrpSpPr>
        <p:grpSpPr>
          <a:xfrm>
            <a:off x="11217797" y="1860685"/>
            <a:ext cx="192111" cy="290045"/>
            <a:chOff x="-3947158" y="1719597"/>
            <a:chExt cx="3385092" cy="5109416"/>
          </a:xfrm>
          <a:solidFill>
            <a:schemeClr val="bg1">
              <a:alpha val="80000"/>
            </a:schemeClr>
          </a:solidFill>
        </p:grpSpPr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E78D383C-663D-4FC7-9F31-AD8AFEFEF89F}"/>
                </a:ext>
              </a:extLst>
            </p:cNvPr>
            <p:cNvSpPr/>
            <p:nvPr/>
          </p:nvSpPr>
          <p:spPr>
            <a:xfrm>
              <a:off x="-3624517" y="2322583"/>
              <a:ext cx="3062451" cy="218046"/>
            </a:xfrm>
            <a:prstGeom prst="rect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489569F0-B30F-4BCF-8838-654B35D02D17}"/>
                </a:ext>
              </a:extLst>
            </p:cNvPr>
            <p:cNvSpPr/>
            <p:nvPr/>
          </p:nvSpPr>
          <p:spPr>
            <a:xfrm>
              <a:off x="-3947158" y="3738067"/>
              <a:ext cx="1988090" cy="3089947"/>
            </a:xfrm>
            <a:custGeom>
              <a:avLst/>
              <a:gdLst>
                <a:gd name="connsiteX0" fmla="*/ 1536585 w 1988090"/>
                <a:gd name="connsiteY0" fmla="*/ 279 h 3089947"/>
                <a:gd name="connsiteX1" fmla="*/ 1493799 w 1988090"/>
                <a:gd name="connsiteY1" fmla="*/ 6084 h 3089947"/>
                <a:gd name="connsiteX2" fmla="*/ 994045 w 1988090"/>
                <a:gd name="connsiteY2" fmla="*/ 201257 h 3089947"/>
                <a:gd name="connsiteX3" fmla="*/ 494330 w 1988090"/>
                <a:gd name="connsiteY3" fmla="*/ 6122 h 3089947"/>
                <a:gd name="connsiteX4" fmla="*/ 451390 w 1988090"/>
                <a:gd name="connsiteY4" fmla="*/ 317 h 3089947"/>
                <a:gd name="connsiteX5" fmla="*/ 362549 w 1988090"/>
                <a:gd name="connsiteY5" fmla="*/ 12004 h 3089947"/>
                <a:gd name="connsiteX6" fmla="*/ 126819 w 1988090"/>
                <a:gd name="connsiteY6" fmla="*/ 305590 h 3089947"/>
                <a:gd name="connsiteX7" fmla="*/ 36 w 1988090"/>
                <a:gd name="connsiteY7" fmla="*/ 1551706 h 3089947"/>
                <a:gd name="connsiteX8" fmla="*/ 56470 w 1988090"/>
                <a:gd name="connsiteY8" fmla="*/ 1695481 h 3089947"/>
                <a:gd name="connsiteX9" fmla="*/ 198053 w 1988090"/>
                <a:gd name="connsiteY9" fmla="*/ 1757220 h 3089947"/>
                <a:gd name="connsiteX10" fmla="*/ 199975 w 1988090"/>
                <a:gd name="connsiteY10" fmla="*/ 1757258 h 3089947"/>
                <a:gd name="connsiteX11" fmla="*/ 201898 w 1988090"/>
                <a:gd name="connsiteY11" fmla="*/ 1757258 h 3089947"/>
                <a:gd name="connsiteX12" fmla="*/ 290969 w 1988090"/>
                <a:gd name="connsiteY12" fmla="*/ 1736154 h 3089947"/>
                <a:gd name="connsiteX13" fmla="*/ 359743 w 1988090"/>
                <a:gd name="connsiteY13" fmla="*/ 1679873 h 3089947"/>
                <a:gd name="connsiteX14" fmla="*/ 359743 w 1988090"/>
                <a:gd name="connsiteY14" fmla="*/ 2240751 h 3089947"/>
                <a:gd name="connsiteX15" fmla="*/ 359743 w 1988090"/>
                <a:gd name="connsiteY15" fmla="*/ 2801628 h 3089947"/>
                <a:gd name="connsiteX16" fmla="*/ 444201 w 1988090"/>
                <a:gd name="connsiteY16" fmla="*/ 3005489 h 3089947"/>
                <a:gd name="connsiteX17" fmla="*/ 648062 w 1988090"/>
                <a:gd name="connsiteY17" fmla="*/ 3089947 h 3089947"/>
                <a:gd name="connsiteX18" fmla="*/ 851923 w 1988090"/>
                <a:gd name="connsiteY18" fmla="*/ 3005489 h 3089947"/>
                <a:gd name="connsiteX19" fmla="*/ 936382 w 1988090"/>
                <a:gd name="connsiteY19" fmla="*/ 2801628 h 3089947"/>
                <a:gd name="connsiteX20" fmla="*/ 936382 w 1988090"/>
                <a:gd name="connsiteY20" fmla="*/ 2340317 h 3089947"/>
                <a:gd name="connsiteX21" fmla="*/ 936382 w 1988090"/>
                <a:gd name="connsiteY21" fmla="*/ 1879006 h 3089947"/>
                <a:gd name="connsiteX22" fmla="*/ 994045 w 1988090"/>
                <a:gd name="connsiteY22" fmla="*/ 1879006 h 3089947"/>
                <a:gd name="connsiteX23" fmla="*/ 1051709 w 1988090"/>
                <a:gd name="connsiteY23" fmla="*/ 1879006 h 3089947"/>
                <a:gd name="connsiteX24" fmla="*/ 1051709 w 1988090"/>
                <a:gd name="connsiteY24" fmla="*/ 2340317 h 3089947"/>
                <a:gd name="connsiteX25" fmla="*/ 1051709 w 1988090"/>
                <a:gd name="connsiteY25" fmla="*/ 2801628 h 3089947"/>
                <a:gd name="connsiteX26" fmla="*/ 1136167 w 1988090"/>
                <a:gd name="connsiteY26" fmla="*/ 3005489 h 3089947"/>
                <a:gd name="connsiteX27" fmla="*/ 1340029 w 1988090"/>
                <a:gd name="connsiteY27" fmla="*/ 3089947 h 3089947"/>
                <a:gd name="connsiteX28" fmla="*/ 1543889 w 1988090"/>
                <a:gd name="connsiteY28" fmla="*/ 3005489 h 3089947"/>
                <a:gd name="connsiteX29" fmla="*/ 1628348 w 1988090"/>
                <a:gd name="connsiteY29" fmla="*/ 2801628 h 3089947"/>
                <a:gd name="connsiteX30" fmla="*/ 1628348 w 1988090"/>
                <a:gd name="connsiteY30" fmla="*/ 2263432 h 3089947"/>
                <a:gd name="connsiteX31" fmla="*/ 1628348 w 1988090"/>
                <a:gd name="connsiteY31" fmla="*/ 1725313 h 3089947"/>
                <a:gd name="connsiteX32" fmla="*/ 1628348 w 1988090"/>
                <a:gd name="connsiteY32" fmla="*/ 1725236 h 3089947"/>
                <a:gd name="connsiteX33" fmla="*/ 1628348 w 1988090"/>
                <a:gd name="connsiteY33" fmla="*/ 1725159 h 3089947"/>
                <a:gd name="connsiteX34" fmla="*/ 1628348 w 1988090"/>
                <a:gd name="connsiteY34" fmla="*/ 1702478 h 3089947"/>
                <a:gd name="connsiteX35" fmla="*/ 1628348 w 1988090"/>
                <a:gd name="connsiteY35" fmla="*/ 1679797 h 3089947"/>
                <a:gd name="connsiteX36" fmla="*/ 1697122 w 1988090"/>
                <a:gd name="connsiteY36" fmla="*/ 1736115 h 3089947"/>
                <a:gd name="connsiteX37" fmla="*/ 1786193 w 1988090"/>
                <a:gd name="connsiteY37" fmla="*/ 1757220 h 3089947"/>
                <a:gd name="connsiteX38" fmla="*/ 1788115 w 1988090"/>
                <a:gd name="connsiteY38" fmla="*/ 1757220 h 3089947"/>
                <a:gd name="connsiteX39" fmla="*/ 1790037 w 1988090"/>
                <a:gd name="connsiteY39" fmla="*/ 1757182 h 3089947"/>
                <a:gd name="connsiteX40" fmla="*/ 1931621 w 1988090"/>
                <a:gd name="connsiteY40" fmla="*/ 1695443 h 3089947"/>
                <a:gd name="connsiteX41" fmla="*/ 1988055 w 1988090"/>
                <a:gd name="connsiteY41" fmla="*/ 1551668 h 3089947"/>
                <a:gd name="connsiteX42" fmla="*/ 1861233 w 1988090"/>
                <a:gd name="connsiteY42" fmla="*/ 305552 h 3089947"/>
                <a:gd name="connsiteX43" fmla="*/ 1625465 w 1988090"/>
                <a:gd name="connsiteY43" fmla="*/ 11966 h 3089947"/>
                <a:gd name="connsiteX44" fmla="*/ 1536585 w 1988090"/>
                <a:gd name="connsiteY44" fmla="*/ 279 h 308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988090" h="3089947">
                  <a:moveTo>
                    <a:pt x="1536585" y="279"/>
                  </a:moveTo>
                  <a:cubicBezTo>
                    <a:pt x="1521939" y="971"/>
                    <a:pt x="1507676" y="3008"/>
                    <a:pt x="1493799" y="6084"/>
                  </a:cubicBezTo>
                  <a:cubicBezTo>
                    <a:pt x="1361787" y="126870"/>
                    <a:pt x="1186643" y="201257"/>
                    <a:pt x="994045" y="201257"/>
                  </a:cubicBezTo>
                  <a:cubicBezTo>
                    <a:pt x="801448" y="201257"/>
                    <a:pt x="626342" y="126870"/>
                    <a:pt x="494330" y="6122"/>
                  </a:cubicBezTo>
                  <a:cubicBezTo>
                    <a:pt x="480414" y="3047"/>
                    <a:pt x="466075" y="1009"/>
                    <a:pt x="451390" y="317"/>
                  </a:cubicBezTo>
                  <a:cubicBezTo>
                    <a:pt x="422827" y="-1028"/>
                    <a:pt x="392996" y="2432"/>
                    <a:pt x="362549" y="12004"/>
                  </a:cubicBezTo>
                  <a:cubicBezTo>
                    <a:pt x="277591" y="38683"/>
                    <a:pt x="193133" y="92772"/>
                    <a:pt x="126819" y="305590"/>
                  </a:cubicBezTo>
                  <a:cubicBezTo>
                    <a:pt x="60506" y="518408"/>
                    <a:pt x="12337" y="889994"/>
                    <a:pt x="36" y="1551706"/>
                  </a:cubicBezTo>
                  <a:cubicBezTo>
                    <a:pt x="-1002" y="1607409"/>
                    <a:pt x="20641" y="1658308"/>
                    <a:pt x="56470" y="1695481"/>
                  </a:cubicBezTo>
                  <a:cubicBezTo>
                    <a:pt x="92298" y="1732655"/>
                    <a:pt x="142312" y="1756221"/>
                    <a:pt x="198053" y="1757220"/>
                  </a:cubicBezTo>
                  <a:cubicBezTo>
                    <a:pt x="198707" y="1757220"/>
                    <a:pt x="199322" y="1757220"/>
                    <a:pt x="199975" y="1757258"/>
                  </a:cubicBezTo>
                  <a:cubicBezTo>
                    <a:pt x="200629" y="1757297"/>
                    <a:pt x="201244" y="1757258"/>
                    <a:pt x="201898" y="1757258"/>
                  </a:cubicBezTo>
                  <a:cubicBezTo>
                    <a:pt x="233920" y="1757258"/>
                    <a:pt x="264136" y="1749647"/>
                    <a:pt x="290969" y="1736154"/>
                  </a:cubicBezTo>
                  <a:cubicBezTo>
                    <a:pt x="317802" y="1722660"/>
                    <a:pt x="341214" y="1703323"/>
                    <a:pt x="359743" y="1679873"/>
                  </a:cubicBezTo>
                  <a:lnTo>
                    <a:pt x="359743" y="2240751"/>
                  </a:lnTo>
                  <a:lnTo>
                    <a:pt x="359743" y="2801628"/>
                  </a:lnTo>
                  <a:cubicBezTo>
                    <a:pt x="359743" y="2881243"/>
                    <a:pt x="391996" y="2953323"/>
                    <a:pt x="444201" y="3005489"/>
                  </a:cubicBezTo>
                  <a:cubicBezTo>
                    <a:pt x="496406" y="3057656"/>
                    <a:pt x="568447" y="3089947"/>
                    <a:pt x="648062" y="3089947"/>
                  </a:cubicBezTo>
                  <a:cubicBezTo>
                    <a:pt x="727677" y="3089947"/>
                    <a:pt x="799757" y="3057694"/>
                    <a:pt x="851923" y="3005489"/>
                  </a:cubicBezTo>
                  <a:cubicBezTo>
                    <a:pt x="904090" y="2953284"/>
                    <a:pt x="936382" y="2881243"/>
                    <a:pt x="936382" y="2801628"/>
                  </a:cubicBezTo>
                  <a:lnTo>
                    <a:pt x="936382" y="2340317"/>
                  </a:lnTo>
                  <a:lnTo>
                    <a:pt x="936382" y="1879006"/>
                  </a:lnTo>
                  <a:lnTo>
                    <a:pt x="994045" y="1879006"/>
                  </a:lnTo>
                  <a:lnTo>
                    <a:pt x="1051709" y="1879006"/>
                  </a:lnTo>
                  <a:lnTo>
                    <a:pt x="1051709" y="2340317"/>
                  </a:lnTo>
                  <a:lnTo>
                    <a:pt x="1051709" y="2801628"/>
                  </a:lnTo>
                  <a:cubicBezTo>
                    <a:pt x="1051709" y="2881243"/>
                    <a:pt x="1083962" y="2953323"/>
                    <a:pt x="1136167" y="3005489"/>
                  </a:cubicBezTo>
                  <a:cubicBezTo>
                    <a:pt x="1188372" y="3057656"/>
                    <a:pt x="1260414" y="3089947"/>
                    <a:pt x="1340029" y="3089947"/>
                  </a:cubicBezTo>
                  <a:cubicBezTo>
                    <a:pt x="1419643" y="3089947"/>
                    <a:pt x="1491723" y="3057694"/>
                    <a:pt x="1543889" y="3005489"/>
                  </a:cubicBezTo>
                  <a:cubicBezTo>
                    <a:pt x="1596056" y="2953284"/>
                    <a:pt x="1628348" y="2881243"/>
                    <a:pt x="1628348" y="2801628"/>
                  </a:cubicBezTo>
                  <a:lnTo>
                    <a:pt x="1628348" y="2263432"/>
                  </a:lnTo>
                  <a:lnTo>
                    <a:pt x="1628348" y="1725313"/>
                  </a:lnTo>
                  <a:cubicBezTo>
                    <a:pt x="1628348" y="1725274"/>
                    <a:pt x="1628348" y="1725274"/>
                    <a:pt x="1628348" y="1725236"/>
                  </a:cubicBezTo>
                  <a:cubicBezTo>
                    <a:pt x="1628348" y="1725197"/>
                    <a:pt x="1628348" y="1725197"/>
                    <a:pt x="1628348" y="1725159"/>
                  </a:cubicBezTo>
                  <a:lnTo>
                    <a:pt x="1628348" y="1702478"/>
                  </a:lnTo>
                  <a:lnTo>
                    <a:pt x="1628348" y="1679797"/>
                  </a:lnTo>
                  <a:cubicBezTo>
                    <a:pt x="1646839" y="1703247"/>
                    <a:pt x="1670289" y="1722622"/>
                    <a:pt x="1697122" y="1736115"/>
                  </a:cubicBezTo>
                  <a:cubicBezTo>
                    <a:pt x="1723955" y="1749609"/>
                    <a:pt x="1754170" y="1757220"/>
                    <a:pt x="1786193" y="1757220"/>
                  </a:cubicBezTo>
                  <a:cubicBezTo>
                    <a:pt x="1786847" y="1757220"/>
                    <a:pt x="1787461" y="1757220"/>
                    <a:pt x="1788115" y="1757220"/>
                  </a:cubicBezTo>
                  <a:cubicBezTo>
                    <a:pt x="1788769" y="1757220"/>
                    <a:pt x="1789384" y="1757220"/>
                    <a:pt x="1790037" y="1757182"/>
                  </a:cubicBezTo>
                  <a:cubicBezTo>
                    <a:pt x="1845779" y="1756144"/>
                    <a:pt x="1895793" y="1732617"/>
                    <a:pt x="1931621" y="1695443"/>
                  </a:cubicBezTo>
                  <a:cubicBezTo>
                    <a:pt x="1967450" y="1658269"/>
                    <a:pt x="1989093" y="1607371"/>
                    <a:pt x="1988055" y="1551668"/>
                  </a:cubicBezTo>
                  <a:cubicBezTo>
                    <a:pt x="1975715" y="889955"/>
                    <a:pt x="1927585" y="518370"/>
                    <a:pt x="1861233" y="305552"/>
                  </a:cubicBezTo>
                  <a:cubicBezTo>
                    <a:pt x="1794881" y="92733"/>
                    <a:pt x="1710423" y="38683"/>
                    <a:pt x="1625465" y="11966"/>
                  </a:cubicBezTo>
                  <a:cubicBezTo>
                    <a:pt x="1594980" y="2393"/>
                    <a:pt x="1565148" y="-1066"/>
                    <a:pt x="1536585" y="27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9490A778-D774-4AAC-9976-3E549746FC85}"/>
                </a:ext>
              </a:extLst>
            </p:cNvPr>
            <p:cNvSpPr/>
            <p:nvPr/>
          </p:nvSpPr>
          <p:spPr>
            <a:xfrm>
              <a:off x="-3541246" y="2609288"/>
              <a:ext cx="1176265" cy="1176265"/>
            </a:xfrm>
            <a:custGeom>
              <a:avLst/>
              <a:gdLst>
                <a:gd name="connsiteX0" fmla="*/ 1176266 w 1176265"/>
                <a:gd name="connsiteY0" fmla="*/ 588133 h 1176265"/>
                <a:gd name="connsiteX1" fmla="*/ 588133 w 1176265"/>
                <a:gd name="connsiteY1" fmla="*/ 1176266 h 1176265"/>
                <a:gd name="connsiteX2" fmla="*/ 0 w 1176265"/>
                <a:gd name="connsiteY2" fmla="*/ 588133 h 1176265"/>
                <a:gd name="connsiteX3" fmla="*/ 588133 w 1176265"/>
                <a:gd name="connsiteY3" fmla="*/ 0 h 1176265"/>
                <a:gd name="connsiteX4" fmla="*/ 1176266 w 1176265"/>
                <a:gd name="connsiteY4" fmla="*/ 588133 h 117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6265" h="1176265">
                  <a:moveTo>
                    <a:pt x="1176266" y="588133"/>
                  </a:moveTo>
                  <a:cubicBezTo>
                    <a:pt x="1176266" y="912950"/>
                    <a:pt x="912950" y="1176266"/>
                    <a:pt x="588133" y="1176266"/>
                  </a:cubicBezTo>
                  <a:cubicBezTo>
                    <a:pt x="263316" y="1176266"/>
                    <a:pt x="0" y="912950"/>
                    <a:pt x="0" y="588133"/>
                  </a:cubicBezTo>
                  <a:cubicBezTo>
                    <a:pt x="0" y="263316"/>
                    <a:pt x="263316" y="0"/>
                    <a:pt x="588133" y="0"/>
                  </a:cubicBezTo>
                  <a:cubicBezTo>
                    <a:pt x="912950" y="0"/>
                    <a:pt x="1176266" y="263316"/>
                    <a:pt x="1176266" y="5881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8F7F4555-DF1F-429F-A28A-EFF837308C61}"/>
                </a:ext>
              </a:extLst>
            </p:cNvPr>
            <p:cNvSpPr/>
            <p:nvPr/>
          </p:nvSpPr>
          <p:spPr>
            <a:xfrm>
              <a:off x="-1697617" y="2605328"/>
              <a:ext cx="956528" cy="4223685"/>
            </a:xfrm>
            <a:custGeom>
              <a:avLst/>
              <a:gdLst>
                <a:gd name="connsiteX0" fmla="*/ 956528 w 956528"/>
                <a:gd name="connsiteY0" fmla="*/ 4223686 h 4223685"/>
                <a:gd name="connsiteX1" fmla="*/ 956528 w 956528"/>
                <a:gd name="connsiteY1" fmla="*/ 0 h 4223685"/>
                <a:gd name="connsiteX2" fmla="*/ 900248 w 956528"/>
                <a:gd name="connsiteY2" fmla="*/ 0 h 4223685"/>
                <a:gd name="connsiteX3" fmla="*/ 900248 w 956528"/>
                <a:gd name="connsiteY3" fmla="*/ 4167445 h 4223685"/>
                <a:gd name="connsiteX4" fmla="*/ 56280 w 956528"/>
                <a:gd name="connsiteY4" fmla="*/ 4167445 h 4223685"/>
                <a:gd name="connsiteX5" fmla="*/ 56280 w 956528"/>
                <a:gd name="connsiteY5" fmla="*/ 3998643 h 4223685"/>
                <a:gd name="connsiteX6" fmla="*/ 337603 w 956528"/>
                <a:gd name="connsiteY6" fmla="*/ 3998643 h 4223685"/>
                <a:gd name="connsiteX7" fmla="*/ 337603 w 956528"/>
                <a:gd name="connsiteY7" fmla="*/ 3942363 h 4223685"/>
                <a:gd name="connsiteX8" fmla="*/ 56280 w 956528"/>
                <a:gd name="connsiteY8" fmla="*/ 3942363 h 4223685"/>
                <a:gd name="connsiteX9" fmla="*/ 56280 w 956528"/>
                <a:gd name="connsiteY9" fmla="*/ 3773562 h 4223685"/>
                <a:gd name="connsiteX10" fmla="*/ 337603 w 956528"/>
                <a:gd name="connsiteY10" fmla="*/ 3773562 h 4223685"/>
                <a:gd name="connsiteX11" fmla="*/ 337603 w 956528"/>
                <a:gd name="connsiteY11" fmla="*/ 3717321 h 4223685"/>
                <a:gd name="connsiteX12" fmla="*/ 56280 w 956528"/>
                <a:gd name="connsiteY12" fmla="*/ 3717321 h 4223685"/>
                <a:gd name="connsiteX13" fmla="*/ 56280 w 956528"/>
                <a:gd name="connsiteY13" fmla="*/ 3548519 h 4223685"/>
                <a:gd name="connsiteX14" fmla="*/ 337603 w 956528"/>
                <a:gd name="connsiteY14" fmla="*/ 3548519 h 4223685"/>
                <a:gd name="connsiteX15" fmla="*/ 337603 w 956528"/>
                <a:gd name="connsiteY15" fmla="*/ 3492239 h 4223685"/>
                <a:gd name="connsiteX16" fmla="*/ 56280 w 956528"/>
                <a:gd name="connsiteY16" fmla="*/ 3492239 h 4223685"/>
                <a:gd name="connsiteX17" fmla="*/ 56280 w 956528"/>
                <a:gd name="connsiteY17" fmla="*/ 3323438 h 4223685"/>
                <a:gd name="connsiteX18" fmla="*/ 675205 w 956528"/>
                <a:gd name="connsiteY18" fmla="*/ 3323438 h 4223685"/>
                <a:gd name="connsiteX19" fmla="*/ 675205 w 956528"/>
                <a:gd name="connsiteY19" fmla="*/ 3267158 h 4223685"/>
                <a:gd name="connsiteX20" fmla="*/ 56280 w 956528"/>
                <a:gd name="connsiteY20" fmla="*/ 3267158 h 4223685"/>
                <a:gd name="connsiteX21" fmla="*/ 56280 w 956528"/>
                <a:gd name="connsiteY21" fmla="*/ 3098395 h 4223685"/>
                <a:gd name="connsiteX22" fmla="*/ 337603 w 956528"/>
                <a:gd name="connsiteY22" fmla="*/ 3098395 h 4223685"/>
                <a:gd name="connsiteX23" fmla="*/ 337603 w 956528"/>
                <a:gd name="connsiteY23" fmla="*/ 3042115 h 4223685"/>
                <a:gd name="connsiteX24" fmla="*/ 56280 w 956528"/>
                <a:gd name="connsiteY24" fmla="*/ 3042115 h 4223685"/>
                <a:gd name="connsiteX25" fmla="*/ 56280 w 956528"/>
                <a:gd name="connsiteY25" fmla="*/ 2873314 h 4223685"/>
                <a:gd name="connsiteX26" fmla="*/ 337603 w 956528"/>
                <a:gd name="connsiteY26" fmla="*/ 2873314 h 4223685"/>
                <a:gd name="connsiteX27" fmla="*/ 337603 w 956528"/>
                <a:gd name="connsiteY27" fmla="*/ 2817034 h 4223685"/>
                <a:gd name="connsiteX28" fmla="*/ 56280 w 956528"/>
                <a:gd name="connsiteY28" fmla="*/ 2817034 h 4223685"/>
                <a:gd name="connsiteX29" fmla="*/ 56280 w 956528"/>
                <a:gd name="connsiteY29" fmla="*/ 2648233 h 4223685"/>
                <a:gd name="connsiteX30" fmla="*/ 337603 w 956528"/>
                <a:gd name="connsiteY30" fmla="*/ 2648233 h 4223685"/>
                <a:gd name="connsiteX31" fmla="*/ 337603 w 956528"/>
                <a:gd name="connsiteY31" fmla="*/ 2591991 h 4223685"/>
                <a:gd name="connsiteX32" fmla="*/ 56280 w 956528"/>
                <a:gd name="connsiteY32" fmla="*/ 2591991 h 4223685"/>
                <a:gd name="connsiteX33" fmla="*/ 56280 w 956528"/>
                <a:gd name="connsiteY33" fmla="*/ 2423190 h 4223685"/>
                <a:gd name="connsiteX34" fmla="*/ 675205 w 956528"/>
                <a:gd name="connsiteY34" fmla="*/ 2423190 h 4223685"/>
                <a:gd name="connsiteX35" fmla="*/ 675205 w 956528"/>
                <a:gd name="connsiteY35" fmla="*/ 2366909 h 4223685"/>
                <a:gd name="connsiteX36" fmla="*/ 56280 w 956528"/>
                <a:gd name="connsiteY36" fmla="*/ 2366909 h 4223685"/>
                <a:gd name="connsiteX37" fmla="*/ 56280 w 956528"/>
                <a:gd name="connsiteY37" fmla="*/ 2198108 h 4223685"/>
                <a:gd name="connsiteX38" fmla="*/ 337603 w 956528"/>
                <a:gd name="connsiteY38" fmla="*/ 2198108 h 4223685"/>
                <a:gd name="connsiteX39" fmla="*/ 337603 w 956528"/>
                <a:gd name="connsiteY39" fmla="*/ 2141867 h 4223685"/>
                <a:gd name="connsiteX40" fmla="*/ 56280 w 956528"/>
                <a:gd name="connsiteY40" fmla="*/ 2141867 h 4223685"/>
                <a:gd name="connsiteX41" fmla="*/ 56280 w 956528"/>
                <a:gd name="connsiteY41" fmla="*/ 1973065 h 4223685"/>
                <a:gd name="connsiteX42" fmla="*/ 337603 w 956528"/>
                <a:gd name="connsiteY42" fmla="*/ 1973065 h 4223685"/>
                <a:gd name="connsiteX43" fmla="*/ 337603 w 956528"/>
                <a:gd name="connsiteY43" fmla="*/ 1916785 h 4223685"/>
                <a:gd name="connsiteX44" fmla="*/ 56280 w 956528"/>
                <a:gd name="connsiteY44" fmla="*/ 1916785 h 4223685"/>
                <a:gd name="connsiteX45" fmla="*/ 56280 w 956528"/>
                <a:gd name="connsiteY45" fmla="*/ 1747984 h 4223685"/>
                <a:gd name="connsiteX46" fmla="*/ 337603 w 956528"/>
                <a:gd name="connsiteY46" fmla="*/ 1747984 h 4223685"/>
                <a:gd name="connsiteX47" fmla="*/ 337603 w 956528"/>
                <a:gd name="connsiteY47" fmla="*/ 1691704 h 4223685"/>
                <a:gd name="connsiteX48" fmla="*/ 56280 w 956528"/>
                <a:gd name="connsiteY48" fmla="*/ 1691704 h 4223685"/>
                <a:gd name="connsiteX49" fmla="*/ 56280 w 956528"/>
                <a:gd name="connsiteY49" fmla="*/ 1522941 h 4223685"/>
                <a:gd name="connsiteX50" fmla="*/ 675205 w 956528"/>
                <a:gd name="connsiteY50" fmla="*/ 1522941 h 4223685"/>
                <a:gd name="connsiteX51" fmla="*/ 675205 w 956528"/>
                <a:gd name="connsiteY51" fmla="*/ 1466661 h 4223685"/>
                <a:gd name="connsiteX52" fmla="*/ 56280 w 956528"/>
                <a:gd name="connsiteY52" fmla="*/ 1466661 h 4223685"/>
                <a:gd name="connsiteX53" fmla="*/ 56280 w 956528"/>
                <a:gd name="connsiteY53" fmla="*/ 1297860 h 4223685"/>
                <a:gd name="connsiteX54" fmla="*/ 337603 w 956528"/>
                <a:gd name="connsiteY54" fmla="*/ 1297860 h 4223685"/>
                <a:gd name="connsiteX55" fmla="*/ 337603 w 956528"/>
                <a:gd name="connsiteY55" fmla="*/ 1241580 h 4223685"/>
                <a:gd name="connsiteX56" fmla="*/ 56280 w 956528"/>
                <a:gd name="connsiteY56" fmla="*/ 1241580 h 4223685"/>
                <a:gd name="connsiteX57" fmla="*/ 56280 w 956528"/>
                <a:gd name="connsiteY57" fmla="*/ 1072779 h 4223685"/>
                <a:gd name="connsiteX58" fmla="*/ 337603 w 956528"/>
                <a:gd name="connsiteY58" fmla="*/ 1072779 h 4223685"/>
                <a:gd name="connsiteX59" fmla="*/ 337603 w 956528"/>
                <a:gd name="connsiteY59" fmla="*/ 1016537 h 4223685"/>
                <a:gd name="connsiteX60" fmla="*/ 56280 w 956528"/>
                <a:gd name="connsiteY60" fmla="*/ 1016537 h 4223685"/>
                <a:gd name="connsiteX61" fmla="*/ 56280 w 956528"/>
                <a:gd name="connsiteY61" fmla="*/ 847736 h 4223685"/>
                <a:gd name="connsiteX62" fmla="*/ 337603 w 956528"/>
                <a:gd name="connsiteY62" fmla="*/ 847736 h 4223685"/>
                <a:gd name="connsiteX63" fmla="*/ 337603 w 956528"/>
                <a:gd name="connsiteY63" fmla="*/ 791456 h 4223685"/>
                <a:gd name="connsiteX64" fmla="*/ 56280 w 956528"/>
                <a:gd name="connsiteY64" fmla="*/ 791456 h 4223685"/>
                <a:gd name="connsiteX65" fmla="*/ 56280 w 956528"/>
                <a:gd name="connsiteY65" fmla="*/ 622654 h 4223685"/>
                <a:gd name="connsiteX66" fmla="*/ 675205 w 956528"/>
                <a:gd name="connsiteY66" fmla="*/ 622654 h 4223685"/>
                <a:gd name="connsiteX67" fmla="*/ 675205 w 956528"/>
                <a:gd name="connsiteY67" fmla="*/ 566413 h 4223685"/>
                <a:gd name="connsiteX68" fmla="*/ 56280 w 956528"/>
                <a:gd name="connsiteY68" fmla="*/ 566413 h 4223685"/>
                <a:gd name="connsiteX69" fmla="*/ 56280 w 956528"/>
                <a:gd name="connsiteY69" fmla="*/ 397612 h 4223685"/>
                <a:gd name="connsiteX70" fmla="*/ 337603 w 956528"/>
                <a:gd name="connsiteY70" fmla="*/ 397612 h 4223685"/>
                <a:gd name="connsiteX71" fmla="*/ 337603 w 956528"/>
                <a:gd name="connsiteY71" fmla="*/ 341332 h 4223685"/>
                <a:gd name="connsiteX72" fmla="*/ 56280 w 956528"/>
                <a:gd name="connsiteY72" fmla="*/ 341332 h 4223685"/>
                <a:gd name="connsiteX73" fmla="*/ 56280 w 956528"/>
                <a:gd name="connsiteY73" fmla="*/ 172530 h 4223685"/>
                <a:gd name="connsiteX74" fmla="*/ 337603 w 956528"/>
                <a:gd name="connsiteY74" fmla="*/ 172530 h 4223685"/>
                <a:gd name="connsiteX75" fmla="*/ 337603 w 956528"/>
                <a:gd name="connsiteY75" fmla="*/ 116250 h 4223685"/>
                <a:gd name="connsiteX76" fmla="*/ 56280 w 956528"/>
                <a:gd name="connsiteY76" fmla="*/ 116250 h 4223685"/>
                <a:gd name="connsiteX77" fmla="*/ 56280 w 956528"/>
                <a:gd name="connsiteY77" fmla="*/ 0 h 4223685"/>
                <a:gd name="connsiteX78" fmla="*/ 0 w 956528"/>
                <a:gd name="connsiteY78" fmla="*/ 0 h 4223685"/>
                <a:gd name="connsiteX79" fmla="*/ 0 w 956528"/>
                <a:gd name="connsiteY79" fmla="*/ 4223686 h 4223685"/>
                <a:gd name="connsiteX80" fmla="*/ 56280 w 956528"/>
                <a:gd name="connsiteY80" fmla="*/ 4223686 h 4223685"/>
                <a:gd name="connsiteX81" fmla="*/ 900248 w 956528"/>
                <a:gd name="connsiteY81" fmla="*/ 4223686 h 422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956528" h="4223685">
                  <a:moveTo>
                    <a:pt x="956528" y="4223686"/>
                  </a:moveTo>
                  <a:lnTo>
                    <a:pt x="956528" y="0"/>
                  </a:lnTo>
                  <a:lnTo>
                    <a:pt x="900248" y="0"/>
                  </a:lnTo>
                  <a:lnTo>
                    <a:pt x="900248" y="4167445"/>
                  </a:lnTo>
                  <a:lnTo>
                    <a:pt x="56280" y="4167445"/>
                  </a:lnTo>
                  <a:lnTo>
                    <a:pt x="56280" y="3998643"/>
                  </a:lnTo>
                  <a:lnTo>
                    <a:pt x="337603" y="3998643"/>
                  </a:lnTo>
                  <a:lnTo>
                    <a:pt x="337603" y="3942363"/>
                  </a:lnTo>
                  <a:lnTo>
                    <a:pt x="56280" y="3942363"/>
                  </a:lnTo>
                  <a:lnTo>
                    <a:pt x="56280" y="3773562"/>
                  </a:lnTo>
                  <a:lnTo>
                    <a:pt x="337603" y="3773562"/>
                  </a:lnTo>
                  <a:lnTo>
                    <a:pt x="337603" y="3717321"/>
                  </a:lnTo>
                  <a:lnTo>
                    <a:pt x="56280" y="3717321"/>
                  </a:lnTo>
                  <a:lnTo>
                    <a:pt x="56280" y="3548519"/>
                  </a:lnTo>
                  <a:lnTo>
                    <a:pt x="337603" y="3548519"/>
                  </a:lnTo>
                  <a:lnTo>
                    <a:pt x="337603" y="3492239"/>
                  </a:lnTo>
                  <a:lnTo>
                    <a:pt x="56280" y="3492239"/>
                  </a:lnTo>
                  <a:lnTo>
                    <a:pt x="56280" y="3323438"/>
                  </a:lnTo>
                  <a:lnTo>
                    <a:pt x="675205" y="3323438"/>
                  </a:lnTo>
                  <a:lnTo>
                    <a:pt x="675205" y="3267158"/>
                  </a:lnTo>
                  <a:lnTo>
                    <a:pt x="56280" y="3267158"/>
                  </a:lnTo>
                  <a:lnTo>
                    <a:pt x="56280" y="3098395"/>
                  </a:lnTo>
                  <a:lnTo>
                    <a:pt x="337603" y="3098395"/>
                  </a:lnTo>
                  <a:lnTo>
                    <a:pt x="337603" y="3042115"/>
                  </a:lnTo>
                  <a:lnTo>
                    <a:pt x="56280" y="3042115"/>
                  </a:lnTo>
                  <a:lnTo>
                    <a:pt x="56280" y="2873314"/>
                  </a:lnTo>
                  <a:lnTo>
                    <a:pt x="337603" y="2873314"/>
                  </a:lnTo>
                  <a:lnTo>
                    <a:pt x="337603" y="2817034"/>
                  </a:lnTo>
                  <a:lnTo>
                    <a:pt x="56280" y="2817034"/>
                  </a:lnTo>
                  <a:lnTo>
                    <a:pt x="56280" y="2648233"/>
                  </a:lnTo>
                  <a:lnTo>
                    <a:pt x="337603" y="2648233"/>
                  </a:lnTo>
                  <a:lnTo>
                    <a:pt x="337603" y="2591991"/>
                  </a:lnTo>
                  <a:lnTo>
                    <a:pt x="56280" y="2591991"/>
                  </a:lnTo>
                  <a:lnTo>
                    <a:pt x="56280" y="2423190"/>
                  </a:lnTo>
                  <a:lnTo>
                    <a:pt x="675205" y="2423190"/>
                  </a:lnTo>
                  <a:lnTo>
                    <a:pt x="675205" y="2366909"/>
                  </a:lnTo>
                  <a:lnTo>
                    <a:pt x="56280" y="2366909"/>
                  </a:lnTo>
                  <a:lnTo>
                    <a:pt x="56280" y="2198108"/>
                  </a:lnTo>
                  <a:lnTo>
                    <a:pt x="337603" y="2198108"/>
                  </a:lnTo>
                  <a:lnTo>
                    <a:pt x="337603" y="2141867"/>
                  </a:lnTo>
                  <a:lnTo>
                    <a:pt x="56280" y="2141867"/>
                  </a:lnTo>
                  <a:lnTo>
                    <a:pt x="56280" y="1973065"/>
                  </a:lnTo>
                  <a:lnTo>
                    <a:pt x="337603" y="1973065"/>
                  </a:lnTo>
                  <a:lnTo>
                    <a:pt x="337603" y="1916785"/>
                  </a:lnTo>
                  <a:lnTo>
                    <a:pt x="56280" y="1916785"/>
                  </a:lnTo>
                  <a:lnTo>
                    <a:pt x="56280" y="1747984"/>
                  </a:lnTo>
                  <a:lnTo>
                    <a:pt x="337603" y="1747984"/>
                  </a:lnTo>
                  <a:lnTo>
                    <a:pt x="337603" y="1691704"/>
                  </a:lnTo>
                  <a:lnTo>
                    <a:pt x="56280" y="1691704"/>
                  </a:lnTo>
                  <a:lnTo>
                    <a:pt x="56280" y="1522941"/>
                  </a:lnTo>
                  <a:lnTo>
                    <a:pt x="675205" y="1522941"/>
                  </a:lnTo>
                  <a:lnTo>
                    <a:pt x="675205" y="1466661"/>
                  </a:lnTo>
                  <a:lnTo>
                    <a:pt x="56280" y="1466661"/>
                  </a:lnTo>
                  <a:lnTo>
                    <a:pt x="56280" y="1297860"/>
                  </a:lnTo>
                  <a:lnTo>
                    <a:pt x="337603" y="1297860"/>
                  </a:lnTo>
                  <a:lnTo>
                    <a:pt x="337603" y="1241580"/>
                  </a:lnTo>
                  <a:lnTo>
                    <a:pt x="56280" y="1241580"/>
                  </a:lnTo>
                  <a:lnTo>
                    <a:pt x="56280" y="1072779"/>
                  </a:lnTo>
                  <a:lnTo>
                    <a:pt x="337603" y="1072779"/>
                  </a:lnTo>
                  <a:lnTo>
                    <a:pt x="337603" y="1016537"/>
                  </a:lnTo>
                  <a:lnTo>
                    <a:pt x="56280" y="1016537"/>
                  </a:lnTo>
                  <a:lnTo>
                    <a:pt x="56280" y="847736"/>
                  </a:lnTo>
                  <a:lnTo>
                    <a:pt x="337603" y="847736"/>
                  </a:lnTo>
                  <a:lnTo>
                    <a:pt x="337603" y="791456"/>
                  </a:lnTo>
                  <a:lnTo>
                    <a:pt x="56280" y="791456"/>
                  </a:lnTo>
                  <a:lnTo>
                    <a:pt x="56280" y="622654"/>
                  </a:lnTo>
                  <a:lnTo>
                    <a:pt x="675205" y="622654"/>
                  </a:lnTo>
                  <a:lnTo>
                    <a:pt x="675205" y="566413"/>
                  </a:lnTo>
                  <a:lnTo>
                    <a:pt x="56280" y="566413"/>
                  </a:lnTo>
                  <a:lnTo>
                    <a:pt x="56280" y="397612"/>
                  </a:lnTo>
                  <a:lnTo>
                    <a:pt x="337603" y="397612"/>
                  </a:lnTo>
                  <a:lnTo>
                    <a:pt x="337603" y="341332"/>
                  </a:lnTo>
                  <a:lnTo>
                    <a:pt x="56280" y="341332"/>
                  </a:lnTo>
                  <a:lnTo>
                    <a:pt x="56280" y="172530"/>
                  </a:lnTo>
                  <a:lnTo>
                    <a:pt x="337603" y="172530"/>
                  </a:lnTo>
                  <a:lnTo>
                    <a:pt x="337603" y="116250"/>
                  </a:lnTo>
                  <a:lnTo>
                    <a:pt x="56280" y="116250"/>
                  </a:lnTo>
                  <a:lnTo>
                    <a:pt x="56280" y="0"/>
                  </a:lnTo>
                  <a:lnTo>
                    <a:pt x="0" y="0"/>
                  </a:lnTo>
                  <a:lnTo>
                    <a:pt x="0" y="4223686"/>
                  </a:lnTo>
                  <a:lnTo>
                    <a:pt x="56280" y="4223686"/>
                  </a:lnTo>
                  <a:lnTo>
                    <a:pt x="900248" y="42236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0A038EA-73B9-4662-88F7-BAC06BB45868}"/>
                </a:ext>
              </a:extLst>
            </p:cNvPr>
            <p:cNvSpPr/>
            <p:nvPr/>
          </p:nvSpPr>
          <p:spPr>
            <a:xfrm>
              <a:off x="-1697617" y="1719597"/>
              <a:ext cx="337603" cy="538326"/>
            </a:xfrm>
            <a:custGeom>
              <a:avLst/>
              <a:gdLst>
                <a:gd name="connsiteX0" fmla="*/ 0 w 337603"/>
                <a:gd name="connsiteY0" fmla="*/ 0 h 538326"/>
                <a:gd name="connsiteX1" fmla="*/ 56280 w 337603"/>
                <a:gd name="connsiteY1" fmla="*/ 0 h 538326"/>
                <a:gd name="connsiteX2" fmla="*/ 56280 w 337603"/>
                <a:gd name="connsiteY2" fmla="*/ 101734 h 538326"/>
                <a:gd name="connsiteX3" fmla="*/ 337603 w 337603"/>
                <a:gd name="connsiteY3" fmla="*/ 101734 h 538326"/>
                <a:gd name="connsiteX4" fmla="*/ 337603 w 337603"/>
                <a:gd name="connsiteY4" fmla="*/ 158014 h 538326"/>
                <a:gd name="connsiteX5" fmla="*/ 56280 w 337603"/>
                <a:gd name="connsiteY5" fmla="*/ 158014 h 538326"/>
                <a:gd name="connsiteX6" fmla="*/ 56280 w 337603"/>
                <a:gd name="connsiteY6" fmla="*/ 326815 h 538326"/>
                <a:gd name="connsiteX7" fmla="*/ 337603 w 337603"/>
                <a:gd name="connsiteY7" fmla="*/ 326815 h 538326"/>
                <a:gd name="connsiteX8" fmla="*/ 337603 w 337603"/>
                <a:gd name="connsiteY8" fmla="*/ 383056 h 538326"/>
                <a:gd name="connsiteX9" fmla="*/ 56280 w 337603"/>
                <a:gd name="connsiteY9" fmla="*/ 383056 h 538326"/>
                <a:gd name="connsiteX10" fmla="*/ 56280 w 337603"/>
                <a:gd name="connsiteY10" fmla="*/ 538326 h 538326"/>
                <a:gd name="connsiteX11" fmla="*/ 0 w 337603"/>
                <a:gd name="connsiteY11" fmla="*/ 538326 h 538326"/>
                <a:gd name="connsiteX12" fmla="*/ 0 w 337603"/>
                <a:gd name="connsiteY12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7603" h="538326">
                  <a:moveTo>
                    <a:pt x="0" y="0"/>
                  </a:moveTo>
                  <a:lnTo>
                    <a:pt x="56280" y="0"/>
                  </a:lnTo>
                  <a:lnTo>
                    <a:pt x="56280" y="101734"/>
                  </a:lnTo>
                  <a:lnTo>
                    <a:pt x="337603" y="101734"/>
                  </a:lnTo>
                  <a:lnTo>
                    <a:pt x="337603" y="158014"/>
                  </a:lnTo>
                  <a:lnTo>
                    <a:pt x="56280" y="158014"/>
                  </a:lnTo>
                  <a:lnTo>
                    <a:pt x="56280" y="326815"/>
                  </a:lnTo>
                  <a:lnTo>
                    <a:pt x="337603" y="326815"/>
                  </a:lnTo>
                  <a:lnTo>
                    <a:pt x="337603" y="383056"/>
                  </a:lnTo>
                  <a:lnTo>
                    <a:pt x="56280" y="383056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5D5BD62B-4737-413B-9E36-FBF3FA8FF0DE}"/>
                </a:ext>
              </a:extLst>
            </p:cNvPr>
            <p:cNvSpPr/>
            <p:nvPr/>
          </p:nvSpPr>
          <p:spPr>
            <a:xfrm>
              <a:off x="-797368" y="1719597"/>
              <a:ext cx="56280" cy="538326"/>
            </a:xfrm>
            <a:custGeom>
              <a:avLst/>
              <a:gdLst>
                <a:gd name="connsiteX0" fmla="*/ 0 w 56280"/>
                <a:gd name="connsiteY0" fmla="*/ 0 h 538326"/>
                <a:gd name="connsiteX1" fmla="*/ 56280 w 56280"/>
                <a:gd name="connsiteY1" fmla="*/ 0 h 538326"/>
                <a:gd name="connsiteX2" fmla="*/ 56280 w 56280"/>
                <a:gd name="connsiteY2" fmla="*/ 538326 h 538326"/>
                <a:gd name="connsiteX3" fmla="*/ 0 w 56280"/>
                <a:gd name="connsiteY3" fmla="*/ 538326 h 538326"/>
                <a:gd name="connsiteX4" fmla="*/ 0 w 56280"/>
                <a:gd name="connsiteY4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80" h="538326">
                  <a:moveTo>
                    <a:pt x="0" y="0"/>
                  </a:moveTo>
                  <a:lnTo>
                    <a:pt x="56280" y="0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</p:grpSp>
      <p:sp>
        <p:nvSpPr>
          <p:cNvPr id="59" name="Round Same-side Corner of Rectangle 79">
            <a:extLst>
              <a:ext uri="{FF2B5EF4-FFF2-40B4-BE49-F238E27FC236}">
                <a16:creationId xmlns:a16="http://schemas.microsoft.com/office/drawing/2014/main" id="{108BFFFD-BFD2-476C-B9F5-49875AE53DDD}"/>
              </a:ext>
            </a:extLst>
          </p:cNvPr>
          <p:cNvSpPr/>
          <p:nvPr userDrawn="1"/>
        </p:nvSpPr>
        <p:spPr>
          <a:xfrm rot="5400000">
            <a:off x="10613117" y="550943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0" name="TextBox 59">
            <a:hlinkClick r:id="" action="ppaction://noaction"/>
            <a:extLst>
              <a:ext uri="{FF2B5EF4-FFF2-40B4-BE49-F238E27FC236}">
                <a16:creationId xmlns:a16="http://schemas.microsoft.com/office/drawing/2014/main" id="{481D5C02-3AA4-41F6-ABB6-01126E544750}"/>
              </a:ext>
            </a:extLst>
          </p:cNvPr>
          <p:cNvSpPr txBox="1"/>
          <p:nvPr userDrawn="1"/>
        </p:nvSpPr>
        <p:spPr>
          <a:xfrm>
            <a:off x="10870644" y="555078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61" name="Round Same-side Corner of Rectangle 79">
            <a:extLst>
              <a:ext uri="{FF2B5EF4-FFF2-40B4-BE49-F238E27FC236}">
                <a16:creationId xmlns:a16="http://schemas.microsoft.com/office/drawing/2014/main" id="{820E6861-DC11-47EF-A496-7DB638922BAA}"/>
              </a:ext>
            </a:extLst>
          </p:cNvPr>
          <p:cNvSpPr/>
          <p:nvPr userDrawn="1"/>
        </p:nvSpPr>
        <p:spPr>
          <a:xfrm rot="5400000">
            <a:off x="10613117" y="5784862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2" name="TextBox 61">
            <a:hlinkClick r:id="" action="ppaction://noaction"/>
            <a:extLst>
              <a:ext uri="{FF2B5EF4-FFF2-40B4-BE49-F238E27FC236}">
                <a16:creationId xmlns:a16="http://schemas.microsoft.com/office/drawing/2014/main" id="{E7242653-9858-4400-80AD-CFFCD610147A}"/>
              </a:ext>
            </a:extLst>
          </p:cNvPr>
          <p:cNvSpPr txBox="1"/>
          <p:nvPr userDrawn="1"/>
        </p:nvSpPr>
        <p:spPr>
          <a:xfrm>
            <a:off x="10870644" y="5826211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63" name="Freeform 25">
            <a:extLst>
              <a:ext uri="{FF2B5EF4-FFF2-40B4-BE49-F238E27FC236}">
                <a16:creationId xmlns:a16="http://schemas.microsoft.com/office/drawing/2014/main" id="{FE1DE68E-7D33-4780-8CAE-FE100F80421D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5549100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65" name="Round Same-side Corner of Rectangle 79">
            <a:extLst>
              <a:ext uri="{FF2B5EF4-FFF2-40B4-BE49-F238E27FC236}">
                <a16:creationId xmlns:a16="http://schemas.microsoft.com/office/drawing/2014/main" id="{AF3C1C47-D2DA-4C3E-B781-D7BCD850049D}"/>
              </a:ext>
            </a:extLst>
          </p:cNvPr>
          <p:cNvSpPr/>
          <p:nvPr userDrawn="1"/>
        </p:nvSpPr>
        <p:spPr>
          <a:xfrm rot="5400000">
            <a:off x="10615976" y="606635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6" name="TextBox 65">
            <a:hlinkClick r:id="" action="ppaction://noaction"/>
            <a:extLst>
              <a:ext uri="{FF2B5EF4-FFF2-40B4-BE49-F238E27FC236}">
                <a16:creationId xmlns:a16="http://schemas.microsoft.com/office/drawing/2014/main" id="{8219B357-8E0A-4035-BE33-C9331F738E25}"/>
              </a:ext>
            </a:extLst>
          </p:cNvPr>
          <p:cNvSpPr txBox="1"/>
          <p:nvPr userDrawn="1"/>
        </p:nvSpPr>
        <p:spPr>
          <a:xfrm>
            <a:off x="10873503" y="6107704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67" name="Freeform 21">
            <a:extLst>
              <a:ext uri="{FF2B5EF4-FFF2-40B4-BE49-F238E27FC236}">
                <a16:creationId xmlns:a16="http://schemas.microsoft.com/office/drawing/2014/main" id="{D9950595-469B-485E-B8FA-19E24C5C284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6115929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77" name="Graphic 28" descr="List">
            <a:extLst>
              <a:ext uri="{FF2B5EF4-FFF2-40B4-BE49-F238E27FC236}">
                <a16:creationId xmlns:a16="http://schemas.microsoft.com/office/drawing/2014/main" id="{060970E3-A383-4E2F-8D6B-A1B60550E19B}"/>
              </a:ext>
            </a:extLst>
          </p:cNvPr>
          <p:cNvGrpSpPr/>
          <p:nvPr userDrawn="1"/>
        </p:nvGrpSpPr>
        <p:grpSpPr>
          <a:xfrm>
            <a:off x="10657446" y="5818069"/>
            <a:ext cx="103548" cy="146640"/>
            <a:chOff x="981871" y="1231905"/>
            <a:chExt cx="246063" cy="317501"/>
          </a:xfrm>
        </p:grpSpPr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64220F67-775C-4B82-A325-64823B9DADEE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81837238-64A2-486D-9D27-5DBD820A7FBD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0A9D7B7-6631-4DD8-ADCF-5A6A46FA9A91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8D70304F-C9B3-4DCA-8276-49D20B6377BD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AE4BA30A-2B7D-4377-A275-FD8F1A6193A6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DB7D3850-1E0B-41B7-8699-1152C01DC64A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403BE69-3710-4D18-8785-76AF965E79E9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35F4AE1-BF25-43C8-BD95-3911856122B4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C4BB1E92-3EF0-479C-918F-95C92FBAFBE0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80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44B73DE1-5501-4BD5-B43D-C8C910E711CD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E2F8AF91-E1B8-45D6-8750-38C88B9D7132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8AA79AD4-00F3-46DD-AF85-EFF999B43E92}"/>
              </a:ext>
            </a:extLst>
          </p:cNvPr>
          <p:cNvSpPr/>
          <p:nvPr userDrawn="1"/>
        </p:nvSpPr>
        <p:spPr>
          <a:xfrm rot="5400000">
            <a:off x="11280167" y="4840571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BDE7E503-3190-4924-87FB-1B57E4B8736A}"/>
              </a:ext>
            </a:extLst>
          </p:cNvPr>
          <p:cNvSpPr/>
          <p:nvPr userDrawn="1"/>
        </p:nvSpPr>
        <p:spPr>
          <a:xfrm rot="5400000">
            <a:off x="11280167" y="5116475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7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821FBB78-1F4E-4AE8-B9E1-3FC9CEA51488}"/>
              </a:ext>
            </a:extLst>
          </p:cNvPr>
          <p:cNvSpPr/>
          <p:nvPr userDrawn="1"/>
        </p:nvSpPr>
        <p:spPr>
          <a:xfrm rot="5400000">
            <a:off x="11280167" y="5392379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9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887448F2-F949-4901-A7EC-E8FC1DFC0B1D}"/>
              </a:ext>
            </a:extLst>
          </p:cNvPr>
          <p:cNvSpPr/>
          <p:nvPr userDrawn="1"/>
        </p:nvSpPr>
        <p:spPr>
          <a:xfrm rot="5400000">
            <a:off x="11473096" y="1472755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0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7C9AE9E4-7FE0-40ED-8D32-058E9C6ED256}"/>
              </a:ext>
            </a:extLst>
          </p:cNvPr>
          <p:cNvSpPr/>
          <p:nvPr userDrawn="1"/>
        </p:nvSpPr>
        <p:spPr>
          <a:xfrm rot="5400000">
            <a:off x="11473096" y="192820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1" name="Round Same-side Corner of Rectangle 79">
            <a:hlinkClick r:id="rId5" action="ppaction://hlinksldjump"/>
            <a:extLst>
              <a:ext uri="{FF2B5EF4-FFF2-40B4-BE49-F238E27FC236}">
                <a16:creationId xmlns:a16="http://schemas.microsoft.com/office/drawing/2014/main" id="{B6C583F8-E3A1-4767-98CF-82FAA44416CF}"/>
              </a:ext>
            </a:extLst>
          </p:cNvPr>
          <p:cNvSpPr/>
          <p:nvPr userDrawn="1"/>
        </p:nvSpPr>
        <p:spPr>
          <a:xfrm rot="5400000">
            <a:off x="11473096" y="2380734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2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A92EA3F9-8F68-4029-815D-6109B21D7BB3}"/>
              </a:ext>
            </a:extLst>
          </p:cNvPr>
          <p:cNvSpPr/>
          <p:nvPr userDrawn="1"/>
        </p:nvSpPr>
        <p:spPr>
          <a:xfrm rot="5400000">
            <a:off x="11473096" y="2833262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93F52975-79D4-47B0-9139-933070051D6B}"/>
              </a:ext>
            </a:extLst>
          </p:cNvPr>
          <p:cNvSpPr/>
          <p:nvPr userDrawn="1"/>
        </p:nvSpPr>
        <p:spPr>
          <a:xfrm rot="5400000">
            <a:off x="11473096" y="3285790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FF8A3AA2-03BD-4879-AFC0-302022C0089D}"/>
              </a:ext>
            </a:extLst>
          </p:cNvPr>
          <p:cNvSpPr/>
          <p:nvPr userDrawn="1"/>
        </p:nvSpPr>
        <p:spPr>
          <a:xfrm rot="5400000">
            <a:off x="11473096" y="3738318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F897A1A3-E1ED-49E8-84D1-DC843B46FA2A}"/>
              </a:ext>
            </a:extLst>
          </p:cNvPr>
          <p:cNvSpPr/>
          <p:nvPr userDrawn="1"/>
        </p:nvSpPr>
        <p:spPr>
          <a:xfrm rot="5400000">
            <a:off x="11290966" y="4008716"/>
            <a:ext cx="349171" cy="1446546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6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4422CB5C-5B8F-4144-BF2B-C04AAA54C928}"/>
              </a:ext>
            </a:extLst>
          </p:cNvPr>
          <p:cNvSpPr/>
          <p:nvPr userDrawn="1"/>
        </p:nvSpPr>
        <p:spPr>
          <a:xfrm rot="5400000">
            <a:off x="11473096" y="464337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8957692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llar 7 - Let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4" name="Round Same-side Corner of Rectangle 79">
            <a:extLst>
              <a:ext uri="{FF2B5EF4-FFF2-40B4-BE49-F238E27FC236}">
                <a16:creationId xmlns:a16="http://schemas.microsoft.com/office/drawing/2014/main" id="{429E155D-7E57-4822-8852-F94F1A49D6FC}"/>
              </a:ext>
            </a:extLst>
          </p:cNvPr>
          <p:cNvSpPr/>
          <p:nvPr userDrawn="1"/>
        </p:nvSpPr>
        <p:spPr>
          <a:xfrm rot="16200000">
            <a:off x="11384856" y="4661233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8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0" name="Round Same-side Corner of Rectangle 79">
            <a:extLst>
              <a:ext uri="{FF2B5EF4-FFF2-40B4-BE49-F238E27FC236}">
                <a16:creationId xmlns:a16="http://schemas.microsoft.com/office/drawing/2014/main" id="{DA632258-7E89-4C63-86BD-EA679E94BCAB}"/>
              </a:ext>
            </a:extLst>
          </p:cNvPr>
          <p:cNvSpPr/>
          <p:nvPr userDrawn="1"/>
        </p:nvSpPr>
        <p:spPr>
          <a:xfrm rot="16200000">
            <a:off x="11219849" y="4043622"/>
            <a:ext cx="388777" cy="137124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2102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600" b="1"/>
              <a:t>Pillar  </a:t>
            </a:r>
            <a:r>
              <a:rPr lang="en-US" sz="1600" b="1"/>
              <a:t>7</a:t>
            </a:r>
          </a:p>
        </p:txBody>
      </p:sp>
      <p:sp>
        <p:nvSpPr>
          <p:cNvPr id="71" name="Round Same-side Corner of Rectangle 79">
            <a:extLst>
              <a:ext uri="{FF2B5EF4-FFF2-40B4-BE49-F238E27FC236}">
                <a16:creationId xmlns:a16="http://schemas.microsoft.com/office/drawing/2014/main" id="{D4B93879-3513-4875-A1C4-5980915623CE}"/>
              </a:ext>
            </a:extLst>
          </p:cNvPr>
          <p:cNvSpPr/>
          <p:nvPr userDrawn="1"/>
        </p:nvSpPr>
        <p:spPr>
          <a:xfrm rot="16200000">
            <a:off x="11384854" y="3756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6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8" name="Round Same-side Corner of Rectangle 79">
            <a:extLst>
              <a:ext uri="{FF2B5EF4-FFF2-40B4-BE49-F238E27FC236}">
                <a16:creationId xmlns:a16="http://schemas.microsoft.com/office/drawing/2014/main" id="{312255C5-65A9-47AB-B67B-8924547FF7C2}"/>
              </a:ext>
            </a:extLst>
          </p:cNvPr>
          <p:cNvSpPr/>
          <p:nvPr userDrawn="1"/>
        </p:nvSpPr>
        <p:spPr>
          <a:xfrm rot="16200000">
            <a:off x="11384854" y="33034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5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9" name="Round Same-side Corner of Rectangle 79">
            <a:extLst>
              <a:ext uri="{FF2B5EF4-FFF2-40B4-BE49-F238E27FC236}">
                <a16:creationId xmlns:a16="http://schemas.microsoft.com/office/drawing/2014/main" id="{F23596D5-FD36-49E3-B746-F3D7A290DF3D}"/>
              </a:ext>
            </a:extLst>
          </p:cNvPr>
          <p:cNvSpPr/>
          <p:nvPr userDrawn="1"/>
        </p:nvSpPr>
        <p:spPr>
          <a:xfrm rot="16200000">
            <a:off x="11384853" y="28508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4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7" name="Round Same-side Corner of Rectangle 79">
            <a:extLst>
              <a:ext uri="{FF2B5EF4-FFF2-40B4-BE49-F238E27FC236}">
                <a16:creationId xmlns:a16="http://schemas.microsoft.com/office/drawing/2014/main" id="{059574F1-9FE9-480C-B4ED-14EFB4169B0E}"/>
              </a:ext>
            </a:extLst>
          </p:cNvPr>
          <p:cNvSpPr/>
          <p:nvPr userDrawn="1"/>
        </p:nvSpPr>
        <p:spPr>
          <a:xfrm rot="16200000">
            <a:off x="11384854" y="23982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3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8" name="Round Same-side Corner of Rectangle 79">
            <a:extLst>
              <a:ext uri="{FF2B5EF4-FFF2-40B4-BE49-F238E27FC236}">
                <a16:creationId xmlns:a16="http://schemas.microsoft.com/office/drawing/2014/main" id="{82236BCB-3538-4E87-B0C9-CACC40793A57}"/>
              </a:ext>
            </a:extLst>
          </p:cNvPr>
          <p:cNvSpPr/>
          <p:nvPr userDrawn="1"/>
        </p:nvSpPr>
        <p:spPr>
          <a:xfrm rot="16200000">
            <a:off x="11384854" y="19456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2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9" name="Round Same-side Corner of Rectangle 79">
            <a:extLst>
              <a:ext uri="{FF2B5EF4-FFF2-40B4-BE49-F238E27FC236}">
                <a16:creationId xmlns:a16="http://schemas.microsoft.com/office/drawing/2014/main" id="{61090AD0-0469-4342-901A-FC4BE401662F}"/>
              </a:ext>
            </a:extLst>
          </p:cNvPr>
          <p:cNvSpPr/>
          <p:nvPr userDrawn="1"/>
        </p:nvSpPr>
        <p:spPr>
          <a:xfrm rot="16200000">
            <a:off x="11384854" y="1493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1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96" name="Round Same-side Corner of Rectangle 79">
            <a:extLst>
              <a:ext uri="{FF2B5EF4-FFF2-40B4-BE49-F238E27FC236}">
                <a16:creationId xmlns:a16="http://schemas.microsoft.com/office/drawing/2014/main" id="{75C801CE-9FCA-486D-96A7-6973FA449CCA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8" name="Round Same-side Corner of Rectangle 79">
            <a:extLst>
              <a:ext uri="{FF2B5EF4-FFF2-40B4-BE49-F238E27FC236}">
                <a16:creationId xmlns:a16="http://schemas.microsoft.com/office/drawing/2014/main" id="{B358AAFE-318C-4629-9F49-D9DBA46F85EC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E61F1E3D-127E-4F62-AC5B-EFF9791B28B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6706" y="918349"/>
            <a:ext cx="9963591" cy="5673283"/>
          </a:xfrm>
        </p:spPr>
        <p:txBody>
          <a:bodyPr/>
          <a:lstStyle>
            <a:lvl1pPr marL="0" indent="0">
              <a:spcBef>
                <a:spcPts val="1200"/>
              </a:spcBef>
              <a:buFontTx/>
              <a:buNone/>
              <a:defRPr sz="1799" b="1">
                <a:solidFill>
                  <a:schemeClr val="accent1">
                    <a:lumMod val="75000"/>
                  </a:schemeClr>
                </a:solidFill>
              </a:defRPr>
            </a:lvl1pPr>
            <a:lvl2pPr marL="230119" indent="-230119">
              <a:spcBef>
                <a:spcPts val="1200"/>
              </a:spcBef>
              <a:buFont typeface="+mj-lt"/>
              <a:buAutoNum type="alphaUcPeriod"/>
              <a:defRPr/>
            </a:lvl2pPr>
            <a:lvl3pPr marL="512609" indent="-171399">
              <a:spcBef>
                <a:spcPts val="600"/>
              </a:spcBef>
              <a:buFont typeface="+mj-lt"/>
              <a:buAutoNum type="romanLcPeriod"/>
              <a:defRPr sz="1300"/>
            </a:lvl3pPr>
            <a:lvl4pPr marL="798273" indent="-169812">
              <a:spcBef>
                <a:spcPts val="400"/>
              </a:spcBef>
              <a:buFont typeface="+mj-lt"/>
              <a:buAutoNum type="alphaLcPeriod"/>
              <a:defRPr sz="1300"/>
            </a:lvl4pPr>
            <a:lvl5pPr marL="1144245" indent="-115853">
              <a:spcBef>
                <a:spcPts val="2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F465AEC-AC2C-4F26-A514-B16A2E6B814C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E8E7AEC-D397-4EF4-B63F-12A6FB09D5E6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4" name="Round Same-side Corner of Rectangle 79">
            <a:extLst>
              <a:ext uri="{FF2B5EF4-FFF2-40B4-BE49-F238E27FC236}">
                <a16:creationId xmlns:a16="http://schemas.microsoft.com/office/drawing/2014/main" id="{3A261BEA-A960-4E18-B27D-6E834535FA6D}"/>
              </a:ext>
            </a:extLst>
          </p:cNvPr>
          <p:cNvSpPr/>
          <p:nvPr userDrawn="1"/>
        </p:nvSpPr>
        <p:spPr>
          <a:xfrm rot="16200000">
            <a:off x="11900597" y="4635404"/>
            <a:ext cx="388777" cy="18768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>
              <a:lumMod val="75000"/>
              <a:alpha val="59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17" name="TextBox 16">
            <a:hlinkClick r:id="" action="ppaction://noaction"/>
            <a:extLst>
              <a:ext uri="{FF2B5EF4-FFF2-40B4-BE49-F238E27FC236}">
                <a16:creationId xmlns:a16="http://schemas.microsoft.com/office/drawing/2014/main" id="{49758E62-1728-41C3-986B-531C92523644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18" name="TextBox 17">
            <a:hlinkClick r:id="" action="ppaction://noaction"/>
            <a:extLst>
              <a:ext uri="{FF2B5EF4-FFF2-40B4-BE49-F238E27FC236}">
                <a16:creationId xmlns:a16="http://schemas.microsoft.com/office/drawing/2014/main" id="{7064BD3E-E930-4055-A8FA-D42586D02F4D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8AA79184-6D0A-4367-85F9-26259B1BB8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C560754B-34AB-419C-B9EF-5F60CBDC00B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762AA2B4-84A0-4EF3-852A-375A9FF1CC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45" name="Freeform 9">
            <a:extLst>
              <a:ext uri="{FF2B5EF4-FFF2-40B4-BE49-F238E27FC236}">
                <a16:creationId xmlns:a16="http://schemas.microsoft.com/office/drawing/2014/main" id="{04FE2D9C-0B20-4B7E-8BC6-652797D28F8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95767" y="4176118"/>
            <a:ext cx="181694" cy="212254"/>
          </a:xfrm>
          <a:custGeom>
            <a:avLst/>
            <a:gdLst>
              <a:gd name="T0" fmla="*/ 708 w 809"/>
              <a:gd name="T1" fmla="*/ 509 h 945"/>
              <a:gd name="T2" fmla="*/ 405 w 809"/>
              <a:gd name="T3" fmla="*/ 838 h 945"/>
              <a:gd name="T4" fmla="*/ 404 w 809"/>
              <a:gd name="T5" fmla="*/ 838 h 945"/>
              <a:gd name="T6" fmla="*/ 404 w 809"/>
              <a:gd name="T7" fmla="*/ 473 h 945"/>
              <a:gd name="T8" fmla="*/ 101 w 809"/>
              <a:gd name="T9" fmla="*/ 473 h 945"/>
              <a:gd name="T10" fmla="*/ 101 w 809"/>
              <a:gd name="T11" fmla="*/ 245 h 945"/>
              <a:gd name="T12" fmla="*/ 404 w 809"/>
              <a:gd name="T13" fmla="*/ 123 h 945"/>
              <a:gd name="T14" fmla="*/ 404 w 809"/>
              <a:gd name="T15" fmla="*/ 473 h 945"/>
              <a:gd name="T16" fmla="*/ 708 w 809"/>
              <a:gd name="T17" fmla="*/ 473 h 945"/>
              <a:gd name="T18" fmla="*/ 708 w 809"/>
              <a:gd name="T19" fmla="*/ 509 h 945"/>
              <a:gd name="T20" fmla="*/ 792 w 809"/>
              <a:gd name="T21" fmla="*/ 150 h 945"/>
              <a:gd name="T22" fmla="*/ 415 w 809"/>
              <a:gd name="T23" fmla="*/ 4 h 945"/>
              <a:gd name="T24" fmla="*/ 394 w 809"/>
              <a:gd name="T25" fmla="*/ 4 h 945"/>
              <a:gd name="T26" fmla="*/ 17 w 809"/>
              <a:gd name="T27" fmla="*/ 150 h 945"/>
              <a:gd name="T28" fmla="*/ 0 w 809"/>
              <a:gd name="T29" fmla="*/ 168 h 945"/>
              <a:gd name="T30" fmla="*/ 0 w 809"/>
              <a:gd name="T31" fmla="*/ 508 h 945"/>
              <a:gd name="T32" fmla="*/ 398 w 809"/>
              <a:gd name="T33" fmla="*/ 944 h 945"/>
              <a:gd name="T34" fmla="*/ 410 w 809"/>
              <a:gd name="T35" fmla="*/ 944 h 945"/>
              <a:gd name="T36" fmla="*/ 809 w 809"/>
              <a:gd name="T37" fmla="*/ 508 h 945"/>
              <a:gd name="T38" fmla="*/ 809 w 809"/>
              <a:gd name="T39" fmla="*/ 168 h 945"/>
              <a:gd name="T40" fmla="*/ 792 w 809"/>
              <a:gd name="T41" fmla="*/ 150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9" h="945">
                <a:moveTo>
                  <a:pt x="708" y="509"/>
                </a:moveTo>
                <a:cubicBezTo>
                  <a:pt x="708" y="713"/>
                  <a:pt x="483" y="811"/>
                  <a:pt x="405" y="838"/>
                </a:cubicBezTo>
                <a:cubicBezTo>
                  <a:pt x="405" y="838"/>
                  <a:pt x="404" y="838"/>
                  <a:pt x="404" y="838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101" y="473"/>
                  <a:pt x="101" y="473"/>
                  <a:pt x="101" y="473"/>
                </a:cubicBezTo>
                <a:cubicBezTo>
                  <a:pt x="101" y="245"/>
                  <a:pt x="101" y="245"/>
                  <a:pt x="101" y="245"/>
                </a:cubicBezTo>
                <a:cubicBezTo>
                  <a:pt x="185" y="231"/>
                  <a:pt x="288" y="197"/>
                  <a:pt x="404" y="123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708" y="473"/>
                  <a:pt x="708" y="473"/>
                  <a:pt x="708" y="473"/>
                </a:cubicBezTo>
                <a:lnTo>
                  <a:pt x="708" y="509"/>
                </a:lnTo>
                <a:close/>
                <a:moveTo>
                  <a:pt x="792" y="150"/>
                </a:moveTo>
                <a:cubicBezTo>
                  <a:pt x="691" y="146"/>
                  <a:pt x="562" y="109"/>
                  <a:pt x="415" y="4"/>
                </a:cubicBezTo>
                <a:cubicBezTo>
                  <a:pt x="409" y="0"/>
                  <a:pt x="400" y="0"/>
                  <a:pt x="394" y="4"/>
                </a:cubicBezTo>
                <a:cubicBezTo>
                  <a:pt x="247" y="109"/>
                  <a:pt x="118" y="146"/>
                  <a:pt x="17" y="150"/>
                </a:cubicBezTo>
                <a:cubicBezTo>
                  <a:pt x="7" y="150"/>
                  <a:pt x="0" y="158"/>
                  <a:pt x="0" y="168"/>
                </a:cubicBezTo>
                <a:cubicBezTo>
                  <a:pt x="0" y="209"/>
                  <a:pt x="0" y="325"/>
                  <a:pt x="0" y="508"/>
                </a:cubicBezTo>
                <a:cubicBezTo>
                  <a:pt x="0" y="792"/>
                  <a:pt x="348" y="926"/>
                  <a:pt x="398" y="944"/>
                </a:cubicBezTo>
                <a:cubicBezTo>
                  <a:pt x="402" y="945"/>
                  <a:pt x="406" y="945"/>
                  <a:pt x="410" y="944"/>
                </a:cubicBezTo>
                <a:cubicBezTo>
                  <a:pt x="460" y="926"/>
                  <a:pt x="809" y="792"/>
                  <a:pt x="809" y="508"/>
                </a:cubicBezTo>
                <a:cubicBezTo>
                  <a:pt x="809" y="325"/>
                  <a:pt x="809" y="209"/>
                  <a:pt x="809" y="168"/>
                </a:cubicBezTo>
                <a:cubicBezTo>
                  <a:pt x="809" y="158"/>
                  <a:pt x="801" y="150"/>
                  <a:pt x="792" y="15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46" name="Freeform 13">
            <a:extLst>
              <a:ext uri="{FF2B5EF4-FFF2-40B4-BE49-F238E27FC236}">
                <a16:creationId xmlns:a16="http://schemas.microsoft.com/office/drawing/2014/main" id="{44358A22-1548-493D-AB57-E81679F30530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87920" y="5097137"/>
            <a:ext cx="218911" cy="197141"/>
          </a:xfrm>
          <a:custGeom>
            <a:avLst/>
            <a:gdLst>
              <a:gd name="T0" fmla="*/ 757 w 1043"/>
              <a:gd name="T1" fmla="*/ 313 h 939"/>
              <a:gd name="T2" fmla="*/ 313 w 1043"/>
              <a:gd name="T3" fmla="*/ 321 h 939"/>
              <a:gd name="T4" fmla="*/ 321 w 1043"/>
              <a:gd name="T5" fmla="*/ 348 h 939"/>
              <a:gd name="T6" fmla="*/ 765 w 1043"/>
              <a:gd name="T7" fmla="*/ 340 h 939"/>
              <a:gd name="T8" fmla="*/ 765 w 1043"/>
              <a:gd name="T9" fmla="*/ 251 h 939"/>
              <a:gd name="T10" fmla="*/ 321 w 1043"/>
              <a:gd name="T11" fmla="*/ 243 h 939"/>
              <a:gd name="T12" fmla="*/ 313 w 1043"/>
              <a:gd name="T13" fmla="*/ 270 h 939"/>
              <a:gd name="T14" fmla="*/ 757 w 1043"/>
              <a:gd name="T15" fmla="*/ 278 h 939"/>
              <a:gd name="T16" fmla="*/ 765 w 1043"/>
              <a:gd name="T17" fmla="*/ 251 h 939"/>
              <a:gd name="T18" fmla="*/ 757 w 1043"/>
              <a:gd name="T19" fmla="*/ 382 h 939"/>
              <a:gd name="T20" fmla="*/ 313 w 1043"/>
              <a:gd name="T21" fmla="*/ 390 h 939"/>
              <a:gd name="T22" fmla="*/ 321 w 1043"/>
              <a:gd name="T23" fmla="*/ 417 h 939"/>
              <a:gd name="T24" fmla="*/ 765 w 1043"/>
              <a:gd name="T25" fmla="*/ 409 h 939"/>
              <a:gd name="T26" fmla="*/ 765 w 1043"/>
              <a:gd name="T27" fmla="*/ 182 h 939"/>
              <a:gd name="T28" fmla="*/ 321 w 1043"/>
              <a:gd name="T29" fmla="*/ 174 h 939"/>
              <a:gd name="T30" fmla="*/ 313 w 1043"/>
              <a:gd name="T31" fmla="*/ 201 h 939"/>
              <a:gd name="T32" fmla="*/ 757 w 1043"/>
              <a:gd name="T33" fmla="*/ 209 h 939"/>
              <a:gd name="T34" fmla="*/ 765 w 1043"/>
              <a:gd name="T35" fmla="*/ 182 h 939"/>
              <a:gd name="T36" fmla="*/ 1027 w 1043"/>
              <a:gd name="T37" fmla="*/ 730 h 939"/>
              <a:gd name="T38" fmla="*/ 491 w 1043"/>
              <a:gd name="T39" fmla="*/ 735 h 939"/>
              <a:gd name="T40" fmla="*/ 487 w 1043"/>
              <a:gd name="T41" fmla="*/ 747 h 939"/>
              <a:gd name="T42" fmla="*/ 358 w 1043"/>
              <a:gd name="T43" fmla="*/ 869 h 939"/>
              <a:gd name="T44" fmla="*/ 243 w 1043"/>
              <a:gd name="T45" fmla="*/ 757 h 939"/>
              <a:gd name="T46" fmla="*/ 243 w 1043"/>
              <a:gd name="T47" fmla="*/ 139 h 939"/>
              <a:gd name="T48" fmla="*/ 742 w 1043"/>
              <a:gd name="T49" fmla="*/ 69 h 939"/>
              <a:gd name="T50" fmla="*/ 834 w 1043"/>
              <a:gd name="T51" fmla="*/ 695 h 939"/>
              <a:gd name="T52" fmla="*/ 904 w 1043"/>
              <a:gd name="T53" fmla="*/ 161 h 939"/>
              <a:gd name="T54" fmla="*/ 685 w 1043"/>
              <a:gd name="T55" fmla="*/ 0 h 939"/>
              <a:gd name="T56" fmla="*/ 0 w 1043"/>
              <a:gd name="T57" fmla="*/ 174 h 939"/>
              <a:gd name="T58" fmla="*/ 16 w 1043"/>
              <a:gd name="T59" fmla="*/ 209 h 939"/>
              <a:gd name="T60" fmla="*/ 174 w 1043"/>
              <a:gd name="T61" fmla="*/ 757 h 939"/>
              <a:gd name="T62" fmla="*/ 820 w 1043"/>
              <a:gd name="T63" fmla="*/ 939 h 939"/>
              <a:gd name="T64" fmla="*/ 1043 w 1043"/>
              <a:gd name="T65" fmla="*/ 765 h 939"/>
              <a:gd name="T66" fmla="*/ 765 w 1043"/>
              <a:gd name="T67" fmla="*/ 529 h 939"/>
              <a:gd name="T68" fmla="*/ 321 w 1043"/>
              <a:gd name="T69" fmla="*/ 522 h 939"/>
              <a:gd name="T70" fmla="*/ 313 w 1043"/>
              <a:gd name="T71" fmla="*/ 548 h 939"/>
              <a:gd name="T72" fmla="*/ 757 w 1043"/>
              <a:gd name="T73" fmla="*/ 556 h 939"/>
              <a:gd name="T74" fmla="*/ 765 w 1043"/>
              <a:gd name="T75" fmla="*/ 529 h 939"/>
              <a:gd name="T76" fmla="*/ 757 w 1043"/>
              <a:gd name="T77" fmla="*/ 452 h 939"/>
              <a:gd name="T78" fmla="*/ 313 w 1043"/>
              <a:gd name="T79" fmla="*/ 460 h 939"/>
              <a:gd name="T80" fmla="*/ 321 w 1043"/>
              <a:gd name="T81" fmla="*/ 487 h 939"/>
              <a:gd name="T82" fmla="*/ 765 w 1043"/>
              <a:gd name="T83" fmla="*/ 479 h 939"/>
              <a:gd name="T84" fmla="*/ 765 w 1043"/>
              <a:gd name="T85" fmla="*/ 599 h 939"/>
              <a:gd name="T86" fmla="*/ 757 w 1043"/>
              <a:gd name="T87" fmla="*/ 626 h 939"/>
              <a:gd name="T88" fmla="*/ 313 w 1043"/>
              <a:gd name="T89" fmla="*/ 618 h 939"/>
              <a:gd name="T90" fmla="*/ 321 w 1043"/>
              <a:gd name="T91" fmla="*/ 591 h 939"/>
              <a:gd name="T92" fmla="*/ 765 w 1043"/>
              <a:gd name="T93" fmla="*/ 59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43" h="939">
                <a:moveTo>
                  <a:pt x="765" y="321"/>
                </a:moveTo>
                <a:cubicBezTo>
                  <a:pt x="765" y="316"/>
                  <a:pt x="761" y="313"/>
                  <a:pt x="757" y="313"/>
                </a:cubicBezTo>
                <a:cubicBezTo>
                  <a:pt x="321" y="313"/>
                  <a:pt x="321" y="313"/>
                  <a:pt x="321" y="313"/>
                </a:cubicBezTo>
                <a:cubicBezTo>
                  <a:pt x="316" y="313"/>
                  <a:pt x="313" y="316"/>
                  <a:pt x="313" y="321"/>
                </a:cubicBezTo>
                <a:cubicBezTo>
                  <a:pt x="313" y="340"/>
                  <a:pt x="313" y="340"/>
                  <a:pt x="313" y="340"/>
                </a:cubicBezTo>
                <a:cubicBezTo>
                  <a:pt x="313" y="344"/>
                  <a:pt x="316" y="348"/>
                  <a:pt x="321" y="348"/>
                </a:cubicBezTo>
                <a:cubicBezTo>
                  <a:pt x="757" y="348"/>
                  <a:pt x="757" y="348"/>
                  <a:pt x="757" y="348"/>
                </a:cubicBezTo>
                <a:cubicBezTo>
                  <a:pt x="761" y="348"/>
                  <a:pt x="765" y="344"/>
                  <a:pt x="765" y="340"/>
                </a:cubicBezTo>
                <a:lnTo>
                  <a:pt x="765" y="321"/>
                </a:lnTo>
                <a:close/>
                <a:moveTo>
                  <a:pt x="765" y="251"/>
                </a:moveTo>
                <a:cubicBezTo>
                  <a:pt x="765" y="247"/>
                  <a:pt x="761" y="243"/>
                  <a:pt x="757" y="243"/>
                </a:cubicBezTo>
                <a:cubicBezTo>
                  <a:pt x="321" y="243"/>
                  <a:pt x="321" y="243"/>
                  <a:pt x="321" y="243"/>
                </a:cubicBezTo>
                <a:cubicBezTo>
                  <a:pt x="316" y="243"/>
                  <a:pt x="313" y="247"/>
                  <a:pt x="313" y="251"/>
                </a:cubicBezTo>
                <a:cubicBezTo>
                  <a:pt x="313" y="270"/>
                  <a:pt x="313" y="270"/>
                  <a:pt x="313" y="270"/>
                </a:cubicBezTo>
                <a:cubicBezTo>
                  <a:pt x="313" y="275"/>
                  <a:pt x="316" y="278"/>
                  <a:pt x="321" y="278"/>
                </a:cubicBezTo>
                <a:cubicBezTo>
                  <a:pt x="757" y="278"/>
                  <a:pt x="757" y="278"/>
                  <a:pt x="757" y="278"/>
                </a:cubicBezTo>
                <a:cubicBezTo>
                  <a:pt x="761" y="278"/>
                  <a:pt x="765" y="275"/>
                  <a:pt x="765" y="270"/>
                </a:cubicBezTo>
                <a:lnTo>
                  <a:pt x="765" y="251"/>
                </a:lnTo>
                <a:close/>
                <a:moveTo>
                  <a:pt x="765" y="390"/>
                </a:moveTo>
                <a:cubicBezTo>
                  <a:pt x="765" y="386"/>
                  <a:pt x="761" y="382"/>
                  <a:pt x="757" y="382"/>
                </a:cubicBezTo>
                <a:cubicBezTo>
                  <a:pt x="321" y="382"/>
                  <a:pt x="321" y="382"/>
                  <a:pt x="321" y="382"/>
                </a:cubicBezTo>
                <a:cubicBezTo>
                  <a:pt x="316" y="382"/>
                  <a:pt x="313" y="386"/>
                  <a:pt x="313" y="390"/>
                </a:cubicBezTo>
                <a:cubicBezTo>
                  <a:pt x="313" y="409"/>
                  <a:pt x="313" y="409"/>
                  <a:pt x="313" y="409"/>
                </a:cubicBezTo>
                <a:cubicBezTo>
                  <a:pt x="313" y="414"/>
                  <a:pt x="316" y="417"/>
                  <a:pt x="321" y="417"/>
                </a:cubicBezTo>
                <a:cubicBezTo>
                  <a:pt x="757" y="417"/>
                  <a:pt x="757" y="417"/>
                  <a:pt x="757" y="417"/>
                </a:cubicBezTo>
                <a:cubicBezTo>
                  <a:pt x="761" y="417"/>
                  <a:pt x="765" y="414"/>
                  <a:pt x="765" y="409"/>
                </a:cubicBezTo>
                <a:lnTo>
                  <a:pt x="765" y="390"/>
                </a:lnTo>
                <a:close/>
                <a:moveTo>
                  <a:pt x="765" y="182"/>
                </a:moveTo>
                <a:cubicBezTo>
                  <a:pt x="765" y="177"/>
                  <a:pt x="761" y="174"/>
                  <a:pt x="757" y="174"/>
                </a:cubicBezTo>
                <a:cubicBezTo>
                  <a:pt x="321" y="174"/>
                  <a:pt x="321" y="174"/>
                  <a:pt x="321" y="174"/>
                </a:cubicBezTo>
                <a:cubicBezTo>
                  <a:pt x="316" y="174"/>
                  <a:pt x="313" y="177"/>
                  <a:pt x="313" y="182"/>
                </a:cubicBezTo>
                <a:cubicBezTo>
                  <a:pt x="313" y="201"/>
                  <a:pt x="313" y="201"/>
                  <a:pt x="313" y="201"/>
                </a:cubicBezTo>
                <a:cubicBezTo>
                  <a:pt x="313" y="205"/>
                  <a:pt x="316" y="209"/>
                  <a:pt x="321" y="209"/>
                </a:cubicBezTo>
                <a:cubicBezTo>
                  <a:pt x="757" y="209"/>
                  <a:pt x="757" y="209"/>
                  <a:pt x="757" y="209"/>
                </a:cubicBezTo>
                <a:cubicBezTo>
                  <a:pt x="761" y="209"/>
                  <a:pt x="765" y="205"/>
                  <a:pt x="765" y="201"/>
                </a:cubicBezTo>
                <a:lnTo>
                  <a:pt x="765" y="182"/>
                </a:lnTo>
                <a:close/>
                <a:moveTo>
                  <a:pt x="1041" y="743"/>
                </a:moveTo>
                <a:cubicBezTo>
                  <a:pt x="1041" y="736"/>
                  <a:pt x="1034" y="730"/>
                  <a:pt x="1027" y="730"/>
                </a:cubicBezTo>
                <a:cubicBezTo>
                  <a:pt x="501" y="730"/>
                  <a:pt x="501" y="730"/>
                  <a:pt x="501" y="730"/>
                </a:cubicBezTo>
                <a:cubicBezTo>
                  <a:pt x="497" y="730"/>
                  <a:pt x="494" y="732"/>
                  <a:pt x="491" y="735"/>
                </a:cubicBezTo>
                <a:cubicBezTo>
                  <a:pt x="488" y="737"/>
                  <a:pt x="486" y="741"/>
                  <a:pt x="487" y="745"/>
                </a:cubicBezTo>
                <a:cubicBezTo>
                  <a:pt x="487" y="746"/>
                  <a:pt x="487" y="747"/>
                  <a:pt x="487" y="747"/>
                </a:cubicBezTo>
                <a:cubicBezTo>
                  <a:pt x="487" y="815"/>
                  <a:pt x="432" y="869"/>
                  <a:pt x="365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295" y="869"/>
                  <a:pt x="243" y="819"/>
                  <a:pt x="243" y="757"/>
                </a:cubicBezTo>
                <a:cubicBezTo>
                  <a:pt x="243" y="757"/>
                  <a:pt x="243" y="243"/>
                  <a:pt x="243" y="174"/>
                </a:cubicBezTo>
                <a:cubicBezTo>
                  <a:pt x="243" y="139"/>
                  <a:pt x="243" y="139"/>
                  <a:pt x="243" y="139"/>
                </a:cubicBezTo>
                <a:cubicBezTo>
                  <a:pt x="243" y="100"/>
                  <a:pt x="212" y="69"/>
                  <a:pt x="174" y="69"/>
                </a:cubicBezTo>
                <a:cubicBezTo>
                  <a:pt x="742" y="69"/>
                  <a:pt x="742" y="69"/>
                  <a:pt x="742" y="69"/>
                </a:cubicBezTo>
                <a:cubicBezTo>
                  <a:pt x="793" y="69"/>
                  <a:pt x="834" y="111"/>
                  <a:pt x="834" y="161"/>
                </a:cubicBezTo>
                <a:cubicBezTo>
                  <a:pt x="834" y="695"/>
                  <a:pt x="834" y="695"/>
                  <a:pt x="834" y="695"/>
                </a:cubicBezTo>
                <a:cubicBezTo>
                  <a:pt x="904" y="695"/>
                  <a:pt x="904" y="695"/>
                  <a:pt x="904" y="695"/>
                </a:cubicBezTo>
                <a:cubicBezTo>
                  <a:pt x="904" y="573"/>
                  <a:pt x="904" y="326"/>
                  <a:pt x="904" y="161"/>
                </a:cubicBezTo>
                <a:cubicBezTo>
                  <a:pt x="904" y="72"/>
                  <a:pt x="832" y="0"/>
                  <a:pt x="742" y="0"/>
                </a:cubicBezTo>
                <a:cubicBezTo>
                  <a:pt x="685" y="0"/>
                  <a:pt x="685" y="0"/>
                  <a:pt x="685" y="0"/>
                </a:cubicBezTo>
                <a:cubicBezTo>
                  <a:pt x="174" y="0"/>
                  <a:pt x="174" y="0"/>
                  <a:pt x="174" y="0"/>
                </a:cubicBezTo>
                <a:cubicBezTo>
                  <a:pt x="78" y="0"/>
                  <a:pt x="0" y="78"/>
                  <a:pt x="0" y="174"/>
                </a:cubicBezTo>
                <a:cubicBezTo>
                  <a:pt x="0" y="181"/>
                  <a:pt x="0" y="188"/>
                  <a:pt x="1" y="196"/>
                </a:cubicBezTo>
                <a:cubicBezTo>
                  <a:pt x="2" y="203"/>
                  <a:pt x="8" y="209"/>
                  <a:pt x="16" y="209"/>
                </a:cubicBezTo>
                <a:cubicBezTo>
                  <a:pt x="174" y="209"/>
                  <a:pt x="174" y="209"/>
                  <a:pt x="174" y="209"/>
                </a:cubicBezTo>
                <a:cubicBezTo>
                  <a:pt x="174" y="410"/>
                  <a:pt x="174" y="694"/>
                  <a:pt x="174" y="757"/>
                </a:cubicBezTo>
                <a:cubicBezTo>
                  <a:pt x="174" y="857"/>
                  <a:pt x="256" y="939"/>
                  <a:pt x="358" y="939"/>
                </a:cubicBezTo>
                <a:cubicBezTo>
                  <a:pt x="820" y="939"/>
                  <a:pt x="820" y="939"/>
                  <a:pt x="820" y="939"/>
                </a:cubicBezTo>
                <a:cubicBezTo>
                  <a:pt x="869" y="939"/>
                  <a:pt x="869" y="939"/>
                  <a:pt x="869" y="939"/>
                </a:cubicBezTo>
                <a:cubicBezTo>
                  <a:pt x="965" y="939"/>
                  <a:pt x="1043" y="861"/>
                  <a:pt x="1043" y="765"/>
                </a:cubicBezTo>
                <a:cubicBezTo>
                  <a:pt x="1043" y="757"/>
                  <a:pt x="1042" y="750"/>
                  <a:pt x="1041" y="743"/>
                </a:cubicBezTo>
                <a:close/>
                <a:moveTo>
                  <a:pt x="765" y="529"/>
                </a:moveTo>
                <a:cubicBezTo>
                  <a:pt x="765" y="525"/>
                  <a:pt x="761" y="522"/>
                  <a:pt x="757" y="522"/>
                </a:cubicBezTo>
                <a:cubicBezTo>
                  <a:pt x="321" y="522"/>
                  <a:pt x="321" y="522"/>
                  <a:pt x="321" y="522"/>
                </a:cubicBezTo>
                <a:cubicBezTo>
                  <a:pt x="316" y="522"/>
                  <a:pt x="313" y="525"/>
                  <a:pt x="313" y="529"/>
                </a:cubicBezTo>
                <a:cubicBezTo>
                  <a:pt x="313" y="548"/>
                  <a:pt x="313" y="548"/>
                  <a:pt x="313" y="548"/>
                </a:cubicBezTo>
                <a:cubicBezTo>
                  <a:pt x="313" y="553"/>
                  <a:pt x="316" y="556"/>
                  <a:pt x="321" y="556"/>
                </a:cubicBezTo>
                <a:cubicBezTo>
                  <a:pt x="757" y="556"/>
                  <a:pt x="757" y="556"/>
                  <a:pt x="757" y="556"/>
                </a:cubicBezTo>
                <a:cubicBezTo>
                  <a:pt x="761" y="556"/>
                  <a:pt x="765" y="553"/>
                  <a:pt x="765" y="548"/>
                </a:cubicBezTo>
                <a:lnTo>
                  <a:pt x="765" y="529"/>
                </a:lnTo>
                <a:close/>
                <a:moveTo>
                  <a:pt x="765" y="460"/>
                </a:moveTo>
                <a:cubicBezTo>
                  <a:pt x="765" y="456"/>
                  <a:pt x="761" y="452"/>
                  <a:pt x="757" y="452"/>
                </a:cubicBezTo>
                <a:cubicBezTo>
                  <a:pt x="321" y="452"/>
                  <a:pt x="321" y="452"/>
                  <a:pt x="321" y="452"/>
                </a:cubicBezTo>
                <a:cubicBezTo>
                  <a:pt x="316" y="452"/>
                  <a:pt x="313" y="456"/>
                  <a:pt x="313" y="460"/>
                </a:cubicBezTo>
                <a:cubicBezTo>
                  <a:pt x="313" y="479"/>
                  <a:pt x="313" y="479"/>
                  <a:pt x="313" y="479"/>
                </a:cubicBezTo>
                <a:cubicBezTo>
                  <a:pt x="313" y="483"/>
                  <a:pt x="316" y="487"/>
                  <a:pt x="321" y="487"/>
                </a:cubicBezTo>
                <a:cubicBezTo>
                  <a:pt x="757" y="487"/>
                  <a:pt x="757" y="487"/>
                  <a:pt x="757" y="487"/>
                </a:cubicBezTo>
                <a:cubicBezTo>
                  <a:pt x="761" y="487"/>
                  <a:pt x="765" y="483"/>
                  <a:pt x="765" y="479"/>
                </a:cubicBezTo>
                <a:lnTo>
                  <a:pt x="765" y="460"/>
                </a:lnTo>
                <a:close/>
                <a:moveTo>
                  <a:pt x="765" y="599"/>
                </a:moveTo>
                <a:cubicBezTo>
                  <a:pt x="765" y="618"/>
                  <a:pt x="765" y="618"/>
                  <a:pt x="765" y="618"/>
                </a:cubicBezTo>
                <a:cubicBezTo>
                  <a:pt x="765" y="622"/>
                  <a:pt x="761" y="626"/>
                  <a:pt x="757" y="626"/>
                </a:cubicBezTo>
                <a:cubicBezTo>
                  <a:pt x="321" y="626"/>
                  <a:pt x="321" y="626"/>
                  <a:pt x="321" y="626"/>
                </a:cubicBezTo>
                <a:cubicBezTo>
                  <a:pt x="316" y="626"/>
                  <a:pt x="313" y="622"/>
                  <a:pt x="313" y="618"/>
                </a:cubicBezTo>
                <a:cubicBezTo>
                  <a:pt x="313" y="599"/>
                  <a:pt x="313" y="599"/>
                  <a:pt x="313" y="599"/>
                </a:cubicBezTo>
                <a:cubicBezTo>
                  <a:pt x="313" y="595"/>
                  <a:pt x="316" y="591"/>
                  <a:pt x="321" y="591"/>
                </a:cubicBezTo>
                <a:cubicBezTo>
                  <a:pt x="757" y="591"/>
                  <a:pt x="757" y="591"/>
                  <a:pt x="757" y="591"/>
                </a:cubicBezTo>
                <a:cubicBezTo>
                  <a:pt x="761" y="591"/>
                  <a:pt x="765" y="595"/>
                  <a:pt x="765" y="5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6E5B7E0B-C3FC-464C-B739-0FEC64D7920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200260" y="2340801"/>
            <a:ext cx="182832" cy="231961"/>
            <a:chOff x="849313" y="-539751"/>
            <a:chExt cx="8375650" cy="10623551"/>
          </a:xfrm>
          <a:solidFill>
            <a:schemeClr val="bg1">
              <a:alpha val="70000"/>
            </a:schemeClr>
          </a:solidFill>
        </p:grpSpPr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C0E5224F-46BC-4CB9-9B49-C35E8F2D141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3" y="2670175"/>
              <a:ext cx="8375650" cy="7413625"/>
            </a:xfrm>
            <a:custGeom>
              <a:avLst/>
              <a:gdLst>
                <a:gd name="T0" fmla="*/ 116 w 741"/>
                <a:gd name="T1" fmla="*/ 656 h 656"/>
                <a:gd name="T2" fmla="*/ 165 w 741"/>
                <a:gd name="T3" fmla="*/ 561 h 656"/>
                <a:gd name="T4" fmla="*/ 92 w 741"/>
                <a:gd name="T5" fmla="*/ 506 h 656"/>
                <a:gd name="T6" fmla="*/ 0 w 741"/>
                <a:gd name="T7" fmla="*/ 284 h 656"/>
                <a:gd name="T8" fmla="*/ 181 w 741"/>
                <a:gd name="T9" fmla="*/ 0 h 656"/>
                <a:gd name="T10" fmla="*/ 210 w 741"/>
                <a:gd name="T11" fmla="*/ 118 h 656"/>
                <a:gd name="T12" fmla="*/ 118 w 741"/>
                <a:gd name="T13" fmla="*/ 275 h 656"/>
                <a:gd name="T14" fmla="*/ 347 w 741"/>
                <a:gd name="T15" fmla="*/ 437 h 656"/>
                <a:gd name="T16" fmla="*/ 663 w 741"/>
                <a:gd name="T17" fmla="*/ 353 h 656"/>
                <a:gd name="T18" fmla="*/ 699 w 741"/>
                <a:gd name="T19" fmla="*/ 374 h 656"/>
                <a:gd name="T20" fmla="*/ 678 w 741"/>
                <a:gd name="T21" fmla="*/ 410 h 656"/>
                <a:gd name="T22" fmla="*/ 373 w 741"/>
                <a:gd name="T23" fmla="*/ 491 h 656"/>
                <a:gd name="T24" fmla="*/ 386 w 741"/>
                <a:gd name="T25" fmla="*/ 539 h 656"/>
                <a:gd name="T26" fmla="*/ 623 w 741"/>
                <a:gd name="T27" fmla="*/ 539 h 656"/>
                <a:gd name="T28" fmla="*/ 741 w 741"/>
                <a:gd name="T29" fmla="*/ 656 h 656"/>
                <a:gd name="T30" fmla="*/ 116 w 741"/>
                <a:gd name="T31" fmla="*/ 656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1" h="656">
                  <a:moveTo>
                    <a:pt x="116" y="656"/>
                  </a:moveTo>
                  <a:cubicBezTo>
                    <a:pt x="116" y="617"/>
                    <a:pt x="136" y="582"/>
                    <a:pt x="165" y="561"/>
                  </a:cubicBezTo>
                  <a:cubicBezTo>
                    <a:pt x="138" y="546"/>
                    <a:pt x="113" y="528"/>
                    <a:pt x="92" y="506"/>
                  </a:cubicBezTo>
                  <a:cubicBezTo>
                    <a:pt x="35" y="449"/>
                    <a:pt x="0" y="371"/>
                    <a:pt x="0" y="284"/>
                  </a:cubicBezTo>
                  <a:cubicBezTo>
                    <a:pt x="0" y="162"/>
                    <a:pt x="71" y="52"/>
                    <a:pt x="181" y="0"/>
                  </a:cubicBezTo>
                  <a:cubicBezTo>
                    <a:pt x="171" y="41"/>
                    <a:pt x="182" y="86"/>
                    <a:pt x="210" y="118"/>
                  </a:cubicBezTo>
                  <a:cubicBezTo>
                    <a:pt x="156" y="151"/>
                    <a:pt x="120" y="210"/>
                    <a:pt x="118" y="275"/>
                  </a:cubicBezTo>
                  <a:cubicBezTo>
                    <a:pt x="114" y="385"/>
                    <a:pt x="226" y="466"/>
                    <a:pt x="347" y="437"/>
                  </a:cubicBezTo>
                  <a:cubicBezTo>
                    <a:pt x="663" y="353"/>
                    <a:pt x="663" y="353"/>
                    <a:pt x="663" y="353"/>
                  </a:cubicBezTo>
                  <a:cubicBezTo>
                    <a:pt x="678" y="349"/>
                    <a:pt x="694" y="358"/>
                    <a:pt x="699" y="374"/>
                  </a:cubicBezTo>
                  <a:cubicBezTo>
                    <a:pt x="703" y="389"/>
                    <a:pt x="693" y="406"/>
                    <a:pt x="678" y="410"/>
                  </a:cubicBezTo>
                  <a:cubicBezTo>
                    <a:pt x="373" y="491"/>
                    <a:pt x="373" y="491"/>
                    <a:pt x="373" y="491"/>
                  </a:cubicBezTo>
                  <a:cubicBezTo>
                    <a:pt x="386" y="539"/>
                    <a:pt x="386" y="539"/>
                    <a:pt x="386" y="539"/>
                  </a:cubicBezTo>
                  <a:cubicBezTo>
                    <a:pt x="623" y="539"/>
                    <a:pt x="623" y="539"/>
                    <a:pt x="623" y="539"/>
                  </a:cubicBezTo>
                  <a:cubicBezTo>
                    <a:pt x="688" y="539"/>
                    <a:pt x="741" y="591"/>
                    <a:pt x="741" y="656"/>
                  </a:cubicBezTo>
                  <a:lnTo>
                    <a:pt x="116" y="6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90D34931-2226-4D73-B84C-7CAD0E1EB41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1" y="5043487"/>
              <a:ext cx="2587625" cy="1231900"/>
            </a:xfrm>
            <a:custGeom>
              <a:avLst/>
              <a:gdLst>
                <a:gd name="T0" fmla="*/ 40 w 229"/>
                <a:gd name="T1" fmla="*/ 104 h 109"/>
                <a:gd name="T2" fmla="*/ 4 w 229"/>
                <a:gd name="T3" fmla="*/ 84 h 109"/>
                <a:gd name="T4" fmla="*/ 25 w 229"/>
                <a:gd name="T5" fmla="*/ 48 h 109"/>
                <a:gd name="T6" fmla="*/ 188 w 229"/>
                <a:gd name="T7" fmla="*/ 4 h 109"/>
                <a:gd name="T8" fmla="*/ 224 w 229"/>
                <a:gd name="T9" fmla="*/ 25 h 109"/>
                <a:gd name="T10" fmla="*/ 204 w 229"/>
                <a:gd name="T11" fmla="*/ 61 h 109"/>
                <a:gd name="T12" fmla="*/ 40 w 229"/>
                <a:gd name="T13" fmla="*/ 10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109">
                  <a:moveTo>
                    <a:pt x="40" y="104"/>
                  </a:moveTo>
                  <a:cubicBezTo>
                    <a:pt x="25" y="109"/>
                    <a:pt x="9" y="99"/>
                    <a:pt x="4" y="84"/>
                  </a:cubicBezTo>
                  <a:cubicBezTo>
                    <a:pt x="0" y="68"/>
                    <a:pt x="10" y="52"/>
                    <a:pt x="25" y="48"/>
                  </a:cubicBezTo>
                  <a:cubicBezTo>
                    <a:pt x="188" y="4"/>
                    <a:pt x="188" y="4"/>
                    <a:pt x="188" y="4"/>
                  </a:cubicBezTo>
                  <a:cubicBezTo>
                    <a:pt x="204" y="0"/>
                    <a:pt x="220" y="9"/>
                    <a:pt x="224" y="25"/>
                  </a:cubicBezTo>
                  <a:cubicBezTo>
                    <a:pt x="229" y="40"/>
                    <a:pt x="219" y="57"/>
                    <a:pt x="204" y="61"/>
                  </a:cubicBezTo>
                  <a:lnTo>
                    <a:pt x="4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36039B62-E7D0-4152-BBFE-2DC2A8F732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4851" y="-539751"/>
              <a:ext cx="4092575" cy="5910263"/>
            </a:xfrm>
            <a:custGeom>
              <a:avLst/>
              <a:gdLst>
                <a:gd name="T0" fmla="*/ 105 w 362"/>
                <a:gd name="T1" fmla="*/ 348 h 523"/>
                <a:gd name="T2" fmla="*/ 69 w 362"/>
                <a:gd name="T3" fmla="*/ 327 h 523"/>
                <a:gd name="T4" fmla="*/ 90 w 362"/>
                <a:gd name="T5" fmla="*/ 291 h 523"/>
                <a:gd name="T6" fmla="*/ 126 w 362"/>
                <a:gd name="T7" fmla="*/ 312 h 523"/>
                <a:gd name="T8" fmla="*/ 105 w 362"/>
                <a:gd name="T9" fmla="*/ 348 h 523"/>
                <a:gd name="T10" fmla="*/ 358 w 362"/>
                <a:gd name="T11" fmla="*/ 441 h 523"/>
                <a:gd name="T12" fmla="*/ 271 w 362"/>
                <a:gd name="T13" fmla="*/ 115 h 523"/>
                <a:gd name="T14" fmla="*/ 233 w 362"/>
                <a:gd name="T15" fmla="*/ 93 h 523"/>
                <a:gd name="T16" fmla="*/ 206 w 362"/>
                <a:gd name="T17" fmla="*/ 101 h 523"/>
                <a:gd name="T18" fmla="*/ 182 w 362"/>
                <a:gd name="T19" fmla="*/ 12 h 523"/>
                <a:gd name="T20" fmla="*/ 164 w 362"/>
                <a:gd name="T21" fmla="*/ 2 h 523"/>
                <a:gd name="T22" fmla="*/ 93 w 362"/>
                <a:gd name="T23" fmla="*/ 21 h 523"/>
                <a:gd name="T24" fmla="*/ 83 w 362"/>
                <a:gd name="T25" fmla="*/ 39 h 523"/>
                <a:gd name="T26" fmla="*/ 107 w 362"/>
                <a:gd name="T27" fmla="*/ 127 h 523"/>
                <a:gd name="T28" fmla="*/ 80 w 362"/>
                <a:gd name="T29" fmla="*/ 135 h 523"/>
                <a:gd name="T30" fmla="*/ 58 w 362"/>
                <a:gd name="T31" fmla="*/ 172 h 523"/>
                <a:gd name="T32" fmla="*/ 75 w 362"/>
                <a:gd name="T33" fmla="*/ 235 h 523"/>
                <a:gd name="T34" fmla="*/ 12 w 362"/>
                <a:gd name="T35" fmla="*/ 342 h 523"/>
                <a:gd name="T36" fmla="*/ 120 w 362"/>
                <a:gd name="T37" fmla="*/ 405 h 523"/>
                <a:gd name="T38" fmla="*/ 120 w 362"/>
                <a:gd name="T39" fmla="*/ 405 h 523"/>
                <a:gd name="T40" fmla="*/ 145 w 362"/>
                <a:gd name="T41" fmla="*/ 498 h 523"/>
                <a:gd name="T42" fmla="*/ 181 w 362"/>
                <a:gd name="T43" fmla="*/ 518 h 523"/>
                <a:gd name="T44" fmla="*/ 337 w 362"/>
                <a:gd name="T45" fmla="*/ 477 h 523"/>
                <a:gd name="T46" fmla="*/ 358 w 362"/>
                <a:gd name="T47" fmla="*/ 441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2" h="523">
                  <a:moveTo>
                    <a:pt x="105" y="348"/>
                  </a:moveTo>
                  <a:cubicBezTo>
                    <a:pt x="89" y="352"/>
                    <a:pt x="73" y="343"/>
                    <a:pt x="69" y="327"/>
                  </a:cubicBezTo>
                  <a:cubicBezTo>
                    <a:pt x="65" y="311"/>
                    <a:pt x="74" y="295"/>
                    <a:pt x="90" y="291"/>
                  </a:cubicBezTo>
                  <a:cubicBezTo>
                    <a:pt x="106" y="287"/>
                    <a:pt x="122" y="296"/>
                    <a:pt x="126" y="312"/>
                  </a:cubicBezTo>
                  <a:cubicBezTo>
                    <a:pt x="130" y="328"/>
                    <a:pt x="121" y="344"/>
                    <a:pt x="105" y="348"/>
                  </a:cubicBezTo>
                  <a:close/>
                  <a:moveTo>
                    <a:pt x="358" y="441"/>
                  </a:moveTo>
                  <a:cubicBezTo>
                    <a:pt x="271" y="115"/>
                    <a:pt x="271" y="115"/>
                    <a:pt x="271" y="115"/>
                  </a:cubicBezTo>
                  <a:cubicBezTo>
                    <a:pt x="266" y="99"/>
                    <a:pt x="250" y="89"/>
                    <a:pt x="233" y="93"/>
                  </a:cubicBezTo>
                  <a:cubicBezTo>
                    <a:pt x="206" y="101"/>
                    <a:pt x="206" y="101"/>
                    <a:pt x="206" y="101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0" y="4"/>
                    <a:pt x="172" y="0"/>
                    <a:pt x="164" y="2"/>
                  </a:cubicBezTo>
                  <a:cubicBezTo>
                    <a:pt x="93" y="21"/>
                    <a:pt x="93" y="21"/>
                    <a:pt x="93" y="21"/>
                  </a:cubicBezTo>
                  <a:cubicBezTo>
                    <a:pt x="86" y="23"/>
                    <a:pt x="81" y="31"/>
                    <a:pt x="83" y="39"/>
                  </a:cubicBezTo>
                  <a:cubicBezTo>
                    <a:pt x="107" y="127"/>
                    <a:pt x="107" y="127"/>
                    <a:pt x="107" y="127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63" y="139"/>
                    <a:pt x="54" y="156"/>
                    <a:pt x="58" y="172"/>
                  </a:cubicBezTo>
                  <a:cubicBezTo>
                    <a:pt x="75" y="235"/>
                    <a:pt x="75" y="235"/>
                    <a:pt x="75" y="235"/>
                  </a:cubicBezTo>
                  <a:cubicBezTo>
                    <a:pt x="28" y="247"/>
                    <a:pt x="0" y="295"/>
                    <a:pt x="12" y="342"/>
                  </a:cubicBezTo>
                  <a:cubicBezTo>
                    <a:pt x="25" y="389"/>
                    <a:pt x="73" y="417"/>
                    <a:pt x="120" y="405"/>
                  </a:cubicBezTo>
                  <a:cubicBezTo>
                    <a:pt x="120" y="405"/>
                    <a:pt x="120" y="405"/>
                    <a:pt x="120" y="405"/>
                  </a:cubicBezTo>
                  <a:cubicBezTo>
                    <a:pt x="145" y="498"/>
                    <a:pt x="145" y="498"/>
                    <a:pt x="145" y="498"/>
                  </a:cubicBezTo>
                  <a:cubicBezTo>
                    <a:pt x="150" y="513"/>
                    <a:pt x="166" y="523"/>
                    <a:pt x="181" y="518"/>
                  </a:cubicBezTo>
                  <a:cubicBezTo>
                    <a:pt x="337" y="477"/>
                    <a:pt x="337" y="477"/>
                    <a:pt x="337" y="477"/>
                  </a:cubicBezTo>
                  <a:cubicBezTo>
                    <a:pt x="353" y="472"/>
                    <a:pt x="362" y="456"/>
                    <a:pt x="358" y="4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51" name="Freeform 47">
            <a:extLst>
              <a:ext uri="{FF2B5EF4-FFF2-40B4-BE49-F238E27FC236}">
                <a16:creationId xmlns:a16="http://schemas.microsoft.com/office/drawing/2014/main" id="{1DA91999-BB53-49CC-A201-1149313FC1E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74781" y="3268800"/>
            <a:ext cx="201116" cy="201139"/>
          </a:xfrm>
          <a:custGeom>
            <a:avLst/>
            <a:gdLst>
              <a:gd name="T0" fmla="*/ 951 w 981"/>
              <a:gd name="T1" fmla="*/ 842 h 981"/>
              <a:gd name="T2" fmla="*/ 711 w 981"/>
              <a:gd name="T3" fmla="*/ 603 h 981"/>
              <a:gd name="T4" fmla="*/ 603 w 981"/>
              <a:gd name="T5" fmla="*/ 107 h 981"/>
              <a:gd name="T6" fmla="*/ 107 w 981"/>
              <a:gd name="T7" fmla="*/ 216 h 981"/>
              <a:gd name="T8" fmla="*/ 216 w 981"/>
              <a:gd name="T9" fmla="*/ 712 h 981"/>
              <a:gd name="T10" fmla="*/ 603 w 981"/>
              <a:gd name="T11" fmla="*/ 712 h 981"/>
              <a:gd name="T12" fmla="*/ 842 w 981"/>
              <a:gd name="T13" fmla="*/ 951 h 981"/>
              <a:gd name="T14" fmla="*/ 951 w 981"/>
              <a:gd name="T15" fmla="*/ 951 h 981"/>
              <a:gd name="T16" fmla="*/ 951 w 981"/>
              <a:gd name="T17" fmla="*/ 843 h 981"/>
              <a:gd name="T18" fmla="*/ 951 w 981"/>
              <a:gd name="T19" fmla="*/ 842 h 981"/>
              <a:gd name="T20" fmla="*/ 153 w 981"/>
              <a:gd name="T21" fmla="*/ 410 h 981"/>
              <a:gd name="T22" fmla="*/ 410 w 981"/>
              <a:gd name="T23" fmla="*/ 153 h 981"/>
              <a:gd name="T24" fmla="*/ 666 w 981"/>
              <a:gd name="T25" fmla="*/ 410 h 981"/>
              <a:gd name="T26" fmla="*/ 410 w 981"/>
              <a:gd name="T27" fmla="*/ 666 h 981"/>
              <a:gd name="T28" fmla="*/ 153 w 981"/>
              <a:gd name="T29" fmla="*/ 410 h 9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81" h="981">
                <a:moveTo>
                  <a:pt x="951" y="842"/>
                </a:moveTo>
                <a:cubicBezTo>
                  <a:pt x="711" y="603"/>
                  <a:pt x="711" y="603"/>
                  <a:pt x="711" y="603"/>
                </a:cubicBezTo>
                <a:cubicBezTo>
                  <a:pt x="818" y="436"/>
                  <a:pt x="770" y="214"/>
                  <a:pt x="603" y="107"/>
                </a:cubicBezTo>
                <a:cubicBezTo>
                  <a:pt x="436" y="0"/>
                  <a:pt x="214" y="49"/>
                  <a:pt x="107" y="216"/>
                </a:cubicBezTo>
                <a:cubicBezTo>
                  <a:pt x="0" y="383"/>
                  <a:pt x="49" y="605"/>
                  <a:pt x="216" y="712"/>
                </a:cubicBezTo>
                <a:cubicBezTo>
                  <a:pt x="334" y="787"/>
                  <a:pt x="485" y="787"/>
                  <a:pt x="603" y="712"/>
                </a:cubicBezTo>
                <a:cubicBezTo>
                  <a:pt x="842" y="951"/>
                  <a:pt x="842" y="951"/>
                  <a:pt x="842" y="951"/>
                </a:cubicBezTo>
                <a:cubicBezTo>
                  <a:pt x="872" y="981"/>
                  <a:pt x="921" y="981"/>
                  <a:pt x="951" y="951"/>
                </a:cubicBezTo>
                <a:cubicBezTo>
                  <a:pt x="981" y="921"/>
                  <a:pt x="981" y="873"/>
                  <a:pt x="951" y="843"/>
                </a:cubicBezTo>
                <a:cubicBezTo>
                  <a:pt x="951" y="843"/>
                  <a:pt x="951" y="842"/>
                  <a:pt x="951" y="842"/>
                </a:cubicBezTo>
                <a:close/>
                <a:moveTo>
                  <a:pt x="153" y="410"/>
                </a:moveTo>
                <a:cubicBezTo>
                  <a:pt x="153" y="268"/>
                  <a:pt x="268" y="153"/>
                  <a:pt x="410" y="153"/>
                </a:cubicBezTo>
                <a:cubicBezTo>
                  <a:pt x="551" y="153"/>
                  <a:pt x="666" y="268"/>
                  <a:pt x="666" y="410"/>
                </a:cubicBezTo>
                <a:cubicBezTo>
                  <a:pt x="666" y="551"/>
                  <a:pt x="551" y="666"/>
                  <a:pt x="410" y="666"/>
                </a:cubicBezTo>
                <a:cubicBezTo>
                  <a:pt x="268" y="666"/>
                  <a:pt x="153" y="551"/>
                  <a:pt x="153" y="41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BAFB4CB-6316-4DE7-B036-F004E8D1128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84359" y="2786642"/>
            <a:ext cx="219317" cy="283896"/>
            <a:chOff x="10758416" y="1419641"/>
            <a:chExt cx="3297184" cy="4266944"/>
          </a:xfrm>
          <a:solidFill>
            <a:schemeClr val="bg1">
              <a:alpha val="80000"/>
            </a:schemeClr>
          </a:solidFill>
        </p:grpSpPr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F2828277-BF2D-4AE5-8107-BC302A5550E6}"/>
                </a:ext>
              </a:extLst>
            </p:cNvPr>
            <p:cNvSpPr/>
            <p:nvPr/>
          </p:nvSpPr>
          <p:spPr>
            <a:xfrm>
              <a:off x="10758416" y="1419641"/>
              <a:ext cx="3297184" cy="4266944"/>
            </a:xfrm>
            <a:custGeom>
              <a:avLst/>
              <a:gdLst>
                <a:gd name="connsiteX0" fmla="*/ 2763817 w 3297184"/>
                <a:gd name="connsiteY0" fmla="*/ 1939520 h 4266944"/>
                <a:gd name="connsiteX1" fmla="*/ 2424401 w 3297184"/>
                <a:gd name="connsiteY1" fmla="*/ 1600104 h 4266944"/>
                <a:gd name="connsiteX2" fmla="*/ 2763817 w 3297184"/>
                <a:gd name="connsiteY2" fmla="*/ 1260688 h 4266944"/>
                <a:gd name="connsiteX3" fmla="*/ 3103233 w 3297184"/>
                <a:gd name="connsiteY3" fmla="*/ 1600104 h 4266944"/>
                <a:gd name="connsiteX4" fmla="*/ 2763817 w 3297184"/>
                <a:gd name="connsiteY4" fmla="*/ 1939520 h 4266944"/>
                <a:gd name="connsiteX5" fmla="*/ 3297185 w 3297184"/>
                <a:gd name="connsiteY5" fmla="*/ 1600104 h 4266944"/>
                <a:gd name="connsiteX6" fmla="*/ 2763817 w 3297184"/>
                <a:gd name="connsiteY6" fmla="*/ 1066736 h 4266944"/>
                <a:gd name="connsiteX7" fmla="*/ 2230449 w 3297184"/>
                <a:gd name="connsiteY7" fmla="*/ 1600104 h 4266944"/>
                <a:gd name="connsiteX8" fmla="*/ 2618353 w 3297184"/>
                <a:gd name="connsiteY8" fmla="*/ 2114077 h 4266944"/>
                <a:gd name="connsiteX9" fmla="*/ 2618353 w 3297184"/>
                <a:gd name="connsiteY9" fmla="*/ 3248697 h 4266944"/>
                <a:gd name="connsiteX10" fmla="*/ 1891032 w 3297184"/>
                <a:gd name="connsiteY10" fmla="*/ 3976017 h 4266944"/>
                <a:gd name="connsiteX11" fmla="*/ 1163712 w 3297184"/>
                <a:gd name="connsiteY11" fmla="*/ 3248697 h 4266944"/>
                <a:gd name="connsiteX12" fmla="*/ 1163712 w 3297184"/>
                <a:gd name="connsiteY12" fmla="*/ 2754119 h 4266944"/>
                <a:gd name="connsiteX13" fmla="*/ 2036496 w 3297184"/>
                <a:gd name="connsiteY13" fmla="*/ 1745568 h 4266944"/>
                <a:gd name="connsiteX14" fmla="*/ 1939520 w 3297184"/>
                <a:gd name="connsiteY14" fmla="*/ 1580709 h 4266944"/>
                <a:gd name="connsiteX15" fmla="*/ 1939520 w 3297184"/>
                <a:gd name="connsiteY15" fmla="*/ 387904 h 4266944"/>
                <a:gd name="connsiteX16" fmla="*/ 1687383 w 3297184"/>
                <a:gd name="connsiteY16" fmla="*/ 101825 h 4266944"/>
                <a:gd name="connsiteX17" fmla="*/ 1551616 w 3297184"/>
                <a:gd name="connsiteY17" fmla="*/ 0 h 4266944"/>
                <a:gd name="connsiteX18" fmla="*/ 1503128 w 3297184"/>
                <a:gd name="connsiteY18" fmla="*/ 0 h 4266944"/>
                <a:gd name="connsiteX19" fmla="*/ 1309176 w 3297184"/>
                <a:gd name="connsiteY19" fmla="*/ 193952 h 4266944"/>
                <a:gd name="connsiteX20" fmla="*/ 1503128 w 3297184"/>
                <a:gd name="connsiteY20" fmla="*/ 387904 h 4266944"/>
                <a:gd name="connsiteX21" fmla="*/ 1551616 w 3297184"/>
                <a:gd name="connsiteY21" fmla="*/ 387904 h 4266944"/>
                <a:gd name="connsiteX22" fmla="*/ 1687383 w 3297184"/>
                <a:gd name="connsiteY22" fmla="*/ 300626 h 4266944"/>
                <a:gd name="connsiteX23" fmla="*/ 1745568 w 3297184"/>
                <a:gd name="connsiteY23" fmla="*/ 387904 h 4266944"/>
                <a:gd name="connsiteX24" fmla="*/ 1745568 w 3297184"/>
                <a:gd name="connsiteY24" fmla="*/ 1580709 h 4266944"/>
                <a:gd name="connsiteX25" fmla="*/ 1648592 w 3297184"/>
                <a:gd name="connsiteY25" fmla="*/ 1745568 h 4266944"/>
                <a:gd name="connsiteX26" fmla="*/ 1018248 w 3297184"/>
                <a:gd name="connsiteY26" fmla="*/ 2375913 h 4266944"/>
                <a:gd name="connsiteX27" fmla="*/ 387904 w 3297184"/>
                <a:gd name="connsiteY27" fmla="*/ 1745568 h 4266944"/>
                <a:gd name="connsiteX28" fmla="*/ 290928 w 3297184"/>
                <a:gd name="connsiteY28" fmla="*/ 1580709 h 4266944"/>
                <a:gd name="connsiteX29" fmla="*/ 290928 w 3297184"/>
                <a:gd name="connsiteY29" fmla="*/ 387904 h 4266944"/>
                <a:gd name="connsiteX30" fmla="*/ 349114 w 3297184"/>
                <a:gd name="connsiteY30" fmla="*/ 300626 h 4266944"/>
                <a:gd name="connsiteX31" fmla="*/ 484880 w 3297184"/>
                <a:gd name="connsiteY31" fmla="*/ 387904 h 4266944"/>
                <a:gd name="connsiteX32" fmla="*/ 533368 w 3297184"/>
                <a:gd name="connsiteY32" fmla="*/ 387904 h 4266944"/>
                <a:gd name="connsiteX33" fmla="*/ 727320 w 3297184"/>
                <a:gd name="connsiteY33" fmla="*/ 193952 h 4266944"/>
                <a:gd name="connsiteX34" fmla="*/ 533368 w 3297184"/>
                <a:gd name="connsiteY34" fmla="*/ 0 h 4266944"/>
                <a:gd name="connsiteX35" fmla="*/ 484880 w 3297184"/>
                <a:gd name="connsiteY35" fmla="*/ 0 h 4266944"/>
                <a:gd name="connsiteX36" fmla="*/ 349114 w 3297184"/>
                <a:gd name="connsiteY36" fmla="*/ 101825 h 4266944"/>
                <a:gd name="connsiteX37" fmla="*/ 96976 w 3297184"/>
                <a:gd name="connsiteY37" fmla="*/ 387904 h 4266944"/>
                <a:gd name="connsiteX38" fmla="*/ 96976 w 3297184"/>
                <a:gd name="connsiteY38" fmla="*/ 1580709 h 4266944"/>
                <a:gd name="connsiteX39" fmla="*/ 0 w 3297184"/>
                <a:gd name="connsiteY39" fmla="*/ 1745568 h 4266944"/>
                <a:gd name="connsiteX40" fmla="*/ 872784 w 3297184"/>
                <a:gd name="connsiteY40" fmla="*/ 2754119 h 4266944"/>
                <a:gd name="connsiteX41" fmla="*/ 872784 w 3297184"/>
                <a:gd name="connsiteY41" fmla="*/ 3248697 h 4266944"/>
                <a:gd name="connsiteX42" fmla="*/ 1891032 w 3297184"/>
                <a:gd name="connsiteY42" fmla="*/ 4266945 h 4266944"/>
                <a:gd name="connsiteX43" fmla="*/ 2909281 w 3297184"/>
                <a:gd name="connsiteY43" fmla="*/ 3248697 h 4266944"/>
                <a:gd name="connsiteX44" fmla="*/ 2909281 w 3297184"/>
                <a:gd name="connsiteY44" fmla="*/ 2114077 h 4266944"/>
                <a:gd name="connsiteX45" fmla="*/ 3297185 w 3297184"/>
                <a:gd name="connsiteY45" fmla="*/ 1600104 h 4266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3297184" h="4266944">
                  <a:moveTo>
                    <a:pt x="2763817" y="1939520"/>
                  </a:moveTo>
                  <a:cubicBezTo>
                    <a:pt x="2574713" y="1939520"/>
                    <a:pt x="2424401" y="1789208"/>
                    <a:pt x="2424401" y="1600104"/>
                  </a:cubicBezTo>
                  <a:cubicBezTo>
                    <a:pt x="2424401" y="1411001"/>
                    <a:pt x="2574713" y="1260688"/>
                    <a:pt x="2763817" y="1260688"/>
                  </a:cubicBezTo>
                  <a:cubicBezTo>
                    <a:pt x="2952920" y="1260688"/>
                    <a:pt x="3103233" y="1411001"/>
                    <a:pt x="3103233" y="1600104"/>
                  </a:cubicBezTo>
                  <a:cubicBezTo>
                    <a:pt x="3103233" y="1789208"/>
                    <a:pt x="2952920" y="1939520"/>
                    <a:pt x="2763817" y="1939520"/>
                  </a:cubicBezTo>
                  <a:close/>
                  <a:moveTo>
                    <a:pt x="3297185" y="1600104"/>
                  </a:moveTo>
                  <a:cubicBezTo>
                    <a:pt x="3297185" y="1304328"/>
                    <a:pt x="3059594" y="1066736"/>
                    <a:pt x="2763817" y="1066736"/>
                  </a:cubicBezTo>
                  <a:cubicBezTo>
                    <a:pt x="2468040" y="1066736"/>
                    <a:pt x="2230449" y="1304328"/>
                    <a:pt x="2230449" y="1600104"/>
                  </a:cubicBezTo>
                  <a:cubicBezTo>
                    <a:pt x="2230449" y="1842544"/>
                    <a:pt x="2395308" y="2051043"/>
                    <a:pt x="2618353" y="2114077"/>
                  </a:cubicBezTo>
                  <a:lnTo>
                    <a:pt x="2618353" y="3248697"/>
                  </a:lnTo>
                  <a:cubicBezTo>
                    <a:pt x="2618353" y="3651147"/>
                    <a:pt x="2293483" y="3976017"/>
                    <a:pt x="1891032" y="3976017"/>
                  </a:cubicBezTo>
                  <a:cubicBezTo>
                    <a:pt x="1488582" y="3976017"/>
                    <a:pt x="1163712" y="3651147"/>
                    <a:pt x="1163712" y="3248697"/>
                  </a:cubicBezTo>
                  <a:lnTo>
                    <a:pt x="1163712" y="2754119"/>
                  </a:lnTo>
                  <a:cubicBezTo>
                    <a:pt x="1658290" y="2681387"/>
                    <a:pt x="2036496" y="2259541"/>
                    <a:pt x="2036496" y="1745568"/>
                  </a:cubicBezTo>
                  <a:cubicBezTo>
                    <a:pt x="2036496" y="1672836"/>
                    <a:pt x="1997706" y="1609802"/>
                    <a:pt x="1939520" y="1580709"/>
                  </a:cubicBezTo>
                  <a:lnTo>
                    <a:pt x="1939520" y="387904"/>
                  </a:lnTo>
                  <a:cubicBezTo>
                    <a:pt x="1939520" y="242440"/>
                    <a:pt x="1827998" y="121220"/>
                    <a:pt x="1687383" y="101825"/>
                  </a:cubicBezTo>
                  <a:cubicBezTo>
                    <a:pt x="1667988" y="43639"/>
                    <a:pt x="1614651" y="0"/>
                    <a:pt x="1551616" y="0"/>
                  </a:cubicBezTo>
                  <a:lnTo>
                    <a:pt x="1503128" y="0"/>
                  </a:lnTo>
                  <a:cubicBezTo>
                    <a:pt x="1396455" y="0"/>
                    <a:pt x="1309176" y="87278"/>
                    <a:pt x="1309176" y="193952"/>
                  </a:cubicBezTo>
                  <a:cubicBezTo>
                    <a:pt x="1309176" y="300626"/>
                    <a:pt x="1396455" y="387904"/>
                    <a:pt x="1503128" y="387904"/>
                  </a:cubicBezTo>
                  <a:lnTo>
                    <a:pt x="1551616" y="387904"/>
                  </a:lnTo>
                  <a:cubicBezTo>
                    <a:pt x="1609802" y="387904"/>
                    <a:pt x="1663139" y="349114"/>
                    <a:pt x="1687383" y="300626"/>
                  </a:cubicBezTo>
                  <a:cubicBezTo>
                    <a:pt x="1721324" y="315172"/>
                    <a:pt x="1745568" y="349114"/>
                    <a:pt x="1745568" y="387904"/>
                  </a:cubicBezTo>
                  <a:lnTo>
                    <a:pt x="1745568" y="1580709"/>
                  </a:lnTo>
                  <a:cubicBezTo>
                    <a:pt x="1687383" y="1614651"/>
                    <a:pt x="1648592" y="1677685"/>
                    <a:pt x="1648592" y="1745568"/>
                  </a:cubicBezTo>
                  <a:cubicBezTo>
                    <a:pt x="1648592" y="2094682"/>
                    <a:pt x="1367362" y="2375913"/>
                    <a:pt x="1018248" y="2375913"/>
                  </a:cubicBezTo>
                  <a:cubicBezTo>
                    <a:pt x="669135" y="2375913"/>
                    <a:pt x="387904" y="2094682"/>
                    <a:pt x="387904" y="1745568"/>
                  </a:cubicBezTo>
                  <a:cubicBezTo>
                    <a:pt x="387904" y="1672836"/>
                    <a:pt x="349114" y="1609802"/>
                    <a:pt x="290928" y="1580709"/>
                  </a:cubicBezTo>
                  <a:lnTo>
                    <a:pt x="290928" y="387904"/>
                  </a:lnTo>
                  <a:cubicBezTo>
                    <a:pt x="290928" y="349114"/>
                    <a:pt x="315172" y="315172"/>
                    <a:pt x="349114" y="300626"/>
                  </a:cubicBezTo>
                  <a:cubicBezTo>
                    <a:pt x="373358" y="353963"/>
                    <a:pt x="421846" y="387904"/>
                    <a:pt x="484880" y="387904"/>
                  </a:cubicBezTo>
                  <a:lnTo>
                    <a:pt x="533368" y="387904"/>
                  </a:lnTo>
                  <a:cubicBezTo>
                    <a:pt x="640042" y="387904"/>
                    <a:pt x="727320" y="300626"/>
                    <a:pt x="727320" y="193952"/>
                  </a:cubicBezTo>
                  <a:cubicBezTo>
                    <a:pt x="727320" y="87278"/>
                    <a:pt x="640042" y="0"/>
                    <a:pt x="533368" y="0"/>
                  </a:cubicBezTo>
                  <a:lnTo>
                    <a:pt x="484880" y="0"/>
                  </a:lnTo>
                  <a:cubicBezTo>
                    <a:pt x="421846" y="0"/>
                    <a:pt x="368509" y="43639"/>
                    <a:pt x="349114" y="101825"/>
                  </a:cubicBezTo>
                  <a:cubicBezTo>
                    <a:pt x="208498" y="121220"/>
                    <a:pt x="96976" y="242440"/>
                    <a:pt x="96976" y="387904"/>
                  </a:cubicBezTo>
                  <a:lnTo>
                    <a:pt x="96976" y="1580709"/>
                  </a:lnTo>
                  <a:cubicBezTo>
                    <a:pt x="38790" y="1614651"/>
                    <a:pt x="0" y="1677685"/>
                    <a:pt x="0" y="1745568"/>
                  </a:cubicBezTo>
                  <a:cubicBezTo>
                    <a:pt x="0" y="2259541"/>
                    <a:pt x="378206" y="2681387"/>
                    <a:pt x="872784" y="2754119"/>
                  </a:cubicBezTo>
                  <a:lnTo>
                    <a:pt x="872784" y="3248697"/>
                  </a:lnTo>
                  <a:cubicBezTo>
                    <a:pt x="872784" y="3811158"/>
                    <a:pt x="1328572" y="4266945"/>
                    <a:pt x="1891032" y="4266945"/>
                  </a:cubicBezTo>
                  <a:cubicBezTo>
                    <a:pt x="2453493" y="4266945"/>
                    <a:pt x="2909281" y="3811158"/>
                    <a:pt x="2909281" y="3248697"/>
                  </a:cubicBezTo>
                  <a:lnTo>
                    <a:pt x="2909281" y="2114077"/>
                  </a:lnTo>
                  <a:cubicBezTo>
                    <a:pt x="3132326" y="2051043"/>
                    <a:pt x="3297185" y="1842544"/>
                    <a:pt x="3297185" y="1600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ED0727AC-B205-4ED5-AC0F-73C27B0802C6}"/>
                </a:ext>
              </a:extLst>
            </p:cNvPr>
            <p:cNvSpPr/>
            <p:nvPr/>
          </p:nvSpPr>
          <p:spPr>
            <a:xfrm>
              <a:off x="13279792" y="2777305"/>
              <a:ext cx="484880" cy="484880"/>
            </a:xfrm>
            <a:custGeom>
              <a:avLst/>
              <a:gdLst>
                <a:gd name="connsiteX0" fmla="*/ 484880 w 484880"/>
                <a:gd name="connsiteY0" fmla="*/ 242440 h 484880"/>
                <a:gd name="connsiteX1" fmla="*/ 242440 w 484880"/>
                <a:gd name="connsiteY1" fmla="*/ 484880 h 484880"/>
                <a:gd name="connsiteX2" fmla="*/ 0 w 484880"/>
                <a:gd name="connsiteY2" fmla="*/ 242440 h 484880"/>
                <a:gd name="connsiteX3" fmla="*/ 242440 w 484880"/>
                <a:gd name="connsiteY3" fmla="*/ 0 h 484880"/>
                <a:gd name="connsiteX4" fmla="*/ 484880 w 484880"/>
                <a:gd name="connsiteY4" fmla="*/ 242440 h 484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880" h="484880">
                  <a:moveTo>
                    <a:pt x="484880" y="242440"/>
                  </a:moveTo>
                  <a:cubicBezTo>
                    <a:pt x="484880" y="376336"/>
                    <a:pt x="376336" y="484880"/>
                    <a:pt x="242440" y="484880"/>
                  </a:cubicBezTo>
                  <a:cubicBezTo>
                    <a:pt x="108544" y="484880"/>
                    <a:pt x="0" y="376336"/>
                    <a:pt x="0" y="242440"/>
                  </a:cubicBezTo>
                  <a:cubicBezTo>
                    <a:pt x="0" y="108544"/>
                    <a:pt x="108544" y="0"/>
                    <a:pt x="242440" y="0"/>
                  </a:cubicBezTo>
                  <a:cubicBezTo>
                    <a:pt x="376336" y="0"/>
                    <a:pt x="484880" y="108544"/>
                    <a:pt x="484880" y="2424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EC44AE4-CE6E-4997-9D90-A23E33C3CC97}"/>
              </a:ext>
            </a:extLst>
          </p:cNvPr>
          <p:cNvGrpSpPr/>
          <p:nvPr userDrawn="1"/>
        </p:nvGrpSpPr>
        <p:grpSpPr>
          <a:xfrm>
            <a:off x="11169212" y="3702633"/>
            <a:ext cx="229989" cy="225311"/>
            <a:chOff x="2634853" y="3844528"/>
            <a:chExt cx="261938" cy="268319"/>
          </a:xfrm>
          <a:solidFill>
            <a:schemeClr val="bg1">
              <a:alpha val="80000"/>
            </a:schemeClr>
          </a:solidFill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893398CA-21C9-41E3-A822-236A6FD920F6}"/>
                </a:ext>
              </a:extLst>
            </p:cNvPr>
            <p:cNvSpPr/>
            <p:nvPr/>
          </p:nvSpPr>
          <p:spPr>
            <a:xfrm>
              <a:off x="2634853" y="3965972"/>
              <a:ext cx="34366" cy="108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98419A17-AB89-4B6C-BD53-8CD68A3CB60B}"/>
                </a:ext>
              </a:extLst>
            </p:cNvPr>
            <p:cNvSpPr/>
            <p:nvPr/>
          </p:nvSpPr>
          <p:spPr>
            <a:xfrm>
              <a:off x="2691746" y="3894534"/>
              <a:ext cx="34366" cy="18024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C78A4C4D-3842-4B5A-897E-4DED0F96EBE2}"/>
                </a:ext>
              </a:extLst>
            </p:cNvPr>
            <p:cNvSpPr/>
            <p:nvPr/>
          </p:nvSpPr>
          <p:spPr>
            <a:xfrm>
              <a:off x="2748639" y="3992166"/>
              <a:ext cx="34366" cy="826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06B5947F-975D-4716-A4CB-E874986D6B70}"/>
                </a:ext>
              </a:extLst>
            </p:cNvPr>
            <p:cNvSpPr/>
            <p:nvPr/>
          </p:nvSpPr>
          <p:spPr>
            <a:xfrm>
              <a:off x="2805532" y="3942160"/>
              <a:ext cx="34366" cy="13261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1EDDAB68-E105-4232-9897-E29AED8F6390}"/>
                </a:ext>
              </a:extLst>
            </p:cNvPr>
            <p:cNvSpPr/>
            <p:nvPr/>
          </p:nvSpPr>
          <p:spPr>
            <a:xfrm>
              <a:off x="2862425" y="3844528"/>
              <a:ext cx="34366" cy="2302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A45D5077-6EA2-4584-999A-16E113A84618}"/>
                </a:ext>
              </a:extLst>
            </p:cNvPr>
            <p:cNvSpPr/>
            <p:nvPr/>
          </p:nvSpPr>
          <p:spPr>
            <a:xfrm>
              <a:off x="2634853" y="4094559"/>
              <a:ext cx="261938" cy="1828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C05AC013-C6A2-4A76-BCF6-EE71D708490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841423" y="4609169"/>
            <a:ext cx="247314" cy="241130"/>
            <a:chOff x="2578100" y="0"/>
            <a:chExt cx="11628438" cy="11334750"/>
          </a:xfrm>
          <a:solidFill>
            <a:schemeClr val="bg1">
              <a:alpha val="80000"/>
            </a:schemeClr>
          </a:solidFill>
        </p:grpSpPr>
        <p:sp>
          <p:nvSpPr>
            <p:cNvPr id="63" name="Freeform 15">
              <a:extLst>
                <a:ext uri="{FF2B5EF4-FFF2-40B4-BE49-F238E27FC236}">
                  <a16:creationId xmlns:a16="http://schemas.microsoft.com/office/drawing/2014/main" id="{C20CC116-AC73-4580-B31C-CFA77FEED3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2263" y="0"/>
              <a:ext cx="4994275" cy="5073650"/>
            </a:xfrm>
            <a:custGeom>
              <a:avLst/>
              <a:gdLst>
                <a:gd name="T0" fmla="*/ 211 w 442"/>
                <a:gd name="T1" fmla="*/ 137 h 449"/>
                <a:gd name="T2" fmla="*/ 308 w 442"/>
                <a:gd name="T3" fmla="*/ 215 h 449"/>
                <a:gd name="T4" fmla="*/ 231 w 442"/>
                <a:gd name="T5" fmla="*/ 312 h 449"/>
                <a:gd name="T6" fmla="*/ 133 w 442"/>
                <a:gd name="T7" fmla="*/ 235 h 449"/>
                <a:gd name="T8" fmla="*/ 211 w 442"/>
                <a:gd name="T9" fmla="*/ 137 h 449"/>
                <a:gd name="T10" fmla="*/ 65 w 442"/>
                <a:gd name="T11" fmla="*/ 283 h 449"/>
                <a:gd name="T12" fmla="*/ 16 w 442"/>
                <a:gd name="T13" fmla="*/ 320 h 449"/>
                <a:gd name="T14" fmla="*/ 71 w 442"/>
                <a:gd name="T15" fmla="*/ 394 h 449"/>
                <a:gd name="T16" fmla="*/ 121 w 442"/>
                <a:gd name="T17" fmla="*/ 357 h 449"/>
                <a:gd name="T18" fmla="*/ 194 w 442"/>
                <a:gd name="T19" fmla="*/ 389 h 449"/>
                <a:gd name="T20" fmla="*/ 201 w 442"/>
                <a:gd name="T21" fmla="*/ 449 h 449"/>
                <a:gd name="T22" fmla="*/ 292 w 442"/>
                <a:gd name="T23" fmla="*/ 439 h 449"/>
                <a:gd name="T24" fmla="*/ 285 w 442"/>
                <a:gd name="T25" fmla="*/ 378 h 449"/>
                <a:gd name="T26" fmla="*/ 349 w 442"/>
                <a:gd name="T27" fmla="*/ 330 h 449"/>
                <a:gd name="T28" fmla="*/ 405 w 442"/>
                <a:gd name="T29" fmla="*/ 354 h 449"/>
                <a:gd name="T30" fmla="*/ 442 w 442"/>
                <a:gd name="T31" fmla="*/ 270 h 449"/>
                <a:gd name="T32" fmla="*/ 385 w 442"/>
                <a:gd name="T33" fmla="*/ 246 h 449"/>
                <a:gd name="T34" fmla="*/ 376 w 442"/>
                <a:gd name="T35" fmla="*/ 166 h 449"/>
                <a:gd name="T36" fmla="*/ 425 w 442"/>
                <a:gd name="T37" fmla="*/ 130 h 449"/>
                <a:gd name="T38" fmla="*/ 370 w 442"/>
                <a:gd name="T39" fmla="*/ 56 h 449"/>
                <a:gd name="T40" fmla="*/ 321 w 442"/>
                <a:gd name="T41" fmla="*/ 93 h 449"/>
                <a:gd name="T42" fmla="*/ 248 w 442"/>
                <a:gd name="T43" fmla="*/ 61 h 449"/>
                <a:gd name="T44" fmla="*/ 241 w 442"/>
                <a:gd name="T45" fmla="*/ 0 h 449"/>
                <a:gd name="T46" fmla="*/ 149 w 442"/>
                <a:gd name="T47" fmla="*/ 11 h 449"/>
                <a:gd name="T48" fmla="*/ 156 w 442"/>
                <a:gd name="T49" fmla="*/ 72 h 449"/>
                <a:gd name="T50" fmla="*/ 93 w 442"/>
                <a:gd name="T51" fmla="*/ 119 h 449"/>
                <a:gd name="T52" fmla="*/ 36 w 442"/>
                <a:gd name="T53" fmla="*/ 95 h 449"/>
                <a:gd name="T54" fmla="*/ 0 w 442"/>
                <a:gd name="T55" fmla="*/ 180 h 449"/>
                <a:gd name="T56" fmla="*/ 56 w 442"/>
                <a:gd name="T57" fmla="*/ 204 h 449"/>
                <a:gd name="T58" fmla="*/ 65 w 442"/>
                <a:gd name="T59" fmla="*/ 283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2" h="449">
                  <a:moveTo>
                    <a:pt x="211" y="137"/>
                  </a:moveTo>
                  <a:cubicBezTo>
                    <a:pt x="259" y="132"/>
                    <a:pt x="303" y="166"/>
                    <a:pt x="308" y="215"/>
                  </a:cubicBezTo>
                  <a:cubicBezTo>
                    <a:pt x="314" y="263"/>
                    <a:pt x="279" y="307"/>
                    <a:pt x="231" y="312"/>
                  </a:cubicBezTo>
                  <a:cubicBezTo>
                    <a:pt x="183" y="318"/>
                    <a:pt x="139" y="283"/>
                    <a:pt x="133" y="235"/>
                  </a:cubicBezTo>
                  <a:cubicBezTo>
                    <a:pt x="128" y="187"/>
                    <a:pt x="162" y="143"/>
                    <a:pt x="211" y="137"/>
                  </a:cubicBezTo>
                  <a:close/>
                  <a:moveTo>
                    <a:pt x="65" y="283"/>
                  </a:moveTo>
                  <a:cubicBezTo>
                    <a:pt x="16" y="320"/>
                    <a:pt x="16" y="320"/>
                    <a:pt x="16" y="320"/>
                  </a:cubicBezTo>
                  <a:cubicBezTo>
                    <a:pt x="71" y="394"/>
                    <a:pt x="71" y="394"/>
                    <a:pt x="71" y="394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94" y="389"/>
                    <a:pt x="194" y="389"/>
                    <a:pt x="194" y="389"/>
                  </a:cubicBezTo>
                  <a:cubicBezTo>
                    <a:pt x="201" y="449"/>
                    <a:pt x="201" y="449"/>
                    <a:pt x="201" y="449"/>
                  </a:cubicBezTo>
                  <a:cubicBezTo>
                    <a:pt x="292" y="439"/>
                    <a:pt x="292" y="439"/>
                    <a:pt x="292" y="439"/>
                  </a:cubicBezTo>
                  <a:cubicBezTo>
                    <a:pt x="285" y="378"/>
                    <a:pt x="285" y="378"/>
                    <a:pt x="285" y="378"/>
                  </a:cubicBezTo>
                  <a:cubicBezTo>
                    <a:pt x="349" y="330"/>
                    <a:pt x="349" y="330"/>
                    <a:pt x="349" y="330"/>
                  </a:cubicBezTo>
                  <a:cubicBezTo>
                    <a:pt x="405" y="354"/>
                    <a:pt x="405" y="354"/>
                    <a:pt x="405" y="354"/>
                  </a:cubicBezTo>
                  <a:cubicBezTo>
                    <a:pt x="442" y="270"/>
                    <a:pt x="442" y="270"/>
                    <a:pt x="442" y="270"/>
                  </a:cubicBezTo>
                  <a:cubicBezTo>
                    <a:pt x="385" y="246"/>
                    <a:pt x="385" y="246"/>
                    <a:pt x="385" y="246"/>
                  </a:cubicBezTo>
                  <a:cubicBezTo>
                    <a:pt x="376" y="166"/>
                    <a:pt x="376" y="166"/>
                    <a:pt x="376" y="166"/>
                  </a:cubicBezTo>
                  <a:cubicBezTo>
                    <a:pt x="425" y="130"/>
                    <a:pt x="425" y="130"/>
                    <a:pt x="425" y="130"/>
                  </a:cubicBezTo>
                  <a:cubicBezTo>
                    <a:pt x="370" y="56"/>
                    <a:pt x="370" y="56"/>
                    <a:pt x="370" y="56"/>
                  </a:cubicBezTo>
                  <a:cubicBezTo>
                    <a:pt x="321" y="93"/>
                    <a:pt x="321" y="93"/>
                    <a:pt x="321" y="93"/>
                  </a:cubicBezTo>
                  <a:cubicBezTo>
                    <a:pt x="248" y="61"/>
                    <a:pt x="248" y="61"/>
                    <a:pt x="248" y="61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56" y="72"/>
                    <a:pt x="156" y="72"/>
                    <a:pt x="156" y="72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36" y="95"/>
                    <a:pt x="36" y="95"/>
                    <a:pt x="36" y="95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56" y="204"/>
                    <a:pt x="56" y="204"/>
                    <a:pt x="56" y="204"/>
                  </a:cubicBezTo>
                  <a:lnTo>
                    <a:pt x="65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65" name="Freeform 16">
              <a:extLst>
                <a:ext uri="{FF2B5EF4-FFF2-40B4-BE49-F238E27FC236}">
                  <a16:creationId xmlns:a16="http://schemas.microsoft.com/office/drawing/2014/main" id="{E9C0C864-E0FF-4886-9AD0-460F6321D1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0313" y="6340475"/>
              <a:ext cx="5073650" cy="4994275"/>
            </a:xfrm>
            <a:custGeom>
              <a:avLst/>
              <a:gdLst>
                <a:gd name="T0" fmla="*/ 306 w 449"/>
                <a:gd name="T1" fmla="*/ 256 h 442"/>
                <a:gd name="T2" fmla="*/ 190 w 449"/>
                <a:gd name="T3" fmla="*/ 302 h 442"/>
                <a:gd name="T4" fmla="*/ 144 w 449"/>
                <a:gd name="T5" fmla="*/ 186 h 442"/>
                <a:gd name="T6" fmla="*/ 259 w 449"/>
                <a:gd name="T7" fmla="*/ 140 h 442"/>
                <a:gd name="T8" fmla="*/ 306 w 449"/>
                <a:gd name="T9" fmla="*/ 256 h 442"/>
                <a:gd name="T10" fmla="*/ 449 w 449"/>
                <a:gd name="T11" fmla="*/ 240 h 442"/>
                <a:gd name="T12" fmla="*/ 438 w 449"/>
                <a:gd name="T13" fmla="*/ 149 h 442"/>
                <a:gd name="T14" fmla="*/ 377 w 449"/>
                <a:gd name="T15" fmla="*/ 156 h 442"/>
                <a:gd name="T16" fmla="*/ 330 w 449"/>
                <a:gd name="T17" fmla="*/ 92 h 442"/>
                <a:gd name="T18" fmla="*/ 354 w 449"/>
                <a:gd name="T19" fmla="*/ 36 h 442"/>
                <a:gd name="T20" fmla="*/ 269 w 449"/>
                <a:gd name="T21" fmla="*/ 0 h 442"/>
                <a:gd name="T22" fmla="*/ 245 w 449"/>
                <a:gd name="T23" fmla="*/ 56 h 442"/>
                <a:gd name="T24" fmla="*/ 166 w 449"/>
                <a:gd name="T25" fmla="*/ 66 h 442"/>
                <a:gd name="T26" fmla="*/ 129 w 449"/>
                <a:gd name="T27" fmla="*/ 17 h 442"/>
                <a:gd name="T28" fmla="*/ 55 w 449"/>
                <a:gd name="T29" fmla="*/ 72 h 442"/>
                <a:gd name="T30" fmla="*/ 92 w 449"/>
                <a:gd name="T31" fmla="*/ 121 h 442"/>
                <a:gd name="T32" fmla="*/ 61 w 449"/>
                <a:gd name="T33" fmla="*/ 194 h 442"/>
                <a:gd name="T34" fmla="*/ 0 w 449"/>
                <a:gd name="T35" fmla="*/ 202 h 442"/>
                <a:gd name="T36" fmla="*/ 11 w 449"/>
                <a:gd name="T37" fmla="*/ 293 h 442"/>
                <a:gd name="T38" fmla="*/ 72 w 449"/>
                <a:gd name="T39" fmla="*/ 286 h 442"/>
                <a:gd name="T40" fmla="*/ 120 w 449"/>
                <a:gd name="T41" fmla="*/ 350 h 442"/>
                <a:gd name="T42" fmla="*/ 96 w 449"/>
                <a:gd name="T43" fmla="*/ 406 h 442"/>
                <a:gd name="T44" fmla="*/ 180 w 449"/>
                <a:gd name="T45" fmla="*/ 442 h 442"/>
                <a:gd name="T46" fmla="*/ 205 w 449"/>
                <a:gd name="T47" fmla="*/ 386 h 442"/>
                <a:gd name="T48" fmla="*/ 284 w 449"/>
                <a:gd name="T49" fmla="*/ 376 h 442"/>
                <a:gd name="T50" fmla="*/ 320 w 449"/>
                <a:gd name="T51" fmla="*/ 425 h 442"/>
                <a:gd name="T52" fmla="*/ 394 w 449"/>
                <a:gd name="T53" fmla="*/ 370 h 442"/>
                <a:gd name="T54" fmla="*/ 357 w 449"/>
                <a:gd name="T55" fmla="*/ 321 h 442"/>
                <a:gd name="T56" fmla="*/ 389 w 449"/>
                <a:gd name="T57" fmla="*/ 248 h 442"/>
                <a:gd name="T58" fmla="*/ 449 w 449"/>
                <a:gd name="T59" fmla="*/ 24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9" h="442">
                  <a:moveTo>
                    <a:pt x="306" y="256"/>
                  </a:moveTo>
                  <a:cubicBezTo>
                    <a:pt x="287" y="300"/>
                    <a:pt x="235" y="321"/>
                    <a:pt x="190" y="302"/>
                  </a:cubicBezTo>
                  <a:cubicBezTo>
                    <a:pt x="145" y="283"/>
                    <a:pt x="125" y="231"/>
                    <a:pt x="144" y="186"/>
                  </a:cubicBezTo>
                  <a:cubicBezTo>
                    <a:pt x="163" y="142"/>
                    <a:pt x="215" y="121"/>
                    <a:pt x="259" y="140"/>
                  </a:cubicBezTo>
                  <a:cubicBezTo>
                    <a:pt x="304" y="159"/>
                    <a:pt x="325" y="211"/>
                    <a:pt x="306" y="256"/>
                  </a:cubicBezTo>
                  <a:close/>
                  <a:moveTo>
                    <a:pt x="449" y="240"/>
                  </a:moveTo>
                  <a:cubicBezTo>
                    <a:pt x="438" y="149"/>
                    <a:pt x="438" y="149"/>
                    <a:pt x="438" y="149"/>
                  </a:cubicBezTo>
                  <a:cubicBezTo>
                    <a:pt x="377" y="156"/>
                    <a:pt x="377" y="156"/>
                    <a:pt x="377" y="156"/>
                  </a:cubicBezTo>
                  <a:cubicBezTo>
                    <a:pt x="330" y="92"/>
                    <a:pt x="330" y="92"/>
                    <a:pt x="330" y="92"/>
                  </a:cubicBezTo>
                  <a:cubicBezTo>
                    <a:pt x="354" y="36"/>
                    <a:pt x="354" y="36"/>
                    <a:pt x="354" y="36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245" y="56"/>
                    <a:pt x="245" y="56"/>
                    <a:pt x="245" y="56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92" y="121"/>
                    <a:pt x="92" y="121"/>
                    <a:pt x="92" y="121"/>
                  </a:cubicBezTo>
                  <a:cubicBezTo>
                    <a:pt x="61" y="194"/>
                    <a:pt x="61" y="194"/>
                    <a:pt x="61" y="194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11" y="293"/>
                    <a:pt x="11" y="293"/>
                    <a:pt x="11" y="293"/>
                  </a:cubicBezTo>
                  <a:cubicBezTo>
                    <a:pt x="72" y="286"/>
                    <a:pt x="72" y="286"/>
                    <a:pt x="72" y="286"/>
                  </a:cubicBezTo>
                  <a:cubicBezTo>
                    <a:pt x="120" y="350"/>
                    <a:pt x="120" y="350"/>
                    <a:pt x="120" y="350"/>
                  </a:cubicBezTo>
                  <a:cubicBezTo>
                    <a:pt x="96" y="406"/>
                    <a:pt x="96" y="406"/>
                    <a:pt x="96" y="406"/>
                  </a:cubicBezTo>
                  <a:cubicBezTo>
                    <a:pt x="180" y="442"/>
                    <a:pt x="180" y="442"/>
                    <a:pt x="180" y="442"/>
                  </a:cubicBezTo>
                  <a:cubicBezTo>
                    <a:pt x="205" y="386"/>
                    <a:pt x="205" y="386"/>
                    <a:pt x="205" y="386"/>
                  </a:cubicBezTo>
                  <a:cubicBezTo>
                    <a:pt x="284" y="376"/>
                    <a:pt x="284" y="376"/>
                    <a:pt x="284" y="376"/>
                  </a:cubicBezTo>
                  <a:cubicBezTo>
                    <a:pt x="320" y="425"/>
                    <a:pt x="320" y="425"/>
                    <a:pt x="320" y="425"/>
                  </a:cubicBezTo>
                  <a:cubicBezTo>
                    <a:pt x="394" y="370"/>
                    <a:pt x="394" y="370"/>
                    <a:pt x="394" y="370"/>
                  </a:cubicBezTo>
                  <a:cubicBezTo>
                    <a:pt x="357" y="321"/>
                    <a:pt x="357" y="321"/>
                    <a:pt x="357" y="321"/>
                  </a:cubicBezTo>
                  <a:cubicBezTo>
                    <a:pt x="389" y="248"/>
                    <a:pt x="389" y="248"/>
                    <a:pt x="389" y="248"/>
                  </a:cubicBezTo>
                  <a:lnTo>
                    <a:pt x="449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66" name="Freeform 17">
              <a:extLst>
                <a:ext uri="{FF2B5EF4-FFF2-40B4-BE49-F238E27FC236}">
                  <a16:creationId xmlns:a16="http://schemas.microsoft.com/office/drawing/2014/main" id="{CFA20AB8-0384-44E8-8C58-AC5DBB93A6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8100" y="1638300"/>
              <a:ext cx="7627938" cy="7616825"/>
            </a:xfrm>
            <a:custGeom>
              <a:avLst/>
              <a:gdLst>
                <a:gd name="T0" fmla="*/ 337 w 675"/>
                <a:gd name="T1" fmla="*/ 485 h 674"/>
                <a:gd name="T2" fmla="*/ 189 w 675"/>
                <a:gd name="T3" fmla="*/ 337 h 674"/>
                <a:gd name="T4" fmla="*/ 337 w 675"/>
                <a:gd name="T5" fmla="*/ 189 h 674"/>
                <a:gd name="T6" fmla="*/ 486 w 675"/>
                <a:gd name="T7" fmla="*/ 337 h 674"/>
                <a:gd name="T8" fmla="*/ 337 w 675"/>
                <a:gd name="T9" fmla="*/ 485 h 674"/>
                <a:gd name="T10" fmla="*/ 571 w 675"/>
                <a:gd name="T11" fmla="*/ 479 h 674"/>
                <a:gd name="T12" fmla="*/ 602 w 675"/>
                <a:gd name="T13" fmla="*/ 401 h 674"/>
                <a:gd name="T14" fmla="*/ 675 w 675"/>
                <a:gd name="T15" fmla="*/ 395 h 674"/>
                <a:gd name="T16" fmla="*/ 675 w 675"/>
                <a:gd name="T17" fmla="*/ 279 h 674"/>
                <a:gd name="T18" fmla="*/ 602 w 675"/>
                <a:gd name="T19" fmla="*/ 272 h 674"/>
                <a:gd name="T20" fmla="*/ 571 w 675"/>
                <a:gd name="T21" fmla="*/ 195 h 674"/>
                <a:gd name="T22" fmla="*/ 617 w 675"/>
                <a:gd name="T23" fmla="*/ 139 h 674"/>
                <a:gd name="T24" fmla="*/ 535 w 675"/>
                <a:gd name="T25" fmla="*/ 57 h 674"/>
                <a:gd name="T26" fmla="*/ 479 w 675"/>
                <a:gd name="T27" fmla="*/ 104 h 674"/>
                <a:gd name="T28" fmla="*/ 402 w 675"/>
                <a:gd name="T29" fmla="*/ 72 h 674"/>
                <a:gd name="T30" fmla="*/ 395 w 675"/>
                <a:gd name="T31" fmla="*/ 0 h 674"/>
                <a:gd name="T32" fmla="*/ 279 w 675"/>
                <a:gd name="T33" fmla="*/ 0 h 674"/>
                <a:gd name="T34" fmla="*/ 273 w 675"/>
                <a:gd name="T35" fmla="*/ 72 h 674"/>
                <a:gd name="T36" fmla="*/ 195 w 675"/>
                <a:gd name="T37" fmla="*/ 103 h 674"/>
                <a:gd name="T38" fmla="*/ 140 w 675"/>
                <a:gd name="T39" fmla="*/ 57 h 674"/>
                <a:gd name="T40" fmla="*/ 58 w 675"/>
                <a:gd name="T41" fmla="*/ 139 h 674"/>
                <a:gd name="T42" fmla="*/ 104 w 675"/>
                <a:gd name="T43" fmla="*/ 195 h 674"/>
                <a:gd name="T44" fmla="*/ 72 w 675"/>
                <a:gd name="T45" fmla="*/ 272 h 674"/>
                <a:gd name="T46" fmla="*/ 0 w 675"/>
                <a:gd name="T47" fmla="*/ 279 h 674"/>
                <a:gd name="T48" fmla="*/ 0 w 675"/>
                <a:gd name="T49" fmla="*/ 395 h 674"/>
                <a:gd name="T50" fmla="*/ 72 w 675"/>
                <a:gd name="T51" fmla="*/ 401 h 674"/>
                <a:gd name="T52" fmla="*/ 104 w 675"/>
                <a:gd name="T53" fmla="*/ 479 h 674"/>
                <a:gd name="T54" fmla="*/ 58 w 675"/>
                <a:gd name="T55" fmla="*/ 534 h 674"/>
                <a:gd name="T56" fmla="*/ 140 w 675"/>
                <a:gd name="T57" fmla="*/ 616 h 674"/>
                <a:gd name="T58" fmla="*/ 195 w 675"/>
                <a:gd name="T59" fmla="*/ 570 h 674"/>
                <a:gd name="T60" fmla="*/ 273 w 675"/>
                <a:gd name="T61" fmla="*/ 602 h 674"/>
                <a:gd name="T62" fmla="*/ 279 w 675"/>
                <a:gd name="T63" fmla="*/ 674 h 674"/>
                <a:gd name="T64" fmla="*/ 395 w 675"/>
                <a:gd name="T65" fmla="*/ 674 h 674"/>
                <a:gd name="T66" fmla="*/ 402 w 675"/>
                <a:gd name="T67" fmla="*/ 602 h 674"/>
                <a:gd name="T68" fmla="*/ 479 w 675"/>
                <a:gd name="T69" fmla="*/ 570 h 674"/>
                <a:gd name="T70" fmla="*/ 535 w 675"/>
                <a:gd name="T71" fmla="*/ 616 h 674"/>
                <a:gd name="T72" fmla="*/ 617 w 675"/>
                <a:gd name="T73" fmla="*/ 534 h 674"/>
                <a:gd name="T74" fmla="*/ 571 w 675"/>
                <a:gd name="T75" fmla="*/ 479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5" h="674">
                  <a:moveTo>
                    <a:pt x="337" y="485"/>
                  </a:moveTo>
                  <a:cubicBezTo>
                    <a:pt x="255" y="485"/>
                    <a:pt x="189" y="419"/>
                    <a:pt x="189" y="337"/>
                  </a:cubicBezTo>
                  <a:cubicBezTo>
                    <a:pt x="189" y="255"/>
                    <a:pt x="255" y="189"/>
                    <a:pt x="337" y="189"/>
                  </a:cubicBezTo>
                  <a:cubicBezTo>
                    <a:pt x="419" y="189"/>
                    <a:pt x="486" y="255"/>
                    <a:pt x="486" y="337"/>
                  </a:cubicBezTo>
                  <a:cubicBezTo>
                    <a:pt x="486" y="419"/>
                    <a:pt x="419" y="485"/>
                    <a:pt x="337" y="485"/>
                  </a:cubicBezTo>
                  <a:close/>
                  <a:moveTo>
                    <a:pt x="571" y="479"/>
                  </a:moveTo>
                  <a:cubicBezTo>
                    <a:pt x="602" y="401"/>
                    <a:pt x="602" y="401"/>
                    <a:pt x="602" y="401"/>
                  </a:cubicBezTo>
                  <a:cubicBezTo>
                    <a:pt x="675" y="395"/>
                    <a:pt x="675" y="395"/>
                    <a:pt x="675" y="395"/>
                  </a:cubicBezTo>
                  <a:cubicBezTo>
                    <a:pt x="675" y="279"/>
                    <a:pt x="675" y="279"/>
                    <a:pt x="675" y="279"/>
                  </a:cubicBezTo>
                  <a:cubicBezTo>
                    <a:pt x="602" y="272"/>
                    <a:pt x="602" y="272"/>
                    <a:pt x="602" y="272"/>
                  </a:cubicBezTo>
                  <a:cubicBezTo>
                    <a:pt x="571" y="195"/>
                    <a:pt x="571" y="195"/>
                    <a:pt x="571" y="195"/>
                  </a:cubicBezTo>
                  <a:cubicBezTo>
                    <a:pt x="617" y="139"/>
                    <a:pt x="617" y="139"/>
                    <a:pt x="617" y="139"/>
                  </a:cubicBezTo>
                  <a:cubicBezTo>
                    <a:pt x="535" y="57"/>
                    <a:pt x="535" y="57"/>
                    <a:pt x="535" y="57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02" y="72"/>
                    <a:pt x="402" y="72"/>
                    <a:pt x="402" y="72"/>
                  </a:cubicBezTo>
                  <a:cubicBezTo>
                    <a:pt x="395" y="0"/>
                    <a:pt x="395" y="0"/>
                    <a:pt x="395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3" y="72"/>
                    <a:pt x="273" y="72"/>
                    <a:pt x="273" y="72"/>
                  </a:cubicBezTo>
                  <a:cubicBezTo>
                    <a:pt x="195" y="103"/>
                    <a:pt x="195" y="103"/>
                    <a:pt x="195" y="103"/>
                  </a:cubicBezTo>
                  <a:cubicBezTo>
                    <a:pt x="140" y="57"/>
                    <a:pt x="140" y="57"/>
                    <a:pt x="140" y="57"/>
                  </a:cubicBezTo>
                  <a:cubicBezTo>
                    <a:pt x="58" y="139"/>
                    <a:pt x="58" y="139"/>
                    <a:pt x="58" y="139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72" y="272"/>
                    <a:pt x="72" y="272"/>
                    <a:pt x="72" y="272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0" y="395"/>
                    <a:pt x="0" y="395"/>
                    <a:pt x="0" y="395"/>
                  </a:cubicBezTo>
                  <a:cubicBezTo>
                    <a:pt x="72" y="401"/>
                    <a:pt x="72" y="401"/>
                    <a:pt x="72" y="401"/>
                  </a:cubicBezTo>
                  <a:cubicBezTo>
                    <a:pt x="104" y="479"/>
                    <a:pt x="104" y="479"/>
                    <a:pt x="104" y="479"/>
                  </a:cubicBezTo>
                  <a:cubicBezTo>
                    <a:pt x="58" y="534"/>
                    <a:pt x="58" y="534"/>
                    <a:pt x="58" y="534"/>
                  </a:cubicBezTo>
                  <a:cubicBezTo>
                    <a:pt x="140" y="616"/>
                    <a:pt x="140" y="616"/>
                    <a:pt x="140" y="616"/>
                  </a:cubicBezTo>
                  <a:cubicBezTo>
                    <a:pt x="195" y="570"/>
                    <a:pt x="195" y="570"/>
                    <a:pt x="195" y="570"/>
                  </a:cubicBezTo>
                  <a:cubicBezTo>
                    <a:pt x="273" y="602"/>
                    <a:pt x="273" y="602"/>
                    <a:pt x="273" y="602"/>
                  </a:cubicBezTo>
                  <a:cubicBezTo>
                    <a:pt x="279" y="674"/>
                    <a:pt x="279" y="674"/>
                    <a:pt x="279" y="674"/>
                  </a:cubicBezTo>
                  <a:cubicBezTo>
                    <a:pt x="395" y="674"/>
                    <a:pt x="395" y="674"/>
                    <a:pt x="395" y="674"/>
                  </a:cubicBezTo>
                  <a:cubicBezTo>
                    <a:pt x="402" y="602"/>
                    <a:pt x="402" y="602"/>
                    <a:pt x="402" y="602"/>
                  </a:cubicBezTo>
                  <a:cubicBezTo>
                    <a:pt x="479" y="570"/>
                    <a:pt x="479" y="570"/>
                    <a:pt x="479" y="570"/>
                  </a:cubicBezTo>
                  <a:cubicBezTo>
                    <a:pt x="535" y="616"/>
                    <a:pt x="535" y="616"/>
                    <a:pt x="535" y="616"/>
                  </a:cubicBezTo>
                  <a:cubicBezTo>
                    <a:pt x="617" y="534"/>
                    <a:pt x="617" y="534"/>
                    <a:pt x="617" y="534"/>
                  </a:cubicBezTo>
                  <a:lnTo>
                    <a:pt x="571" y="4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BE2F73D5-AF1B-407C-B33B-1F2FA693C3D9}"/>
              </a:ext>
            </a:extLst>
          </p:cNvPr>
          <p:cNvGrpSpPr/>
          <p:nvPr userDrawn="1"/>
        </p:nvGrpSpPr>
        <p:grpSpPr>
          <a:xfrm>
            <a:off x="11217797" y="1860685"/>
            <a:ext cx="192111" cy="290045"/>
            <a:chOff x="-3947158" y="1719597"/>
            <a:chExt cx="3385092" cy="5109416"/>
          </a:xfrm>
          <a:solidFill>
            <a:schemeClr val="bg1">
              <a:alpha val="80000"/>
            </a:schemeClr>
          </a:solidFill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447E3451-79A3-4255-893A-D0040877EB5D}"/>
                </a:ext>
              </a:extLst>
            </p:cNvPr>
            <p:cNvSpPr/>
            <p:nvPr/>
          </p:nvSpPr>
          <p:spPr>
            <a:xfrm>
              <a:off x="-3624517" y="2322583"/>
              <a:ext cx="3062451" cy="218046"/>
            </a:xfrm>
            <a:prstGeom prst="rect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E5CFF7FE-0669-4096-95BA-055A9ED2A85C}"/>
                </a:ext>
              </a:extLst>
            </p:cNvPr>
            <p:cNvSpPr/>
            <p:nvPr/>
          </p:nvSpPr>
          <p:spPr>
            <a:xfrm>
              <a:off x="-3947158" y="3738067"/>
              <a:ext cx="1988090" cy="3089947"/>
            </a:xfrm>
            <a:custGeom>
              <a:avLst/>
              <a:gdLst>
                <a:gd name="connsiteX0" fmla="*/ 1536585 w 1988090"/>
                <a:gd name="connsiteY0" fmla="*/ 279 h 3089947"/>
                <a:gd name="connsiteX1" fmla="*/ 1493799 w 1988090"/>
                <a:gd name="connsiteY1" fmla="*/ 6084 h 3089947"/>
                <a:gd name="connsiteX2" fmla="*/ 994045 w 1988090"/>
                <a:gd name="connsiteY2" fmla="*/ 201257 h 3089947"/>
                <a:gd name="connsiteX3" fmla="*/ 494330 w 1988090"/>
                <a:gd name="connsiteY3" fmla="*/ 6122 h 3089947"/>
                <a:gd name="connsiteX4" fmla="*/ 451390 w 1988090"/>
                <a:gd name="connsiteY4" fmla="*/ 317 h 3089947"/>
                <a:gd name="connsiteX5" fmla="*/ 362549 w 1988090"/>
                <a:gd name="connsiteY5" fmla="*/ 12004 h 3089947"/>
                <a:gd name="connsiteX6" fmla="*/ 126819 w 1988090"/>
                <a:gd name="connsiteY6" fmla="*/ 305590 h 3089947"/>
                <a:gd name="connsiteX7" fmla="*/ 36 w 1988090"/>
                <a:gd name="connsiteY7" fmla="*/ 1551706 h 3089947"/>
                <a:gd name="connsiteX8" fmla="*/ 56470 w 1988090"/>
                <a:gd name="connsiteY8" fmla="*/ 1695481 h 3089947"/>
                <a:gd name="connsiteX9" fmla="*/ 198053 w 1988090"/>
                <a:gd name="connsiteY9" fmla="*/ 1757220 h 3089947"/>
                <a:gd name="connsiteX10" fmla="*/ 199975 w 1988090"/>
                <a:gd name="connsiteY10" fmla="*/ 1757258 h 3089947"/>
                <a:gd name="connsiteX11" fmla="*/ 201898 w 1988090"/>
                <a:gd name="connsiteY11" fmla="*/ 1757258 h 3089947"/>
                <a:gd name="connsiteX12" fmla="*/ 290969 w 1988090"/>
                <a:gd name="connsiteY12" fmla="*/ 1736154 h 3089947"/>
                <a:gd name="connsiteX13" fmla="*/ 359743 w 1988090"/>
                <a:gd name="connsiteY13" fmla="*/ 1679873 h 3089947"/>
                <a:gd name="connsiteX14" fmla="*/ 359743 w 1988090"/>
                <a:gd name="connsiteY14" fmla="*/ 2240751 h 3089947"/>
                <a:gd name="connsiteX15" fmla="*/ 359743 w 1988090"/>
                <a:gd name="connsiteY15" fmla="*/ 2801628 h 3089947"/>
                <a:gd name="connsiteX16" fmla="*/ 444201 w 1988090"/>
                <a:gd name="connsiteY16" fmla="*/ 3005489 h 3089947"/>
                <a:gd name="connsiteX17" fmla="*/ 648062 w 1988090"/>
                <a:gd name="connsiteY17" fmla="*/ 3089947 h 3089947"/>
                <a:gd name="connsiteX18" fmla="*/ 851923 w 1988090"/>
                <a:gd name="connsiteY18" fmla="*/ 3005489 h 3089947"/>
                <a:gd name="connsiteX19" fmla="*/ 936382 w 1988090"/>
                <a:gd name="connsiteY19" fmla="*/ 2801628 h 3089947"/>
                <a:gd name="connsiteX20" fmla="*/ 936382 w 1988090"/>
                <a:gd name="connsiteY20" fmla="*/ 2340317 h 3089947"/>
                <a:gd name="connsiteX21" fmla="*/ 936382 w 1988090"/>
                <a:gd name="connsiteY21" fmla="*/ 1879006 h 3089947"/>
                <a:gd name="connsiteX22" fmla="*/ 994045 w 1988090"/>
                <a:gd name="connsiteY22" fmla="*/ 1879006 h 3089947"/>
                <a:gd name="connsiteX23" fmla="*/ 1051709 w 1988090"/>
                <a:gd name="connsiteY23" fmla="*/ 1879006 h 3089947"/>
                <a:gd name="connsiteX24" fmla="*/ 1051709 w 1988090"/>
                <a:gd name="connsiteY24" fmla="*/ 2340317 h 3089947"/>
                <a:gd name="connsiteX25" fmla="*/ 1051709 w 1988090"/>
                <a:gd name="connsiteY25" fmla="*/ 2801628 h 3089947"/>
                <a:gd name="connsiteX26" fmla="*/ 1136167 w 1988090"/>
                <a:gd name="connsiteY26" fmla="*/ 3005489 h 3089947"/>
                <a:gd name="connsiteX27" fmla="*/ 1340029 w 1988090"/>
                <a:gd name="connsiteY27" fmla="*/ 3089947 h 3089947"/>
                <a:gd name="connsiteX28" fmla="*/ 1543889 w 1988090"/>
                <a:gd name="connsiteY28" fmla="*/ 3005489 h 3089947"/>
                <a:gd name="connsiteX29" fmla="*/ 1628348 w 1988090"/>
                <a:gd name="connsiteY29" fmla="*/ 2801628 h 3089947"/>
                <a:gd name="connsiteX30" fmla="*/ 1628348 w 1988090"/>
                <a:gd name="connsiteY30" fmla="*/ 2263432 h 3089947"/>
                <a:gd name="connsiteX31" fmla="*/ 1628348 w 1988090"/>
                <a:gd name="connsiteY31" fmla="*/ 1725313 h 3089947"/>
                <a:gd name="connsiteX32" fmla="*/ 1628348 w 1988090"/>
                <a:gd name="connsiteY32" fmla="*/ 1725236 h 3089947"/>
                <a:gd name="connsiteX33" fmla="*/ 1628348 w 1988090"/>
                <a:gd name="connsiteY33" fmla="*/ 1725159 h 3089947"/>
                <a:gd name="connsiteX34" fmla="*/ 1628348 w 1988090"/>
                <a:gd name="connsiteY34" fmla="*/ 1702478 h 3089947"/>
                <a:gd name="connsiteX35" fmla="*/ 1628348 w 1988090"/>
                <a:gd name="connsiteY35" fmla="*/ 1679797 h 3089947"/>
                <a:gd name="connsiteX36" fmla="*/ 1697122 w 1988090"/>
                <a:gd name="connsiteY36" fmla="*/ 1736115 h 3089947"/>
                <a:gd name="connsiteX37" fmla="*/ 1786193 w 1988090"/>
                <a:gd name="connsiteY37" fmla="*/ 1757220 h 3089947"/>
                <a:gd name="connsiteX38" fmla="*/ 1788115 w 1988090"/>
                <a:gd name="connsiteY38" fmla="*/ 1757220 h 3089947"/>
                <a:gd name="connsiteX39" fmla="*/ 1790037 w 1988090"/>
                <a:gd name="connsiteY39" fmla="*/ 1757182 h 3089947"/>
                <a:gd name="connsiteX40" fmla="*/ 1931621 w 1988090"/>
                <a:gd name="connsiteY40" fmla="*/ 1695443 h 3089947"/>
                <a:gd name="connsiteX41" fmla="*/ 1988055 w 1988090"/>
                <a:gd name="connsiteY41" fmla="*/ 1551668 h 3089947"/>
                <a:gd name="connsiteX42" fmla="*/ 1861233 w 1988090"/>
                <a:gd name="connsiteY42" fmla="*/ 305552 h 3089947"/>
                <a:gd name="connsiteX43" fmla="*/ 1625465 w 1988090"/>
                <a:gd name="connsiteY43" fmla="*/ 11966 h 3089947"/>
                <a:gd name="connsiteX44" fmla="*/ 1536585 w 1988090"/>
                <a:gd name="connsiteY44" fmla="*/ 279 h 308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988090" h="3089947">
                  <a:moveTo>
                    <a:pt x="1536585" y="279"/>
                  </a:moveTo>
                  <a:cubicBezTo>
                    <a:pt x="1521939" y="971"/>
                    <a:pt x="1507676" y="3008"/>
                    <a:pt x="1493799" y="6084"/>
                  </a:cubicBezTo>
                  <a:cubicBezTo>
                    <a:pt x="1361787" y="126870"/>
                    <a:pt x="1186643" y="201257"/>
                    <a:pt x="994045" y="201257"/>
                  </a:cubicBezTo>
                  <a:cubicBezTo>
                    <a:pt x="801448" y="201257"/>
                    <a:pt x="626342" y="126870"/>
                    <a:pt x="494330" y="6122"/>
                  </a:cubicBezTo>
                  <a:cubicBezTo>
                    <a:pt x="480414" y="3047"/>
                    <a:pt x="466075" y="1009"/>
                    <a:pt x="451390" y="317"/>
                  </a:cubicBezTo>
                  <a:cubicBezTo>
                    <a:pt x="422827" y="-1028"/>
                    <a:pt x="392996" y="2432"/>
                    <a:pt x="362549" y="12004"/>
                  </a:cubicBezTo>
                  <a:cubicBezTo>
                    <a:pt x="277591" y="38683"/>
                    <a:pt x="193133" y="92772"/>
                    <a:pt x="126819" y="305590"/>
                  </a:cubicBezTo>
                  <a:cubicBezTo>
                    <a:pt x="60506" y="518408"/>
                    <a:pt x="12337" y="889994"/>
                    <a:pt x="36" y="1551706"/>
                  </a:cubicBezTo>
                  <a:cubicBezTo>
                    <a:pt x="-1002" y="1607409"/>
                    <a:pt x="20641" y="1658308"/>
                    <a:pt x="56470" y="1695481"/>
                  </a:cubicBezTo>
                  <a:cubicBezTo>
                    <a:pt x="92298" y="1732655"/>
                    <a:pt x="142312" y="1756221"/>
                    <a:pt x="198053" y="1757220"/>
                  </a:cubicBezTo>
                  <a:cubicBezTo>
                    <a:pt x="198707" y="1757220"/>
                    <a:pt x="199322" y="1757220"/>
                    <a:pt x="199975" y="1757258"/>
                  </a:cubicBezTo>
                  <a:cubicBezTo>
                    <a:pt x="200629" y="1757297"/>
                    <a:pt x="201244" y="1757258"/>
                    <a:pt x="201898" y="1757258"/>
                  </a:cubicBezTo>
                  <a:cubicBezTo>
                    <a:pt x="233920" y="1757258"/>
                    <a:pt x="264136" y="1749647"/>
                    <a:pt x="290969" y="1736154"/>
                  </a:cubicBezTo>
                  <a:cubicBezTo>
                    <a:pt x="317802" y="1722660"/>
                    <a:pt x="341214" y="1703323"/>
                    <a:pt x="359743" y="1679873"/>
                  </a:cubicBezTo>
                  <a:lnTo>
                    <a:pt x="359743" y="2240751"/>
                  </a:lnTo>
                  <a:lnTo>
                    <a:pt x="359743" y="2801628"/>
                  </a:lnTo>
                  <a:cubicBezTo>
                    <a:pt x="359743" y="2881243"/>
                    <a:pt x="391996" y="2953323"/>
                    <a:pt x="444201" y="3005489"/>
                  </a:cubicBezTo>
                  <a:cubicBezTo>
                    <a:pt x="496406" y="3057656"/>
                    <a:pt x="568447" y="3089947"/>
                    <a:pt x="648062" y="3089947"/>
                  </a:cubicBezTo>
                  <a:cubicBezTo>
                    <a:pt x="727677" y="3089947"/>
                    <a:pt x="799757" y="3057694"/>
                    <a:pt x="851923" y="3005489"/>
                  </a:cubicBezTo>
                  <a:cubicBezTo>
                    <a:pt x="904090" y="2953284"/>
                    <a:pt x="936382" y="2881243"/>
                    <a:pt x="936382" y="2801628"/>
                  </a:cubicBezTo>
                  <a:lnTo>
                    <a:pt x="936382" y="2340317"/>
                  </a:lnTo>
                  <a:lnTo>
                    <a:pt x="936382" y="1879006"/>
                  </a:lnTo>
                  <a:lnTo>
                    <a:pt x="994045" y="1879006"/>
                  </a:lnTo>
                  <a:lnTo>
                    <a:pt x="1051709" y="1879006"/>
                  </a:lnTo>
                  <a:lnTo>
                    <a:pt x="1051709" y="2340317"/>
                  </a:lnTo>
                  <a:lnTo>
                    <a:pt x="1051709" y="2801628"/>
                  </a:lnTo>
                  <a:cubicBezTo>
                    <a:pt x="1051709" y="2881243"/>
                    <a:pt x="1083962" y="2953323"/>
                    <a:pt x="1136167" y="3005489"/>
                  </a:cubicBezTo>
                  <a:cubicBezTo>
                    <a:pt x="1188372" y="3057656"/>
                    <a:pt x="1260414" y="3089947"/>
                    <a:pt x="1340029" y="3089947"/>
                  </a:cubicBezTo>
                  <a:cubicBezTo>
                    <a:pt x="1419643" y="3089947"/>
                    <a:pt x="1491723" y="3057694"/>
                    <a:pt x="1543889" y="3005489"/>
                  </a:cubicBezTo>
                  <a:cubicBezTo>
                    <a:pt x="1596056" y="2953284"/>
                    <a:pt x="1628348" y="2881243"/>
                    <a:pt x="1628348" y="2801628"/>
                  </a:cubicBezTo>
                  <a:lnTo>
                    <a:pt x="1628348" y="2263432"/>
                  </a:lnTo>
                  <a:lnTo>
                    <a:pt x="1628348" y="1725313"/>
                  </a:lnTo>
                  <a:cubicBezTo>
                    <a:pt x="1628348" y="1725274"/>
                    <a:pt x="1628348" y="1725274"/>
                    <a:pt x="1628348" y="1725236"/>
                  </a:cubicBezTo>
                  <a:cubicBezTo>
                    <a:pt x="1628348" y="1725197"/>
                    <a:pt x="1628348" y="1725197"/>
                    <a:pt x="1628348" y="1725159"/>
                  </a:cubicBezTo>
                  <a:lnTo>
                    <a:pt x="1628348" y="1702478"/>
                  </a:lnTo>
                  <a:lnTo>
                    <a:pt x="1628348" y="1679797"/>
                  </a:lnTo>
                  <a:cubicBezTo>
                    <a:pt x="1646839" y="1703247"/>
                    <a:pt x="1670289" y="1722622"/>
                    <a:pt x="1697122" y="1736115"/>
                  </a:cubicBezTo>
                  <a:cubicBezTo>
                    <a:pt x="1723955" y="1749609"/>
                    <a:pt x="1754170" y="1757220"/>
                    <a:pt x="1786193" y="1757220"/>
                  </a:cubicBezTo>
                  <a:cubicBezTo>
                    <a:pt x="1786847" y="1757220"/>
                    <a:pt x="1787461" y="1757220"/>
                    <a:pt x="1788115" y="1757220"/>
                  </a:cubicBezTo>
                  <a:cubicBezTo>
                    <a:pt x="1788769" y="1757220"/>
                    <a:pt x="1789384" y="1757220"/>
                    <a:pt x="1790037" y="1757182"/>
                  </a:cubicBezTo>
                  <a:cubicBezTo>
                    <a:pt x="1845779" y="1756144"/>
                    <a:pt x="1895793" y="1732617"/>
                    <a:pt x="1931621" y="1695443"/>
                  </a:cubicBezTo>
                  <a:cubicBezTo>
                    <a:pt x="1967450" y="1658269"/>
                    <a:pt x="1989093" y="1607371"/>
                    <a:pt x="1988055" y="1551668"/>
                  </a:cubicBezTo>
                  <a:cubicBezTo>
                    <a:pt x="1975715" y="889955"/>
                    <a:pt x="1927585" y="518370"/>
                    <a:pt x="1861233" y="305552"/>
                  </a:cubicBezTo>
                  <a:cubicBezTo>
                    <a:pt x="1794881" y="92733"/>
                    <a:pt x="1710423" y="38683"/>
                    <a:pt x="1625465" y="11966"/>
                  </a:cubicBezTo>
                  <a:cubicBezTo>
                    <a:pt x="1594980" y="2393"/>
                    <a:pt x="1565148" y="-1066"/>
                    <a:pt x="1536585" y="27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0B4C5B78-E792-42F7-9AFE-E3B3DA0D09F5}"/>
                </a:ext>
              </a:extLst>
            </p:cNvPr>
            <p:cNvSpPr/>
            <p:nvPr/>
          </p:nvSpPr>
          <p:spPr>
            <a:xfrm>
              <a:off x="-3541246" y="2609288"/>
              <a:ext cx="1176265" cy="1176265"/>
            </a:xfrm>
            <a:custGeom>
              <a:avLst/>
              <a:gdLst>
                <a:gd name="connsiteX0" fmla="*/ 1176266 w 1176265"/>
                <a:gd name="connsiteY0" fmla="*/ 588133 h 1176265"/>
                <a:gd name="connsiteX1" fmla="*/ 588133 w 1176265"/>
                <a:gd name="connsiteY1" fmla="*/ 1176266 h 1176265"/>
                <a:gd name="connsiteX2" fmla="*/ 0 w 1176265"/>
                <a:gd name="connsiteY2" fmla="*/ 588133 h 1176265"/>
                <a:gd name="connsiteX3" fmla="*/ 588133 w 1176265"/>
                <a:gd name="connsiteY3" fmla="*/ 0 h 1176265"/>
                <a:gd name="connsiteX4" fmla="*/ 1176266 w 1176265"/>
                <a:gd name="connsiteY4" fmla="*/ 588133 h 117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6265" h="1176265">
                  <a:moveTo>
                    <a:pt x="1176266" y="588133"/>
                  </a:moveTo>
                  <a:cubicBezTo>
                    <a:pt x="1176266" y="912950"/>
                    <a:pt x="912950" y="1176266"/>
                    <a:pt x="588133" y="1176266"/>
                  </a:cubicBezTo>
                  <a:cubicBezTo>
                    <a:pt x="263316" y="1176266"/>
                    <a:pt x="0" y="912950"/>
                    <a:pt x="0" y="588133"/>
                  </a:cubicBezTo>
                  <a:cubicBezTo>
                    <a:pt x="0" y="263316"/>
                    <a:pt x="263316" y="0"/>
                    <a:pt x="588133" y="0"/>
                  </a:cubicBezTo>
                  <a:cubicBezTo>
                    <a:pt x="912950" y="0"/>
                    <a:pt x="1176266" y="263316"/>
                    <a:pt x="1176266" y="5881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EBC19366-1FC2-47F3-ACFC-F10EB9902CD6}"/>
                </a:ext>
              </a:extLst>
            </p:cNvPr>
            <p:cNvSpPr/>
            <p:nvPr/>
          </p:nvSpPr>
          <p:spPr>
            <a:xfrm>
              <a:off x="-1697617" y="2605328"/>
              <a:ext cx="956528" cy="4223685"/>
            </a:xfrm>
            <a:custGeom>
              <a:avLst/>
              <a:gdLst>
                <a:gd name="connsiteX0" fmla="*/ 956528 w 956528"/>
                <a:gd name="connsiteY0" fmla="*/ 4223686 h 4223685"/>
                <a:gd name="connsiteX1" fmla="*/ 956528 w 956528"/>
                <a:gd name="connsiteY1" fmla="*/ 0 h 4223685"/>
                <a:gd name="connsiteX2" fmla="*/ 900248 w 956528"/>
                <a:gd name="connsiteY2" fmla="*/ 0 h 4223685"/>
                <a:gd name="connsiteX3" fmla="*/ 900248 w 956528"/>
                <a:gd name="connsiteY3" fmla="*/ 4167445 h 4223685"/>
                <a:gd name="connsiteX4" fmla="*/ 56280 w 956528"/>
                <a:gd name="connsiteY4" fmla="*/ 4167445 h 4223685"/>
                <a:gd name="connsiteX5" fmla="*/ 56280 w 956528"/>
                <a:gd name="connsiteY5" fmla="*/ 3998643 h 4223685"/>
                <a:gd name="connsiteX6" fmla="*/ 337603 w 956528"/>
                <a:gd name="connsiteY6" fmla="*/ 3998643 h 4223685"/>
                <a:gd name="connsiteX7" fmla="*/ 337603 w 956528"/>
                <a:gd name="connsiteY7" fmla="*/ 3942363 h 4223685"/>
                <a:gd name="connsiteX8" fmla="*/ 56280 w 956528"/>
                <a:gd name="connsiteY8" fmla="*/ 3942363 h 4223685"/>
                <a:gd name="connsiteX9" fmla="*/ 56280 w 956528"/>
                <a:gd name="connsiteY9" fmla="*/ 3773562 h 4223685"/>
                <a:gd name="connsiteX10" fmla="*/ 337603 w 956528"/>
                <a:gd name="connsiteY10" fmla="*/ 3773562 h 4223685"/>
                <a:gd name="connsiteX11" fmla="*/ 337603 w 956528"/>
                <a:gd name="connsiteY11" fmla="*/ 3717321 h 4223685"/>
                <a:gd name="connsiteX12" fmla="*/ 56280 w 956528"/>
                <a:gd name="connsiteY12" fmla="*/ 3717321 h 4223685"/>
                <a:gd name="connsiteX13" fmla="*/ 56280 w 956528"/>
                <a:gd name="connsiteY13" fmla="*/ 3548519 h 4223685"/>
                <a:gd name="connsiteX14" fmla="*/ 337603 w 956528"/>
                <a:gd name="connsiteY14" fmla="*/ 3548519 h 4223685"/>
                <a:gd name="connsiteX15" fmla="*/ 337603 w 956528"/>
                <a:gd name="connsiteY15" fmla="*/ 3492239 h 4223685"/>
                <a:gd name="connsiteX16" fmla="*/ 56280 w 956528"/>
                <a:gd name="connsiteY16" fmla="*/ 3492239 h 4223685"/>
                <a:gd name="connsiteX17" fmla="*/ 56280 w 956528"/>
                <a:gd name="connsiteY17" fmla="*/ 3323438 h 4223685"/>
                <a:gd name="connsiteX18" fmla="*/ 675205 w 956528"/>
                <a:gd name="connsiteY18" fmla="*/ 3323438 h 4223685"/>
                <a:gd name="connsiteX19" fmla="*/ 675205 w 956528"/>
                <a:gd name="connsiteY19" fmla="*/ 3267158 h 4223685"/>
                <a:gd name="connsiteX20" fmla="*/ 56280 w 956528"/>
                <a:gd name="connsiteY20" fmla="*/ 3267158 h 4223685"/>
                <a:gd name="connsiteX21" fmla="*/ 56280 w 956528"/>
                <a:gd name="connsiteY21" fmla="*/ 3098395 h 4223685"/>
                <a:gd name="connsiteX22" fmla="*/ 337603 w 956528"/>
                <a:gd name="connsiteY22" fmla="*/ 3098395 h 4223685"/>
                <a:gd name="connsiteX23" fmla="*/ 337603 w 956528"/>
                <a:gd name="connsiteY23" fmla="*/ 3042115 h 4223685"/>
                <a:gd name="connsiteX24" fmla="*/ 56280 w 956528"/>
                <a:gd name="connsiteY24" fmla="*/ 3042115 h 4223685"/>
                <a:gd name="connsiteX25" fmla="*/ 56280 w 956528"/>
                <a:gd name="connsiteY25" fmla="*/ 2873314 h 4223685"/>
                <a:gd name="connsiteX26" fmla="*/ 337603 w 956528"/>
                <a:gd name="connsiteY26" fmla="*/ 2873314 h 4223685"/>
                <a:gd name="connsiteX27" fmla="*/ 337603 w 956528"/>
                <a:gd name="connsiteY27" fmla="*/ 2817034 h 4223685"/>
                <a:gd name="connsiteX28" fmla="*/ 56280 w 956528"/>
                <a:gd name="connsiteY28" fmla="*/ 2817034 h 4223685"/>
                <a:gd name="connsiteX29" fmla="*/ 56280 w 956528"/>
                <a:gd name="connsiteY29" fmla="*/ 2648233 h 4223685"/>
                <a:gd name="connsiteX30" fmla="*/ 337603 w 956528"/>
                <a:gd name="connsiteY30" fmla="*/ 2648233 h 4223685"/>
                <a:gd name="connsiteX31" fmla="*/ 337603 w 956528"/>
                <a:gd name="connsiteY31" fmla="*/ 2591991 h 4223685"/>
                <a:gd name="connsiteX32" fmla="*/ 56280 w 956528"/>
                <a:gd name="connsiteY32" fmla="*/ 2591991 h 4223685"/>
                <a:gd name="connsiteX33" fmla="*/ 56280 w 956528"/>
                <a:gd name="connsiteY33" fmla="*/ 2423190 h 4223685"/>
                <a:gd name="connsiteX34" fmla="*/ 675205 w 956528"/>
                <a:gd name="connsiteY34" fmla="*/ 2423190 h 4223685"/>
                <a:gd name="connsiteX35" fmla="*/ 675205 w 956528"/>
                <a:gd name="connsiteY35" fmla="*/ 2366909 h 4223685"/>
                <a:gd name="connsiteX36" fmla="*/ 56280 w 956528"/>
                <a:gd name="connsiteY36" fmla="*/ 2366909 h 4223685"/>
                <a:gd name="connsiteX37" fmla="*/ 56280 w 956528"/>
                <a:gd name="connsiteY37" fmla="*/ 2198108 h 4223685"/>
                <a:gd name="connsiteX38" fmla="*/ 337603 w 956528"/>
                <a:gd name="connsiteY38" fmla="*/ 2198108 h 4223685"/>
                <a:gd name="connsiteX39" fmla="*/ 337603 w 956528"/>
                <a:gd name="connsiteY39" fmla="*/ 2141867 h 4223685"/>
                <a:gd name="connsiteX40" fmla="*/ 56280 w 956528"/>
                <a:gd name="connsiteY40" fmla="*/ 2141867 h 4223685"/>
                <a:gd name="connsiteX41" fmla="*/ 56280 w 956528"/>
                <a:gd name="connsiteY41" fmla="*/ 1973065 h 4223685"/>
                <a:gd name="connsiteX42" fmla="*/ 337603 w 956528"/>
                <a:gd name="connsiteY42" fmla="*/ 1973065 h 4223685"/>
                <a:gd name="connsiteX43" fmla="*/ 337603 w 956528"/>
                <a:gd name="connsiteY43" fmla="*/ 1916785 h 4223685"/>
                <a:gd name="connsiteX44" fmla="*/ 56280 w 956528"/>
                <a:gd name="connsiteY44" fmla="*/ 1916785 h 4223685"/>
                <a:gd name="connsiteX45" fmla="*/ 56280 w 956528"/>
                <a:gd name="connsiteY45" fmla="*/ 1747984 h 4223685"/>
                <a:gd name="connsiteX46" fmla="*/ 337603 w 956528"/>
                <a:gd name="connsiteY46" fmla="*/ 1747984 h 4223685"/>
                <a:gd name="connsiteX47" fmla="*/ 337603 w 956528"/>
                <a:gd name="connsiteY47" fmla="*/ 1691704 h 4223685"/>
                <a:gd name="connsiteX48" fmla="*/ 56280 w 956528"/>
                <a:gd name="connsiteY48" fmla="*/ 1691704 h 4223685"/>
                <a:gd name="connsiteX49" fmla="*/ 56280 w 956528"/>
                <a:gd name="connsiteY49" fmla="*/ 1522941 h 4223685"/>
                <a:gd name="connsiteX50" fmla="*/ 675205 w 956528"/>
                <a:gd name="connsiteY50" fmla="*/ 1522941 h 4223685"/>
                <a:gd name="connsiteX51" fmla="*/ 675205 w 956528"/>
                <a:gd name="connsiteY51" fmla="*/ 1466661 h 4223685"/>
                <a:gd name="connsiteX52" fmla="*/ 56280 w 956528"/>
                <a:gd name="connsiteY52" fmla="*/ 1466661 h 4223685"/>
                <a:gd name="connsiteX53" fmla="*/ 56280 w 956528"/>
                <a:gd name="connsiteY53" fmla="*/ 1297860 h 4223685"/>
                <a:gd name="connsiteX54" fmla="*/ 337603 w 956528"/>
                <a:gd name="connsiteY54" fmla="*/ 1297860 h 4223685"/>
                <a:gd name="connsiteX55" fmla="*/ 337603 w 956528"/>
                <a:gd name="connsiteY55" fmla="*/ 1241580 h 4223685"/>
                <a:gd name="connsiteX56" fmla="*/ 56280 w 956528"/>
                <a:gd name="connsiteY56" fmla="*/ 1241580 h 4223685"/>
                <a:gd name="connsiteX57" fmla="*/ 56280 w 956528"/>
                <a:gd name="connsiteY57" fmla="*/ 1072779 h 4223685"/>
                <a:gd name="connsiteX58" fmla="*/ 337603 w 956528"/>
                <a:gd name="connsiteY58" fmla="*/ 1072779 h 4223685"/>
                <a:gd name="connsiteX59" fmla="*/ 337603 w 956528"/>
                <a:gd name="connsiteY59" fmla="*/ 1016537 h 4223685"/>
                <a:gd name="connsiteX60" fmla="*/ 56280 w 956528"/>
                <a:gd name="connsiteY60" fmla="*/ 1016537 h 4223685"/>
                <a:gd name="connsiteX61" fmla="*/ 56280 w 956528"/>
                <a:gd name="connsiteY61" fmla="*/ 847736 h 4223685"/>
                <a:gd name="connsiteX62" fmla="*/ 337603 w 956528"/>
                <a:gd name="connsiteY62" fmla="*/ 847736 h 4223685"/>
                <a:gd name="connsiteX63" fmla="*/ 337603 w 956528"/>
                <a:gd name="connsiteY63" fmla="*/ 791456 h 4223685"/>
                <a:gd name="connsiteX64" fmla="*/ 56280 w 956528"/>
                <a:gd name="connsiteY64" fmla="*/ 791456 h 4223685"/>
                <a:gd name="connsiteX65" fmla="*/ 56280 w 956528"/>
                <a:gd name="connsiteY65" fmla="*/ 622654 h 4223685"/>
                <a:gd name="connsiteX66" fmla="*/ 675205 w 956528"/>
                <a:gd name="connsiteY66" fmla="*/ 622654 h 4223685"/>
                <a:gd name="connsiteX67" fmla="*/ 675205 w 956528"/>
                <a:gd name="connsiteY67" fmla="*/ 566413 h 4223685"/>
                <a:gd name="connsiteX68" fmla="*/ 56280 w 956528"/>
                <a:gd name="connsiteY68" fmla="*/ 566413 h 4223685"/>
                <a:gd name="connsiteX69" fmla="*/ 56280 w 956528"/>
                <a:gd name="connsiteY69" fmla="*/ 397612 h 4223685"/>
                <a:gd name="connsiteX70" fmla="*/ 337603 w 956528"/>
                <a:gd name="connsiteY70" fmla="*/ 397612 h 4223685"/>
                <a:gd name="connsiteX71" fmla="*/ 337603 w 956528"/>
                <a:gd name="connsiteY71" fmla="*/ 341332 h 4223685"/>
                <a:gd name="connsiteX72" fmla="*/ 56280 w 956528"/>
                <a:gd name="connsiteY72" fmla="*/ 341332 h 4223685"/>
                <a:gd name="connsiteX73" fmla="*/ 56280 w 956528"/>
                <a:gd name="connsiteY73" fmla="*/ 172530 h 4223685"/>
                <a:gd name="connsiteX74" fmla="*/ 337603 w 956528"/>
                <a:gd name="connsiteY74" fmla="*/ 172530 h 4223685"/>
                <a:gd name="connsiteX75" fmla="*/ 337603 w 956528"/>
                <a:gd name="connsiteY75" fmla="*/ 116250 h 4223685"/>
                <a:gd name="connsiteX76" fmla="*/ 56280 w 956528"/>
                <a:gd name="connsiteY76" fmla="*/ 116250 h 4223685"/>
                <a:gd name="connsiteX77" fmla="*/ 56280 w 956528"/>
                <a:gd name="connsiteY77" fmla="*/ 0 h 4223685"/>
                <a:gd name="connsiteX78" fmla="*/ 0 w 956528"/>
                <a:gd name="connsiteY78" fmla="*/ 0 h 4223685"/>
                <a:gd name="connsiteX79" fmla="*/ 0 w 956528"/>
                <a:gd name="connsiteY79" fmla="*/ 4223686 h 4223685"/>
                <a:gd name="connsiteX80" fmla="*/ 56280 w 956528"/>
                <a:gd name="connsiteY80" fmla="*/ 4223686 h 4223685"/>
                <a:gd name="connsiteX81" fmla="*/ 900248 w 956528"/>
                <a:gd name="connsiteY81" fmla="*/ 4223686 h 422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956528" h="4223685">
                  <a:moveTo>
                    <a:pt x="956528" y="4223686"/>
                  </a:moveTo>
                  <a:lnTo>
                    <a:pt x="956528" y="0"/>
                  </a:lnTo>
                  <a:lnTo>
                    <a:pt x="900248" y="0"/>
                  </a:lnTo>
                  <a:lnTo>
                    <a:pt x="900248" y="4167445"/>
                  </a:lnTo>
                  <a:lnTo>
                    <a:pt x="56280" y="4167445"/>
                  </a:lnTo>
                  <a:lnTo>
                    <a:pt x="56280" y="3998643"/>
                  </a:lnTo>
                  <a:lnTo>
                    <a:pt x="337603" y="3998643"/>
                  </a:lnTo>
                  <a:lnTo>
                    <a:pt x="337603" y="3942363"/>
                  </a:lnTo>
                  <a:lnTo>
                    <a:pt x="56280" y="3942363"/>
                  </a:lnTo>
                  <a:lnTo>
                    <a:pt x="56280" y="3773562"/>
                  </a:lnTo>
                  <a:lnTo>
                    <a:pt x="337603" y="3773562"/>
                  </a:lnTo>
                  <a:lnTo>
                    <a:pt x="337603" y="3717321"/>
                  </a:lnTo>
                  <a:lnTo>
                    <a:pt x="56280" y="3717321"/>
                  </a:lnTo>
                  <a:lnTo>
                    <a:pt x="56280" y="3548519"/>
                  </a:lnTo>
                  <a:lnTo>
                    <a:pt x="337603" y="3548519"/>
                  </a:lnTo>
                  <a:lnTo>
                    <a:pt x="337603" y="3492239"/>
                  </a:lnTo>
                  <a:lnTo>
                    <a:pt x="56280" y="3492239"/>
                  </a:lnTo>
                  <a:lnTo>
                    <a:pt x="56280" y="3323438"/>
                  </a:lnTo>
                  <a:lnTo>
                    <a:pt x="675205" y="3323438"/>
                  </a:lnTo>
                  <a:lnTo>
                    <a:pt x="675205" y="3267158"/>
                  </a:lnTo>
                  <a:lnTo>
                    <a:pt x="56280" y="3267158"/>
                  </a:lnTo>
                  <a:lnTo>
                    <a:pt x="56280" y="3098395"/>
                  </a:lnTo>
                  <a:lnTo>
                    <a:pt x="337603" y="3098395"/>
                  </a:lnTo>
                  <a:lnTo>
                    <a:pt x="337603" y="3042115"/>
                  </a:lnTo>
                  <a:lnTo>
                    <a:pt x="56280" y="3042115"/>
                  </a:lnTo>
                  <a:lnTo>
                    <a:pt x="56280" y="2873314"/>
                  </a:lnTo>
                  <a:lnTo>
                    <a:pt x="337603" y="2873314"/>
                  </a:lnTo>
                  <a:lnTo>
                    <a:pt x="337603" y="2817034"/>
                  </a:lnTo>
                  <a:lnTo>
                    <a:pt x="56280" y="2817034"/>
                  </a:lnTo>
                  <a:lnTo>
                    <a:pt x="56280" y="2648233"/>
                  </a:lnTo>
                  <a:lnTo>
                    <a:pt x="337603" y="2648233"/>
                  </a:lnTo>
                  <a:lnTo>
                    <a:pt x="337603" y="2591991"/>
                  </a:lnTo>
                  <a:lnTo>
                    <a:pt x="56280" y="2591991"/>
                  </a:lnTo>
                  <a:lnTo>
                    <a:pt x="56280" y="2423190"/>
                  </a:lnTo>
                  <a:lnTo>
                    <a:pt x="675205" y="2423190"/>
                  </a:lnTo>
                  <a:lnTo>
                    <a:pt x="675205" y="2366909"/>
                  </a:lnTo>
                  <a:lnTo>
                    <a:pt x="56280" y="2366909"/>
                  </a:lnTo>
                  <a:lnTo>
                    <a:pt x="56280" y="2198108"/>
                  </a:lnTo>
                  <a:lnTo>
                    <a:pt x="337603" y="2198108"/>
                  </a:lnTo>
                  <a:lnTo>
                    <a:pt x="337603" y="2141867"/>
                  </a:lnTo>
                  <a:lnTo>
                    <a:pt x="56280" y="2141867"/>
                  </a:lnTo>
                  <a:lnTo>
                    <a:pt x="56280" y="1973065"/>
                  </a:lnTo>
                  <a:lnTo>
                    <a:pt x="337603" y="1973065"/>
                  </a:lnTo>
                  <a:lnTo>
                    <a:pt x="337603" y="1916785"/>
                  </a:lnTo>
                  <a:lnTo>
                    <a:pt x="56280" y="1916785"/>
                  </a:lnTo>
                  <a:lnTo>
                    <a:pt x="56280" y="1747984"/>
                  </a:lnTo>
                  <a:lnTo>
                    <a:pt x="337603" y="1747984"/>
                  </a:lnTo>
                  <a:lnTo>
                    <a:pt x="337603" y="1691704"/>
                  </a:lnTo>
                  <a:lnTo>
                    <a:pt x="56280" y="1691704"/>
                  </a:lnTo>
                  <a:lnTo>
                    <a:pt x="56280" y="1522941"/>
                  </a:lnTo>
                  <a:lnTo>
                    <a:pt x="675205" y="1522941"/>
                  </a:lnTo>
                  <a:lnTo>
                    <a:pt x="675205" y="1466661"/>
                  </a:lnTo>
                  <a:lnTo>
                    <a:pt x="56280" y="1466661"/>
                  </a:lnTo>
                  <a:lnTo>
                    <a:pt x="56280" y="1297860"/>
                  </a:lnTo>
                  <a:lnTo>
                    <a:pt x="337603" y="1297860"/>
                  </a:lnTo>
                  <a:lnTo>
                    <a:pt x="337603" y="1241580"/>
                  </a:lnTo>
                  <a:lnTo>
                    <a:pt x="56280" y="1241580"/>
                  </a:lnTo>
                  <a:lnTo>
                    <a:pt x="56280" y="1072779"/>
                  </a:lnTo>
                  <a:lnTo>
                    <a:pt x="337603" y="1072779"/>
                  </a:lnTo>
                  <a:lnTo>
                    <a:pt x="337603" y="1016537"/>
                  </a:lnTo>
                  <a:lnTo>
                    <a:pt x="56280" y="1016537"/>
                  </a:lnTo>
                  <a:lnTo>
                    <a:pt x="56280" y="847736"/>
                  </a:lnTo>
                  <a:lnTo>
                    <a:pt x="337603" y="847736"/>
                  </a:lnTo>
                  <a:lnTo>
                    <a:pt x="337603" y="791456"/>
                  </a:lnTo>
                  <a:lnTo>
                    <a:pt x="56280" y="791456"/>
                  </a:lnTo>
                  <a:lnTo>
                    <a:pt x="56280" y="622654"/>
                  </a:lnTo>
                  <a:lnTo>
                    <a:pt x="675205" y="622654"/>
                  </a:lnTo>
                  <a:lnTo>
                    <a:pt x="675205" y="566413"/>
                  </a:lnTo>
                  <a:lnTo>
                    <a:pt x="56280" y="566413"/>
                  </a:lnTo>
                  <a:lnTo>
                    <a:pt x="56280" y="397612"/>
                  </a:lnTo>
                  <a:lnTo>
                    <a:pt x="337603" y="397612"/>
                  </a:lnTo>
                  <a:lnTo>
                    <a:pt x="337603" y="341332"/>
                  </a:lnTo>
                  <a:lnTo>
                    <a:pt x="56280" y="341332"/>
                  </a:lnTo>
                  <a:lnTo>
                    <a:pt x="56280" y="172530"/>
                  </a:lnTo>
                  <a:lnTo>
                    <a:pt x="337603" y="172530"/>
                  </a:lnTo>
                  <a:lnTo>
                    <a:pt x="337603" y="116250"/>
                  </a:lnTo>
                  <a:lnTo>
                    <a:pt x="56280" y="116250"/>
                  </a:lnTo>
                  <a:lnTo>
                    <a:pt x="56280" y="0"/>
                  </a:lnTo>
                  <a:lnTo>
                    <a:pt x="0" y="0"/>
                  </a:lnTo>
                  <a:lnTo>
                    <a:pt x="0" y="4223686"/>
                  </a:lnTo>
                  <a:lnTo>
                    <a:pt x="56280" y="4223686"/>
                  </a:lnTo>
                  <a:lnTo>
                    <a:pt x="900248" y="42236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06766581-E3EE-4A00-A648-5EF5FDE9993D}"/>
                </a:ext>
              </a:extLst>
            </p:cNvPr>
            <p:cNvSpPr/>
            <p:nvPr/>
          </p:nvSpPr>
          <p:spPr>
            <a:xfrm>
              <a:off x="-1697617" y="1719597"/>
              <a:ext cx="337603" cy="538326"/>
            </a:xfrm>
            <a:custGeom>
              <a:avLst/>
              <a:gdLst>
                <a:gd name="connsiteX0" fmla="*/ 0 w 337603"/>
                <a:gd name="connsiteY0" fmla="*/ 0 h 538326"/>
                <a:gd name="connsiteX1" fmla="*/ 56280 w 337603"/>
                <a:gd name="connsiteY1" fmla="*/ 0 h 538326"/>
                <a:gd name="connsiteX2" fmla="*/ 56280 w 337603"/>
                <a:gd name="connsiteY2" fmla="*/ 101734 h 538326"/>
                <a:gd name="connsiteX3" fmla="*/ 337603 w 337603"/>
                <a:gd name="connsiteY3" fmla="*/ 101734 h 538326"/>
                <a:gd name="connsiteX4" fmla="*/ 337603 w 337603"/>
                <a:gd name="connsiteY4" fmla="*/ 158014 h 538326"/>
                <a:gd name="connsiteX5" fmla="*/ 56280 w 337603"/>
                <a:gd name="connsiteY5" fmla="*/ 158014 h 538326"/>
                <a:gd name="connsiteX6" fmla="*/ 56280 w 337603"/>
                <a:gd name="connsiteY6" fmla="*/ 326815 h 538326"/>
                <a:gd name="connsiteX7" fmla="*/ 337603 w 337603"/>
                <a:gd name="connsiteY7" fmla="*/ 326815 h 538326"/>
                <a:gd name="connsiteX8" fmla="*/ 337603 w 337603"/>
                <a:gd name="connsiteY8" fmla="*/ 383056 h 538326"/>
                <a:gd name="connsiteX9" fmla="*/ 56280 w 337603"/>
                <a:gd name="connsiteY9" fmla="*/ 383056 h 538326"/>
                <a:gd name="connsiteX10" fmla="*/ 56280 w 337603"/>
                <a:gd name="connsiteY10" fmla="*/ 538326 h 538326"/>
                <a:gd name="connsiteX11" fmla="*/ 0 w 337603"/>
                <a:gd name="connsiteY11" fmla="*/ 538326 h 538326"/>
                <a:gd name="connsiteX12" fmla="*/ 0 w 337603"/>
                <a:gd name="connsiteY12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7603" h="538326">
                  <a:moveTo>
                    <a:pt x="0" y="0"/>
                  </a:moveTo>
                  <a:lnTo>
                    <a:pt x="56280" y="0"/>
                  </a:lnTo>
                  <a:lnTo>
                    <a:pt x="56280" y="101734"/>
                  </a:lnTo>
                  <a:lnTo>
                    <a:pt x="337603" y="101734"/>
                  </a:lnTo>
                  <a:lnTo>
                    <a:pt x="337603" y="158014"/>
                  </a:lnTo>
                  <a:lnTo>
                    <a:pt x="56280" y="158014"/>
                  </a:lnTo>
                  <a:lnTo>
                    <a:pt x="56280" y="326815"/>
                  </a:lnTo>
                  <a:lnTo>
                    <a:pt x="337603" y="326815"/>
                  </a:lnTo>
                  <a:lnTo>
                    <a:pt x="337603" y="383056"/>
                  </a:lnTo>
                  <a:lnTo>
                    <a:pt x="56280" y="383056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06BDB482-5C53-4DC4-B75D-96033238E642}"/>
                </a:ext>
              </a:extLst>
            </p:cNvPr>
            <p:cNvSpPr/>
            <p:nvPr/>
          </p:nvSpPr>
          <p:spPr>
            <a:xfrm>
              <a:off x="-797368" y="1719597"/>
              <a:ext cx="56280" cy="538326"/>
            </a:xfrm>
            <a:custGeom>
              <a:avLst/>
              <a:gdLst>
                <a:gd name="connsiteX0" fmla="*/ 0 w 56280"/>
                <a:gd name="connsiteY0" fmla="*/ 0 h 538326"/>
                <a:gd name="connsiteX1" fmla="*/ 56280 w 56280"/>
                <a:gd name="connsiteY1" fmla="*/ 0 h 538326"/>
                <a:gd name="connsiteX2" fmla="*/ 56280 w 56280"/>
                <a:gd name="connsiteY2" fmla="*/ 538326 h 538326"/>
                <a:gd name="connsiteX3" fmla="*/ 0 w 56280"/>
                <a:gd name="connsiteY3" fmla="*/ 538326 h 538326"/>
                <a:gd name="connsiteX4" fmla="*/ 0 w 56280"/>
                <a:gd name="connsiteY4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80" h="538326">
                  <a:moveTo>
                    <a:pt x="0" y="0"/>
                  </a:moveTo>
                  <a:lnTo>
                    <a:pt x="56280" y="0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</p:grpSp>
      <p:sp>
        <p:nvSpPr>
          <p:cNvPr id="58" name="Round Same-side Corner of Rectangle 79">
            <a:extLst>
              <a:ext uri="{FF2B5EF4-FFF2-40B4-BE49-F238E27FC236}">
                <a16:creationId xmlns:a16="http://schemas.microsoft.com/office/drawing/2014/main" id="{8453C795-6141-456E-B878-3D39F4374BD2}"/>
              </a:ext>
            </a:extLst>
          </p:cNvPr>
          <p:cNvSpPr/>
          <p:nvPr userDrawn="1"/>
        </p:nvSpPr>
        <p:spPr>
          <a:xfrm rot="5400000">
            <a:off x="10613117" y="550943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9" name="TextBox 58">
            <a:hlinkClick r:id="" action="ppaction://noaction"/>
            <a:extLst>
              <a:ext uri="{FF2B5EF4-FFF2-40B4-BE49-F238E27FC236}">
                <a16:creationId xmlns:a16="http://schemas.microsoft.com/office/drawing/2014/main" id="{B10AB884-042F-4BEE-8D94-8043B4A41513}"/>
              </a:ext>
            </a:extLst>
          </p:cNvPr>
          <p:cNvSpPr txBox="1"/>
          <p:nvPr userDrawn="1"/>
        </p:nvSpPr>
        <p:spPr>
          <a:xfrm>
            <a:off x="10870644" y="555078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60" name="Round Same-side Corner of Rectangle 79">
            <a:extLst>
              <a:ext uri="{FF2B5EF4-FFF2-40B4-BE49-F238E27FC236}">
                <a16:creationId xmlns:a16="http://schemas.microsoft.com/office/drawing/2014/main" id="{7E104A7C-8E96-4FE1-B71E-3330583C5035}"/>
              </a:ext>
            </a:extLst>
          </p:cNvPr>
          <p:cNvSpPr/>
          <p:nvPr userDrawn="1"/>
        </p:nvSpPr>
        <p:spPr>
          <a:xfrm rot="5400000">
            <a:off x="10613117" y="5784862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1" name="TextBox 60">
            <a:hlinkClick r:id="" action="ppaction://noaction"/>
            <a:extLst>
              <a:ext uri="{FF2B5EF4-FFF2-40B4-BE49-F238E27FC236}">
                <a16:creationId xmlns:a16="http://schemas.microsoft.com/office/drawing/2014/main" id="{3FDD2155-436B-4F18-9643-160642363409}"/>
              </a:ext>
            </a:extLst>
          </p:cNvPr>
          <p:cNvSpPr txBox="1"/>
          <p:nvPr userDrawn="1"/>
        </p:nvSpPr>
        <p:spPr>
          <a:xfrm>
            <a:off x="10870644" y="5826211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72" name="Freeform 25">
            <a:extLst>
              <a:ext uri="{FF2B5EF4-FFF2-40B4-BE49-F238E27FC236}">
                <a16:creationId xmlns:a16="http://schemas.microsoft.com/office/drawing/2014/main" id="{B5E4CC91-A830-4F1A-B7FA-51A6679A8CE5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5549100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73" name="Round Same-side Corner of Rectangle 79">
            <a:extLst>
              <a:ext uri="{FF2B5EF4-FFF2-40B4-BE49-F238E27FC236}">
                <a16:creationId xmlns:a16="http://schemas.microsoft.com/office/drawing/2014/main" id="{7B717917-CF09-4DBD-958C-9AF7AC3A8F76}"/>
              </a:ext>
            </a:extLst>
          </p:cNvPr>
          <p:cNvSpPr/>
          <p:nvPr userDrawn="1"/>
        </p:nvSpPr>
        <p:spPr>
          <a:xfrm rot="5400000">
            <a:off x="10615976" y="606635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74" name="TextBox 73">
            <a:hlinkClick r:id="" action="ppaction://noaction"/>
            <a:extLst>
              <a:ext uri="{FF2B5EF4-FFF2-40B4-BE49-F238E27FC236}">
                <a16:creationId xmlns:a16="http://schemas.microsoft.com/office/drawing/2014/main" id="{FFF29B9E-D0E3-45E8-8D06-63BC7DE0EF49}"/>
              </a:ext>
            </a:extLst>
          </p:cNvPr>
          <p:cNvSpPr txBox="1"/>
          <p:nvPr userDrawn="1"/>
        </p:nvSpPr>
        <p:spPr>
          <a:xfrm>
            <a:off x="10873503" y="6107704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75" name="Freeform 21">
            <a:extLst>
              <a:ext uri="{FF2B5EF4-FFF2-40B4-BE49-F238E27FC236}">
                <a16:creationId xmlns:a16="http://schemas.microsoft.com/office/drawing/2014/main" id="{29B43A96-796D-4183-88DC-30563B769F58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6115929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76" name="Graphic 28" descr="List">
            <a:extLst>
              <a:ext uri="{FF2B5EF4-FFF2-40B4-BE49-F238E27FC236}">
                <a16:creationId xmlns:a16="http://schemas.microsoft.com/office/drawing/2014/main" id="{9C219480-DBF7-4F17-8FE8-061F087340D0}"/>
              </a:ext>
            </a:extLst>
          </p:cNvPr>
          <p:cNvGrpSpPr/>
          <p:nvPr userDrawn="1"/>
        </p:nvGrpSpPr>
        <p:grpSpPr>
          <a:xfrm>
            <a:off x="10657446" y="5818069"/>
            <a:ext cx="103548" cy="146640"/>
            <a:chOff x="981871" y="1231905"/>
            <a:chExt cx="246063" cy="317501"/>
          </a:xfrm>
        </p:grpSpPr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0C45A6C9-84A6-4871-ACC4-57338EE25579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109BBD40-EC91-47C8-AE88-D64B93612C2A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6B81B8A0-AA05-415B-A221-828E308C1A12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D03AD608-5C1E-44FA-808B-033BD38A3408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B587A714-625F-4173-A87D-734CDC46E292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EB5E64C-CA28-4E7B-ADC9-BF9F8CC03F0F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F69A345-8DEF-4DB5-8A32-D96D170C361F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5A8209C8-848D-40D8-9E24-0F99BFD40DE8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79FFD469-3088-4FDA-8DC5-CE738911CBA9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80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71F43774-61EB-45D8-BB1B-F3088F176273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2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3FD8F0AC-4029-4E7A-93D6-B420A2C18FB2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1EEA5A11-5B2B-41F1-A6CA-5EBB965BDC1B}"/>
              </a:ext>
            </a:extLst>
          </p:cNvPr>
          <p:cNvSpPr/>
          <p:nvPr userDrawn="1"/>
        </p:nvSpPr>
        <p:spPr>
          <a:xfrm rot="5400000">
            <a:off x="11280167" y="4840571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6BB36E1A-DEC5-448F-9377-0C187807F3D1}"/>
              </a:ext>
            </a:extLst>
          </p:cNvPr>
          <p:cNvSpPr/>
          <p:nvPr userDrawn="1"/>
        </p:nvSpPr>
        <p:spPr>
          <a:xfrm rot="5400000">
            <a:off x="11280167" y="5116475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6A1F2315-85CE-4D6F-82B3-AE79F4000CC1}"/>
              </a:ext>
            </a:extLst>
          </p:cNvPr>
          <p:cNvSpPr/>
          <p:nvPr userDrawn="1"/>
        </p:nvSpPr>
        <p:spPr>
          <a:xfrm rot="5400000">
            <a:off x="11280167" y="5392379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7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B8229BE8-9F62-45C1-B541-0E375B873BA2}"/>
              </a:ext>
            </a:extLst>
          </p:cNvPr>
          <p:cNvSpPr/>
          <p:nvPr userDrawn="1"/>
        </p:nvSpPr>
        <p:spPr>
          <a:xfrm rot="5400000">
            <a:off x="11473096" y="1472755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9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7192E72B-A0D4-49BB-8FAE-62B7C7AE341A}"/>
              </a:ext>
            </a:extLst>
          </p:cNvPr>
          <p:cNvSpPr/>
          <p:nvPr userDrawn="1"/>
        </p:nvSpPr>
        <p:spPr>
          <a:xfrm rot="5400000">
            <a:off x="11473096" y="192820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0" name="Round Same-side Corner of Rectangle 79">
            <a:hlinkClick r:id="rId5" action="ppaction://hlinksldjump"/>
            <a:extLst>
              <a:ext uri="{FF2B5EF4-FFF2-40B4-BE49-F238E27FC236}">
                <a16:creationId xmlns:a16="http://schemas.microsoft.com/office/drawing/2014/main" id="{CA00B719-E70B-4E15-8738-56C2E6A0909F}"/>
              </a:ext>
            </a:extLst>
          </p:cNvPr>
          <p:cNvSpPr/>
          <p:nvPr userDrawn="1"/>
        </p:nvSpPr>
        <p:spPr>
          <a:xfrm rot="5400000">
            <a:off x="11473096" y="2380734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1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CF859E07-0908-4177-9DE7-D99580DC29CA}"/>
              </a:ext>
            </a:extLst>
          </p:cNvPr>
          <p:cNvSpPr/>
          <p:nvPr userDrawn="1"/>
        </p:nvSpPr>
        <p:spPr>
          <a:xfrm rot="5400000">
            <a:off x="11473096" y="2833262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2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E2D8FE57-DCCD-4994-A99A-ED03D53632C1}"/>
              </a:ext>
            </a:extLst>
          </p:cNvPr>
          <p:cNvSpPr/>
          <p:nvPr userDrawn="1"/>
        </p:nvSpPr>
        <p:spPr>
          <a:xfrm rot="5400000">
            <a:off x="11473096" y="3285790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5EDA2695-A107-4BC1-B319-4E56466DC11C}"/>
              </a:ext>
            </a:extLst>
          </p:cNvPr>
          <p:cNvSpPr/>
          <p:nvPr userDrawn="1"/>
        </p:nvSpPr>
        <p:spPr>
          <a:xfrm rot="5400000">
            <a:off x="11473096" y="3738318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AA84A080-1931-4267-B447-3B08CF475D24}"/>
              </a:ext>
            </a:extLst>
          </p:cNvPr>
          <p:cNvSpPr/>
          <p:nvPr userDrawn="1"/>
        </p:nvSpPr>
        <p:spPr>
          <a:xfrm rot="5400000">
            <a:off x="11287463" y="4005214"/>
            <a:ext cx="349171" cy="1453551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E9CB9E46-189B-413E-803E-A808474450C3}"/>
              </a:ext>
            </a:extLst>
          </p:cNvPr>
          <p:cNvSpPr/>
          <p:nvPr userDrawn="1"/>
        </p:nvSpPr>
        <p:spPr>
          <a:xfrm rot="5400000">
            <a:off x="11473096" y="464337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304857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Pilla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young child with a stethoscope around her neck&#10;&#10;Description automatically generated with medium confidence">
            <a:extLst>
              <a:ext uri="{FF2B5EF4-FFF2-40B4-BE49-F238E27FC236}">
                <a16:creationId xmlns:a16="http://schemas.microsoft.com/office/drawing/2014/main" id="{7854B298-22E8-415A-9B9B-4123152C1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795490" y="0"/>
            <a:ext cx="10283686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52DACC8-F68A-4E7E-B68C-7F1399D9114E}"/>
              </a:ext>
            </a:extLst>
          </p:cNvPr>
          <p:cNvSpPr/>
          <p:nvPr userDrawn="1"/>
        </p:nvSpPr>
        <p:spPr>
          <a:xfrm>
            <a:off x="2072100" y="6705600"/>
            <a:ext cx="8044625" cy="15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800">
                <a:solidFill>
                  <a:schemeClr val="tx1"/>
                </a:solidFill>
                <a:ea typeface="MS PGothic" pitchFamily="34" charset="-128"/>
              </a:rPr>
              <a:t>Pfizer Confidential – Internal Use Only, Not for Further Distribution</a:t>
            </a:r>
            <a:endParaRPr lang="en-US" sz="800">
              <a:solidFill>
                <a:schemeClr val="tx1"/>
              </a:solidFill>
              <a:ea typeface="MS PGothic" pitchFamily="34" charset="-128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C514C5-2143-4E16-837F-CF028230C903}"/>
              </a:ext>
            </a:extLst>
          </p:cNvPr>
          <p:cNvSpPr/>
          <p:nvPr userDrawn="1"/>
        </p:nvSpPr>
        <p:spPr>
          <a:xfrm>
            <a:off x="0" y="0"/>
            <a:ext cx="2011157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E1FD921-B9B9-4E01-8593-A27B37592D89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27281B-F7F1-4E3B-B238-0D64683B763A}"/>
              </a:ext>
            </a:extLst>
          </p:cNvPr>
          <p:cNvSpPr/>
          <p:nvPr userDrawn="1"/>
        </p:nvSpPr>
        <p:spPr>
          <a:xfrm>
            <a:off x="1897132" y="0"/>
            <a:ext cx="138452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3941344-CBA3-46F5-9801-595985401D8A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D2612D66-723A-4927-9CE6-16C13A003646}"/>
              </a:ext>
            </a:extLst>
          </p:cNvPr>
          <p:cNvSpPr/>
          <p:nvPr/>
        </p:nvSpPr>
        <p:spPr>
          <a:xfrm>
            <a:off x="0" y="141677"/>
            <a:ext cx="324007" cy="6853150"/>
          </a:xfrm>
          <a:custGeom>
            <a:avLst/>
            <a:gdLst>
              <a:gd name="connsiteX0" fmla="*/ 0 w 324091"/>
              <a:gd name="connsiteY0" fmla="*/ 6807430 h 6853150"/>
              <a:gd name="connsiteX1" fmla="*/ 81776 w 324091"/>
              <a:gd name="connsiteY1" fmla="*/ 6807430 h 6853150"/>
              <a:gd name="connsiteX2" fmla="*/ 104636 w 324091"/>
              <a:gd name="connsiteY2" fmla="*/ 6830290 h 6853150"/>
              <a:gd name="connsiteX3" fmla="*/ 104635 w 324091"/>
              <a:gd name="connsiteY3" fmla="*/ 6830290 h 6853150"/>
              <a:gd name="connsiteX4" fmla="*/ 81775 w 324091"/>
              <a:gd name="connsiteY4" fmla="*/ 6853150 h 6853150"/>
              <a:gd name="connsiteX5" fmla="*/ 0 w 324091"/>
              <a:gd name="connsiteY5" fmla="*/ 6853150 h 6853150"/>
              <a:gd name="connsiteX6" fmla="*/ 0 w 324091"/>
              <a:gd name="connsiteY6" fmla="*/ 6653902 h 6853150"/>
              <a:gd name="connsiteX7" fmla="*/ 173216 w 324091"/>
              <a:gd name="connsiteY7" fmla="*/ 6653902 h 6853150"/>
              <a:gd name="connsiteX8" fmla="*/ 196076 w 324091"/>
              <a:gd name="connsiteY8" fmla="*/ 6676762 h 6853150"/>
              <a:gd name="connsiteX9" fmla="*/ 196075 w 324091"/>
              <a:gd name="connsiteY9" fmla="*/ 6676762 h 6853150"/>
              <a:gd name="connsiteX10" fmla="*/ 173215 w 324091"/>
              <a:gd name="connsiteY10" fmla="*/ 6699622 h 6853150"/>
              <a:gd name="connsiteX11" fmla="*/ 0 w 324091"/>
              <a:gd name="connsiteY11" fmla="*/ 6699622 h 6853150"/>
              <a:gd name="connsiteX12" fmla="*/ 0 w 324091"/>
              <a:gd name="connsiteY12" fmla="*/ 6500374 h 6853150"/>
              <a:gd name="connsiteX13" fmla="*/ 81776 w 324091"/>
              <a:gd name="connsiteY13" fmla="*/ 6500374 h 6853150"/>
              <a:gd name="connsiteX14" fmla="*/ 104636 w 324091"/>
              <a:gd name="connsiteY14" fmla="*/ 6523234 h 6853150"/>
              <a:gd name="connsiteX15" fmla="*/ 104635 w 324091"/>
              <a:gd name="connsiteY15" fmla="*/ 6523234 h 6853150"/>
              <a:gd name="connsiteX16" fmla="*/ 81775 w 324091"/>
              <a:gd name="connsiteY16" fmla="*/ 6546094 h 6853150"/>
              <a:gd name="connsiteX17" fmla="*/ 0 w 324091"/>
              <a:gd name="connsiteY17" fmla="*/ 6546094 h 6853150"/>
              <a:gd name="connsiteX18" fmla="*/ 0 w 324091"/>
              <a:gd name="connsiteY18" fmla="*/ 6302591 h 6853150"/>
              <a:gd name="connsiteX19" fmla="*/ 279104 w 324091"/>
              <a:gd name="connsiteY19" fmla="*/ 6302591 h 6853150"/>
              <a:gd name="connsiteX20" fmla="*/ 324091 w 324091"/>
              <a:gd name="connsiteY20" fmla="*/ 6347578 h 6853150"/>
              <a:gd name="connsiteX21" fmla="*/ 279104 w 324091"/>
              <a:gd name="connsiteY21" fmla="*/ 6392565 h 6853150"/>
              <a:gd name="connsiteX22" fmla="*/ 0 w 324091"/>
              <a:gd name="connsiteY22" fmla="*/ 6392565 h 6853150"/>
              <a:gd name="connsiteX23" fmla="*/ 0 w 324091"/>
              <a:gd name="connsiteY23" fmla="*/ 6124755 h 6853150"/>
              <a:gd name="connsiteX24" fmla="*/ 81776 w 324091"/>
              <a:gd name="connsiteY24" fmla="*/ 6124755 h 6853150"/>
              <a:gd name="connsiteX25" fmla="*/ 104636 w 324091"/>
              <a:gd name="connsiteY25" fmla="*/ 6147615 h 6853150"/>
              <a:gd name="connsiteX26" fmla="*/ 104635 w 324091"/>
              <a:gd name="connsiteY26" fmla="*/ 6147615 h 6853150"/>
              <a:gd name="connsiteX27" fmla="*/ 81775 w 324091"/>
              <a:gd name="connsiteY27" fmla="*/ 6170475 h 6853150"/>
              <a:gd name="connsiteX28" fmla="*/ 0 w 324091"/>
              <a:gd name="connsiteY28" fmla="*/ 6170475 h 6853150"/>
              <a:gd name="connsiteX29" fmla="*/ 0 w 324091"/>
              <a:gd name="connsiteY29" fmla="*/ 5971227 h 6853150"/>
              <a:gd name="connsiteX30" fmla="*/ 173216 w 324091"/>
              <a:gd name="connsiteY30" fmla="*/ 5971227 h 6853150"/>
              <a:gd name="connsiteX31" fmla="*/ 196076 w 324091"/>
              <a:gd name="connsiteY31" fmla="*/ 5994087 h 6853150"/>
              <a:gd name="connsiteX32" fmla="*/ 196075 w 324091"/>
              <a:gd name="connsiteY32" fmla="*/ 5994087 h 6853150"/>
              <a:gd name="connsiteX33" fmla="*/ 173215 w 324091"/>
              <a:gd name="connsiteY33" fmla="*/ 6016947 h 6853150"/>
              <a:gd name="connsiteX34" fmla="*/ 0 w 324091"/>
              <a:gd name="connsiteY34" fmla="*/ 6016947 h 6853150"/>
              <a:gd name="connsiteX35" fmla="*/ 0 w 324091"/>
              <a:gd name="connsiteY35" fmla="*/ 5817699 h 6853150"/>
              <a:gd name="connsiteX36" fmla="*/ 81776 w 324091"/>
              <a:gd name="connsiteY36" fmla="*/ 5817699 h 6853150"/>
              <a:gd name="connsiteX37" fmla="*/ 104636 w 324091"/>
              <a:gd name="connsiteY37" fmla="*/ 5840559 h 6853150"/>
              <a:gd name="connsiteX38" fmla="*/ 104635 w 324091"/>
              <a:gd name="connsiteY38" fmla="*/ 5840559 h 6853150"/>
              <a:gd name="connsiteX39" fmla="*/ 81775 w 324091"/>
              <a:gd name="connsiteY39" fmla="*/ 5863419 h 6853150"/>
              <a:gd name="connsiteX40" fmla="*/ 0 w 324091"/>
              <a:gd name="connsiteY40" fmla="*/ 5863419 h 6853150"/>
              <a:gd name="connsiteX41" fmla="*/ 0 w 324091"/>
              <a:gd name="connsiteY41" fmla="*/ 5619916 h 6853150"/>
              <a:gd name="connsiteX42" fmla="*/ 279104 w 324091"/>
              <a:gd name="connsiteY42" fmla="*/ 5619916 h 6853150"/>
              <a:gd name="connsiteX43" fmla="*/ 324091 w 324091"/>
              <a:gd name="connsiteY43" fmla="*/ 5664903 h 6853150"/>
              <a:gd name="connsiteX44" fmla="*/ 279104 w 324091"/>
              <a:gd name="connsiteY44" fmla="*/ 5709890 h 6853150"/>
              <a:gd name="connsiteX45" fmla="*/ 0 w 324091"/>
              <a:gd name="connsiteY45" fmla="*/ 5709890 h 6853150"/>
              <a:gd name="connsiteX46" fmla="*/ 0 w 324091"/>
              <a:gd name="connsiteY46" fmla="*/ 5442077 h 6853150"/>
              <a:gd name="connsiteX47" fmla="*/ 81776 w 324091"/>
              <a:gd name="connsiteY47" fmla="*/ 5442077 h 6853150"/>
              <a:gd name="connsiteX48" fmla="*/ 104636 w 324091"/>
              <a:gd name="connsiteY48" fmla="*/ 5464937 h 6853150"/>
              <a:gd name="connsiteX49" fmla="*/ 104635 w 324091"/>
              <a:gd name="connsiteY49" fmla="*/ 5464937 h 6853150"/>
              <a:gd name="connsiteX50" fmla="*/ 81775 w 324091"/>
              <a:gd name="connsiteY50" fmla="*/ 5487797 h 6853150"/>
              <a:gd name="connsiteX51" fmla="*/ 0 w 324091"/>
              <a:gd name="connsiteY51" fmla="*/ 5487797 h 6853150"/>
              <a:gd name="connsiteX52" fmla="*/ 0 w 324091"/>
              <a:gd name="connsiteY52" fmla="*/ 5288549 h 6853150"/>
              <a:gd name="connsiteX53" fmla="*/ 173216 w 324091"/>
              <a:gd name="connsiteY53" fmla="*/ 5288549 h 6853150"/>
              <a:gd name="connsiteX54" fmla="*/ 196076 w 324091"/>
              <a:gd name="connsiteY54" fmla="*/ 5311409 h 6853150"/>
              <a:gd name="connsiteX55" fmla="*/ 196075 w 324091"/>
              <a:gd name="connsiteY55" fmla="*/ 5311409 h 6853150"/>
              <a:gd name="connsiteX56" fmla="*/ 173215 w 324091"/>
              <a:gd name="connsiteY56" fmla="*/ 5334269 h 6853150"/>
              <a:gd name="connsiteX57" fmla="*/ 0 w 324091"/>
              <a:gd name="connsiteY57" fmla="*/ 5334269 h 6853150"/>
              <a:gd name="connsiteX58" fmla="*/ 0 w 324091"/>
              <a:gd name="connsiteY58" fmla="*/ 5135021 h 6853150"/>
              <a:gd name="connsiteX59" fmla="*/ 81776 w 324091"/>
              <a:gd name="connsiteY59" fmla="*/ 5135021 h 6853150"/>
              <a:gd name="connsiteX60" fmla="*/ 104636 w 324091"/>
              <a:gd name="connsiteY60" fmla="*/ 5157881 h 6853150"/>
              <a:gd name="connsiteX61" fmla="*/ 104635 w 324091"/>
              <a:gd name="connsiteY61" fmla="*/ 5157881 h 6853150"/>
              <a:gd name="connsiteX62" fmla="*/ 81775 w 324091"/>
              <a:gd name="connsiteY62" fmla="*/ 5180741 h 6853150"/>
              <a:gd name="connsiteX63" fmla="*/ 0 w 324091"/>
              <a:gd name="connsiteY63" fmla="*/ 5180741 h 6853150"/>
              <a:gd name="connsiteX64" fmla="*/ 0 w 324091"/>
              <a:gd name="connsiteY64" fmla="*/ 4937238 h 6853150"/>
              <a:gd name="connsiteX65" fmla="*/ 279104 w 324091"/>
              <a:gd name="connsiteY65" fmla="*/ 4937238 h 6853150"/>
              <a:gd name="connsiteX66" fmla="*/ 324091 w 324091"/>
              <a:gd name="connsiteY66" fmla="*/ 4982225 h 6853150"/>
              <a:gd name="connsiteX67" fmla="*/ 279104 w 324091"/>
              <a:gd name="connsiteY67" fmla="*/ 5027212 h 6853150"/>
              <a:gd name="connsiteX68" fmla="*/ 0 w 324091"/>
              <a:gd name="connsiteY68" fmla="*/ 5027212 h 6853150"/>
              <a:gd name="connsiteX69" fmla="*/ 0 w 324091"/>
              <a:gd name="connsiteY69" fmla="*/ 4759399 h 6853150"/>
              <a:gd name="connsiteX70" fmla="*/ 81776 w 324091"/>
              <a:gd name="connsiteY70" fmla="*/ 4759399 h 6853150"/>
              <a:gd name="connsiteX71" fmla="*/ 104636 w 324091"/>
              <a:gd name="connsiteY71" fmla="*/ 4782259 h 6853150"/>
              <a:gd name="connsiteX72" fmla="*/ 104635 w 324091"/>
              <a:gd name="connsiteY72" fmla="*/ 4782259 h 6853150"/>
              <a:gd name="connsiteX73" fmla="*/ 81775 w 324091"/>
              <a:gd name="connsiteY73" fmla="*/ 4805119 h 6853150"/>
              <a:gd name="connsiteX74" fmla="*/ 0 w 324091"/>
              <a:gd name="connsiteY74" fmla="*/ 4805119 h 6853150"/>
              <a:gd name="connsiteX75" fmla="*/ 0 w 324091"/>
              <a:gd name="connsiteY75" fmla="*/ 4605871 h 6853150"/>
              <a:gd name="connsiteX76" fmla="*/ 173216 w 324091"/>
              <a:gd name="connsiteY76" fmla="*/ 4605871 h 6853150"/>
              <a:gd name="connsiteX77" fmla="*/ 196076 w 324091"/>
              <a:gd name="connsiteY77" fmla="*/ 4628731 h 6853150"/>
              <a:gd name="connsiteX78" fmla="*/ 196075 w 324091"/>
              <a:gd name="connsiteY78" fmla="*/ 4628731 h 6853150"/>
              <a:gd name="connsiteX79" fmla="*/ 173215 w 324091"/>
              <a:gd name="connsiteY79" fmla="*/ 4651591 h 6853150"/>
              <a:gd name="connsiteX80" fmla="*/ 0 w 324091"/>
              <a:gd name="connsiteY80" fmla="*/ 4651591 h 6853150"/>
              <a:gd name="connsiteX81" fmla="*/ 0 w 324091"/>
              <a:gd name="connsiteY81" fmla="*/ 4452343 h 6853150"/>
              <a:gd name="connsiteX82" fmla="*/ 81776 w 324091"/>
              <a:gd name="connsiteY82" fmla="*/ 4452343 h 6853150"/>
              <a:gd name="connsiteX83" fmla="*/ 104636 w 324091"/>
              <a:gd name="connsiteY83" fmla="*/ 4475203 h 6853150"/>
              <a:gd name="connsiteX84" fmla="*/ 104635 w 324091"/>
              <a:gd name="connsiteY84" fmla="*/ 4475203 h 6853150"/>
              <a:gd name="connsiteX85" fmla="*/ 81775 w 324091"/>
              <a:gd name="connsiteY85" fmla="*/ 4498063 h 6853150"/>
              <a:gd name="connsiteX86" fmla="*/ 0 w 324091"/>
              <a:gd name="connsiteY86" fmla="*/ 4498063 h 6853150"/>
              <a:gd name="connsiteX87" fmla="*/ 0 w 324091"/>
              <a:gd name="connsiteY87" fmla="*/ 4254560 h 6853150"/>
              <a:gd name="connsiteX88" fmla="*/ 279104 w 324091"/>
              <a:gd name="connsiteY88" fmla="*/ 4254560 h 6853150"/>
              <a:gd name="connsiteX89" fmla="*/ 324091 w 324091"/>
              <a:gd name="connsiteY89" fmla="*/ 4299547 h 6853150"/>
              <a:gd name="connsiteX90" fmla="*/ 279104 w 324091"/>
              <a:gd name="connsiteY90" fmla="*/ 4344534 h 6853150"/>
              <a:gd name="connsiteX91" fmla="*/ 0 w 324091"/>
              <a:gd name="connsiteY91" fmla="*/ 4344534 h 6853150"/>
              <a:gd name="connsiteX92" fmla="*/ 0 w 324091"/>
              <a:gd name="connsiteY92" fmla="*/ 4076721 h 6853150"/>
              <a:gd name="connsiteX93" fmla="*/ 81776 w 324091"/>
              <a:gd name="connsiteY93" fmla="*/ 4076721 h 6853150"/>
              <a:gd name="connsiteX94" fmla="*/ 104636 w 324091"/>
              <a:gd name="connsiteY94" fmla="*/ 4099581 h 6853150"/>
              <a:gd name="connsiteX95" fmla="*/ 104635 w 324091"/>
              <a:gd name="connsiteY95" fmla="*/ 4099581 h 6853150"/>
              <a:gd name="connsiteX96" fmla="*/ 81775 w 324091"/>
              <a:gd name="connsiteY96" fmla="*/ 4122441 h 6853150"/>
              <a:gd name="connsiteX97" fmla="*/ 0 w 324091"/>
              <a:gd name="connsiteY97" fmla="*/ 4122441 h 6853150"/>
              <a:gd name="connsiteX98" fmla="*/ 0 w 324091"/>
              <a:gd name="connsiteY98" fmla="*/ 3923193 h 6853150"/>
              <a:gd name="connsiteX99" fmla="*/ 173216 w 324091"/>
              <a:gd name="connsiteY99" fmla="*/ 3923193 h 6853150"/>
              <a:gd name="connsiteX100" fmla="*/ 196076 w 324091"/>
              <a:gd name="connsiteY100" fmla="*/ 3946053 h 6853150"/>
              <a:gd name="connsiteX101" fmla="*/ 196075 w 324091"/>
              <a:gd name="connsiteY101" fmla="*/ 3946053 h 6853150"/>
              <a:gd name="connsiteX102" fmla="*/ 173215 w 324091"/>
              <a:gd name="connsiteY102" fmla="*/ 3968913 h 6853150"/>
              <a:gd name="connsiteX103" fmla="*/ 0 w 324091"/>
              <a:gd name="connsiteY103" fmla="*/ 3968913 h 6853150"/>
              <a:gd name="connsiteX104" fmla="*/ 0 w 324091"/>
              <a:gd name="connsiteY104" fmla="*/ 3769665 h 6853150"/>
              <a:gd name="connsiteX105" fmla="*/ 81776 w 324091"/>
              <a:gd name="connsiteY105" fmla="*/ 3769665 h 6853150"/>
              <a:gd name="connsiteX106" fmla="*/ 104636 w 324091"/>
              <a:gd name="connsiteY106" fmla="*/ 3792525 h 6853150"/>
              <a:gd name="connsiteX107" fmla="*/ 104635 w 324091"/>
              <a:gd name="connsiteY107" fmla="*/ 3792525 h 6853150"/>
              <a:gd name="connsiteX108" fmla="*/ 81775 w 324091"/>
              <a:gd name="connsiteY108" fmla="*/ 3815385 h 6853150"/>
              <a:gd name="connsiteX109" fmla="*/ 0 w 324091"/>
              <a:gd name="connsiteY109" fmla="*/ 3815385 h 6853150"/>
              <a:gd name="connsiteX110" fmla="*/ 0 w 324091"/>
              <a:gd name="connsiteY110" fmla="*/ 3571882 h 6853150"/>
              <a:gd name="connsiteX111" fmla="*/ 279104 w 324091"/>
              <a:gd name="connsiteY111" fmla="*/ 3571882 h 6853150"/>
              <a:gd name="connsiteX112" fmla="*/ 324091 w 324091"/>
              <a:gd name="connsiteY112" fmla="*/ 3616869 h 6853150"/>
              <a:gd name="connsiteX113" fmla="*/ 279104 w 324091"/>
              <a:gd name="connsiteY113" fmla="*/ 3661856 h 6853150"/>
              <a:gd name="connsiteX114" fmla="*/ 0 w 324091"/>
              <a:gd name="connsiteY114" fmla="*/ 3661856 h 6853150"/>
              <a:gd name="connsiteX115" fmla="*/ 0 w 324091"/>
              <a:gd name="connsiteY115" fmla="*/ 3394043 h 6853150"/>
              <a:gd name="connsiteX116" fmla="*/ 81776 w 324091"/>
              <a:gd name="connsiteY116" fmla="*/ 3394043 h 6853150"/>
              <a:gd name="connsiteX117" fmla="*/ 104636 w 324091"/>
              <a:gd name="connsiteY117" fmla="*/ 3416905 h 6853150"/>
              <a:gd name="connsiteX118" fmla="*/ 104635 w 324091"/>
              <a:gd name="connsiteY118" fmla="*/ 3416905 h 6853150"/>
              <a:gd name="connsiteX119" fmla="*/ 81775 w 324091"/>
              <a:gd name="connsiteY119" fmla="*/ 3439763 h 6853150"/>
              <a:gd name="connsiteX120" fmla="*/ 0 w 324091"/>
              <a:gd name="connsiteY120" fmla="*/ 3439763 h 6853150"/>
              <a:gd name="connsiteX121" fmla="*/ 0 w 324091"/>
              <a:gd name="connsiteY121" fmla="*/ 3240516 h 6853150"/>
              <a:gd name="connsiteX122" fmla="*/ 173216 w 324091"/>
              <a:gd name="connsiteY122" fmla="*/ 3240516 h 6853150"/>
              <a:gd name="connsiteX123" fmla="*/ 196076 w 324091"/>
              <a:gd name="connsiteY123" fmla="*/ 3263376 h 6853150"/>
              <a:gd name="connsiteX124" fmla="*/ 196075 w 324091"/>
              <a:gd name="connsiteY124" fmla="*/ 3263376 h 6853150"/>
              <a:gd name="connsiteX125" fmla="*/ 173215 w 324091"/>
              <a:gd name="connsiteY125" fmla="*/ 3286236 h 6853150"/>
              <a:gd name="connsiteX126" fmla="*/ 0 w 324091"/>
              <a:gd name="connsiteY126" fmla="*/ 3286236 h 6853150"/>
              <a:gd name="connsiteX127" fmla="*/ 0 w 324091"/>
              <a:gd name="connsiteY127" fmla="*/ 3086989 h 6853150"/>
              <a:gd name="connsiteX128" fmla="*/ 81776 w 324091"/>
              <a:gd name="connsiteY128" fmla="*/ 3086989 h 6853150"/>
              <a:gd name="connsiteX129" fmla="*/ 104636 w 324091"/>
              <a:gd name="connsiteY129" fmla="*/ 3109849 h 6853150"/>
              <a:gd name="connsiteX130" fmla="*/ 104635 w 324091"/>
              <a:gd name="connsiteY130" fmla="*/ 3109849 h 6853150"/>
              <a:gd name="connsiteX131" fmla="*/ 81775 w 324091"/>
              <a:gd name="connsiteY131" fmla="*/ 3132709 h 6853150"/>
              <a:gd name="connsiteX132" fmla="*/ 0 w 324091"/>
              <a:gd name="connsiteY132" fmla="*/ 3132709 h 6853150"/>
              <a:gd name="connsiteX133" fmla="*/ 0 w 324091"/>
              <a:gd name="connsiteY133" fmla="*/ 2889206 h 6853150"/>
              <a:gd name="connsiteX134" fmla="*/ 279104 w 324091"/>
              <a:gd name="connsiteY134" fmla="*/ 2889206 h 6853150"/>
              <a:gd name="connsiteX135" fmla="*/ 324091 w 324091"/>
              <a:gd name="connsiteY135" fmla="*/ 2934194 h 6853150"/>
              <a:gd name="connsiteX136" fmla="*/ 279104 w 324091"/>
              <a:gd name="connsiteY136" fmla="*/ 2979180 h 6853150"/>
              <a:gd name="connsiteX137" fmla="*/ 0 w 324091"/>
              <a:gd name="connsiteY137" fmla="*/ 2979180 h 6853150"/>
              <a:gd name="connsiteX138" fmla="*/ 0 w 324091"/>
              <a:gd name="connsiteY138" fmla="*/ 2711367 h 6853150"/>
              <a:gd name="connsiteX139" fmla="*/ 81776 w 324091"/>
              <a:gd name="connsiteY139" fmla="*/ 2711367 h 6853150"/>
              <a:gd name="connsiteX140" fmla="*/ 104636 w 324091"/>
              <a:gd name="connsiteY140" fmla="*/ 2734227 h 6853150"/>
              <a:gd name="connsiteX141" fmla="*/ 104635 w 324091"/>
              <a:gd name="connsiteY141" fmla="*/ 2734227 h 6853150"/>
              <a:gd name="connsiteX142" fmla="*/ 81775 w 324091"/>
              <a:gd name="connsiteY142" fmla="*/ 2757087 h 6853150"/>
              <a:gd name="connsiteX143" fmla="*/ 0 w 324091"/>
              <a:gd name="connsiteY143" fmla="*/ 2757087 h 6853150"/>
              <a:gd name="connsiteX144" fmla="*/ 0 w 324091"/>
              <a:gd name="connsiteY144" fmla="*/ 2557839 h 6853150"/>
              <a:gd name="connsiteX145" fmla="*/ 173216 w 324091"/>
              <a:gd name="connsiteY145" fmla="*/ 2557839 h 6853150"/>
              <a:gd name="connsiteX146" fmla="*/ 196076 w 324091"/>
              <a:gd name="connsiteY146" fmla="*/ 2580699 h 6853150"/>
              <a:gd name="connsiteX147" fmla="*/ 196075 w 324091"/>
              <a:gd name="connsiteY147" fmla="*/ 2580699 h 6853150"/>
              <a:gd name="connsiteX148" fmla="*/ 173215 w 324091"/>
              <a:gd name="connsiteY148" fmla="*/ 2603559 h 6853150"/>
              <a:gd name="connsiteX149" fmla="*/ 0 w 324091"/>
              <a:gd name="connsiteY149" fmla="*/ 2603559 h 6853150"/>
              <a:gd name="connsiteX150" fmla="*/ 0 w 324091"/>
              <a:gd name="connsiteY150" fmla="*/ 2404312 h 6853150"/>
              <a:gd name="connsiteX151" fmla="*/ 81776 w 324091"/>
              <a:gd name="connsiteY151" fmla="*/ 2404312 h 6853150"/>
              <a:gd name="connsiteX152" fmla="*/ 104636 w 324091"/>
              <a:gd name="connsiteY152" fmla="*/ 2427171 h 6853150"/>
              <a:gd name="connsiteX153" fmla="*/ 104635 w 324091"/>
              <a:gd name="connsiteY153" fmla="*/ 2427171 h 6853150"/>
              <a:gd name="connsiteX154" fmla="*/ 81775 w 324091"/>
              <a:gd name="connsiteY154" fmla="*/ 2450032 h 6853150"/>
              <a:gd name="connsiteX155" fmla="*/ 0 w 324091"/>
              <a:gd name="connsiteY155" fmla="*/ 2450032 h 6853150"/>
              <a:gd name="connsiteX156" fmla="*/ 0 w 324091"/>
              <a:gd name="connsiteY156" fmla="*/ 2206528 h 6853150"/>
              <a:gd name="connsiteX157" fmla="*/ 279104 w 324091"/>
              <a:gd name="connsiteY157" fmla="*/ 2206528 h 6853150"/>
              <a:gd name="connsiteX158" fmla="*/ 324091 w 324091"/>
              <a:gd name="connsiteY158" fmla="*/ 2251515 h 6853150"/>
              <a:gd name="connsiteX159" fmla="*/ 279104 w 324091"/>
              <a:gd name="connsiteY159" fmla="*/ 2296503 h 6853150"/>
              <a:gd name="connsiteX160" fmla="*/ 0 w 324091"/>
              <a:gd name="connsiteY160" fmla="*/ 2296503 h 6853150"/>
              <a:gd name="connsiteX161" fmla="*/ 0 w 324091"/>
              <a:gd name="connsiteY161" fmla="*/ 2028689 h 6853150"/>
              <a:gd name="connsiteX162" fmla="*/ 81776 w 324091"/>
              <a:gd name="connsiteY162" fmla="*/ 2028689 h 6853150"/>
              <a:gd name="connsiteX163" fmla="*/ 104636 w 324091"/>
              <a:gd name="connsiteY163" fmla="*/ 2051550 h 6853150"/>
              <a:gd name="connsiteX164" fmla="*/ 104635 w 324091"/>
              <a:gd name="connsiteY164" fmla="*/ 2051550 h 6853150"/>
              <a:gd name="connsiteX165" fmla="*/ 81775 w 324091"/>
              <a:gd name="connsiteY165" fmla="*/ 2074409 h 6853150"/>
              <a:gd name="connsiteX166" fmla="*/ 0 w 324091"/>
              <a:gd name="connsiteY166" fmla="*/ 2074409 h 6853150"/>
              <a:gd name="connsiteX167" fmla="*/ 0 w 324091"/>
              <a:gd name="connsiteY167" fmla="*/ 1875162 h 6853150"/>
              <a:gd name="connsiteX168" fmla="*/ 173216 w 324091"/>
              <a:gd name="connsiteY168" fmla="*/ 1875162 h 6853150"/>
              <a:gd name="connsiteX169" fmla="*/ 196076 w 324091"/>
              <a:gd name="connsiteY169" fmla="*/ 1898022 h 6853150"/>
              <a:gd name="connsiteX170" fmla="*/ 196075 w 324091"/>
              <a:gd name="connsiteY170" fmla="*/ 1898022 h 6853150"/>
              <a:gd name="connsiteX171" fmla="*/ 173215 w 324091"/>
              <a:gd name="connsiteY171" fmla="*/ 1920882 h 6853150"/>
              <a:gd name="connsiteX172" fmla="*/ 0 w 324091"/>
              <a:gd name="connsiteY172" fmla="*/ 1920882 h 6853150"/>
              <a:gd name="connsiteX173" fmla="*/ 0 w 324091"/>
              <a:gd name="connsiteY173" fmla="*/ 1721635 h 6853150"/>
              <a:gd name="connsiteX174" fmla="*/ 81776 w 324091"/>
              <a:gd name="connsiteY174" fmla="*/ 1721635 h 6853150"/>
              <a:gd name="connsiteX175" fmla="*/ 104636 w 324091"/>
              <a:gd name="connsiteY175" fmla="*/ 1744495 h 6853150"/>
              <a:gd name="connsiteX176" fmla="*/ 104635 w 324091"/>
              <a:gd name="connsiteY176" fmla="*/ 1744495 h 6853150"/>
              <a:gd name="connsiteX177" fmla="*/ 81775 w 324091"/>
              <a:gd name="connsiteY177" fmla="*/ 1767355 h 6853150"/>
              <a:gd name="connsiteX178" fmla="*/ 0 w 324091"/>
              <a:gd name="connsiteY178" fmla="*/ 1767355 h 6853150"/>
              <a:gd name="connsiteX179" fmla="*/ 0 w 324091"/>
              <a:gd name="connsiteY179" fmla="*/ 1523851 h 6853150"/>
              <a:gd name="connsiteX180" fmla="*/ 279104 w 324091"/>
              <a:gd name="connsiteY180" fmla="*/ 1523851 h 6853150"/>
              <a:gd name="connsiteX181" fmla="*/ 324091 w 324091"/>
              <a:gd name="connsiteY181" fmla="*/ 1568838 h 6853150"/>
              <a:gd name="connsiteX182" fmla="*/ 279104 w 324091"/>
              <a:gd name="connsiteY182" fmla="*/ 1613826 h 6853150"/>
              <a:gd name="connsiteX183" fmla="*/ 0 w 324091"/>
              <a:gd name="connsiteY183" fmla="*/ 1613826 h 6853150"/>
              <a:gd name="connsiteX184" fmla="*/ 0 w 324091"/>
              <a:gd name="connsiteY184" fmla="*/ 1346012 h 6853150"/>
              <a:gd name="connsiteX185" fmla="*/ 81776 w 324091"/>
              <a:gd name="connsiteY185" fmla="*/ 1346012 h 6853150"/>
              <a:gd name="connsiteX186" fmla="*/ 104636 w 324091"/>
              <a:gd name="connsiteY186" fmla="*/ 1368872 h 6853150"/>
              <a:gd name="connsiteX187" fmla="*/ 104635 w 324091"/>
              <a:gd name="connsiteY187" fmla="*/ 1368872 h 6853150"/>
              <a:gd name="connsiteX188" fmla="*/ 81775 w 324091"/>
              <a:gd name="connsiteY188" fmla="*/ 1391732 h 6853150"/>
              <a:gd name="connsiteX189" fmla="*/ 0 w 324091"/>
              <a:gd name="connsiteY189" fmla="*/ 1391732 h 6853150"/>
              <a:gd name="connsiteX190" fmla="*/ 0 w 324091"/>
              <a:gd name="connsiteY190" fmla="*/ 1192484 h 6853150"/>
              <a:gd name="connsiteX191" fmla="*/ 173216 w 324091"/>
              <a:gd name="connsiteY191" fmla="*/ 1192484 h 6853150"/>
              <a:gd name="connsiteX192" fmla="*/ 196076 w 324091"/>
              <a:gd name="connsiteY192" fmla="*/ 1215344 h 6853150"/>
              <a:gd name="connsiteX193" fmla="*/ 196075 w 324091"/>
              <a:gd name="connsiteY193" fmla="*/ 1215344 h 6853150"/>
              <a:gd name="connsiteX194" fmla="*/ 173215 w 324091"/>
              <a:gd name="connsiteY194" fmla="*/ 1238205 h 6853150"/>
              <a:gd name="connsiteX195" fmla="*/ 0 w 324091"/>
              <a:gd name="connsiteY195" fmla="*/ 1238205 h 6853150"/>
              <a:gd name="connsiteX196" fmla="*/ 0 w 324091"/>
              <a:gd name="connsiteY196" fmla="*/ 1038956 h 6853150"/>
              <a:gd name="connsiteX197" fmla="*/ 81776 w 324091"/>
              <a:gd name="connsiteY197" fmla="*/ 1038956 h 6853150"/>
              <a:gd name="connsiteX198" fmla="*/ 104636 w 324091"/>
              <a:gd name="connsiteY198" fmla="*/ 1061817 h 6853150"/>
              <a:gd name="connsiteX199" fmla="*/ 104635 w 324091"/>
              <a:gd name="connsiteY199" fmla="*/ 1061817 h 6853150"/>
              <a:gd name="connsiteX200" fmla="*/ 81775 w 324091"/>
              <a:gd name="connsiteY200" fmla="*/ 1084677 h 6853150"/>
              <a:gd name="connsiteX201" fmla="*/ 0 w 324091"/>
              <a:gd name="connsiteY201" fmla="*/ 1084677 h 6853150"/>
              <a:gd name="connsiteX202" fmla="*/ 0 w 324091"/>
              <a:gd name="connsiteY202" fmla="*/ 841173 h 6853150"/>
              <a:gd name="connsiteX203" fmla="*/ 279104 w 324091"/>
              <a:gd name="connsiteY203" fmla="*/ 841173 h 6853150"/>
              <a:gd name="connsiteX204" fmla="*/ 324091 w 324091"/>
              <a:gd name="connsiteY204" fmla="*/ 886160 h 6853150"/>
              <a:gd name="connsiteX205" fmla="*/ 279104 w 324091"/>
              <a:gd name="connsiteY205" fmla="*/ 931147 h 6853150"/>
              <a:gd name="connsiteX206" fmla="*/ 0 w 324091"/>
              <a:gd name="connsiteY206" fmla="*/ 931147 h 6853150"/>
              <a:gd name="connsiteX207" fmla="*/ 0 w 324091"/>
              <a:gd name="connsiteY207" fmla="*/ 663334 h 6853150"/>
              <a:gd name="connsiteX208" fmla="*/ 81776 w 324091"/>
              <a:gd name="connsiteY208" fmla="*/ 663334 h 6853150"/>
              <a:gd name="connsiteX209" fmla="*/ 104636 w 324091"/>
              <a:gd name="connsiteY209" fmla="*/ 686194 h 6853150"/>
              <a:gd name="connsiteX210" fmla="*/ 104635 w 324091"/>
              <a:gd name="connsiteY210" fmla="*/ 686194 h 6853150"/>
              <a:gd name="connsiteX211" fmla="*/ 81775 w 324091"/>
              <a:gd name="connsiteY211" fmla="*/ 709054 h 6853150"/>
              <a:gd name="connsiteX212" fmla="*/ 0 w 324091"/>
              <a:gd name="connsiteY212" fmla="*/ 709054 h 6853150"/>
              <a:gd name="connsiteX213" fmla="*/ 0 w 324091"/>
              <a:gd name="connsiteY213" fmla="*/ 509806 h 6853150"/>
              <a:gd name="connsiteX214" fmla="*/ 173216 w 324091"/>
              <a:gd name="connsiteY214" fmla="*/ 509806 h 6853150"/>
              <a:gd name="connsiteX215" fmla="*/ 196076 w 324091"/>
              <a:gd name="connsiteY215" fmla="*/ 532666 h 6853150"/>
              <a:gd name="connsiteX216" fmla="*/ 196075 w 324091"/>
              <a:gd name="connsiteY216" fmla="*/ 532666 h 6853150"/>
              <a:gd name="connsiteX217" fmla="*/ 173215 w 324091"/>
              <a:gd name="connsiteY217" fmla="*/ 555526 h 6853150"/>
              <a:gd name="connsiteX218" fmla="*/ 0 w 324091"/>
              <a:gd name="connsiteY218" fmla="*/ 555526 h 6853150"/>
              <a:gd name="connsiteX219" fmla="*/ 0 w 324091"/>
              <a:gd name="connsiteY219" fmla="*/ 356279 h 6853150"/>
              <a:gd name="connsiteX220" fmla="*/ 81776 w 324091"/>
              <a:gd name="connsiteY220" fmla="*/ 356279 h 6853150"/>
              <a:gd name="connsiteX221" fmla="*/ 104636 w 324091"/>
              <a:gd name="connsiteY221" fmla="*/ 379139 h 6853150"/>
              <a:gd name="connsiteX222" fmla="*/ 104635 w 324091"/>
              <a:gd name="connsiteY222" fmla="*/ 379139 h 6853150"/>
              <a:gd name="connsiteX223" fmla="*/ 81775 w 324091"/>
              <a:gd name="connsiteY223" fmla="*/ 401999 h 6853150"/>
              <a:gd name="connsiteX224" fmla="*/ 0 w 324091"/>
              <a:gd name="connsiteY224" fmla="*/ 401999 h 6853150"/>
              <a:gd name="connsiteX225" fmla="*/ 0 w 324091"/>
              <a:gd name="connsiteY225" fmla="*/ 158496 h 6853150"/>
              <a:gd name="connsiteX226" fmla="*/ 279104 w 324091"/>
              <a:gd name="connsiteY226" fmla="*/ 158496 h 6853150"/>
              <a:gd name="connsiteX227" fmla="*/ 324091 w 324091"/>
              <a:gd name="connsiteY227" fmla="*/ 203483 h 6853150"/>
              <a:gd name="connsiteX228" fmla="*/ 279104 w 324091"/>
              <a:gd name="connsiteY228" fmla="*/ 248470 h 6853150"/>
              <a:gd name="connsiteX229" fmla="*/ 0 w 324091"/>
              <a:gd name="connsiteY229" fmla="*/ 248470 h 6853150"/>
              <a:gd name="connsiteX230" fmla="*/ 0 w 324091"/>
              <a:gd name="connsiteY230" fmla="*/ 0 h 6853150"/>
              <a:gd name="connsiteX231" fmla="*/ 81776 w 324091"/>
              <a:gd name="connsiteY231" fmla="*/ 0 h 6853150"/>
              <a:gd name="connsiteX232" fmla="*/ 104636 w 324091"/>
              <a:gd name="connsiteY232" fmla="*/ 22860 h 6853150"/>
              <a:gd name="connsiteX233" fmla="*/ 104635 w 324091"/>
              <a:gd name="connsiteY233" fmla="*/ 22860 h 6853150"/>
              <a:gd name="connsiteX234" fmla="*/ 81775 w 324091"/>
              <a:gd name="connsiteY234" fmla="*/ 45720 h 6853150"/>
              <a:gd name="connsiteX235" fmla="*/ 0 w 324091"/>
              <a:gd name="connsiteY235" fmla="*/ 45720 h 6853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</a:cxnLst>
            <a:rect l="l" t="t" r="r" b="b"/>
            <a:pathLst>
              <a:path w="324091" h="6853150">
                <a:moveTo>
                  <a:pt x="0" y="6807430"/>
                </a:moveTo>
                <a:lnTo>
                  <a:pt x="81776" y="6807430"/>
                </a:lnTo>
                <a:cubicBezTo>
                  <a:pt x="94401" y="6807430"/>
                  <a:pt x="104636" y="6817665"/>
                  <a:pt x="104636" y="6830290"/>
                </a:cubicBezTo>
                <a:lnTo>
                  <a:pt x="104635" y="6830290"/>
                </a:lnTo>
                <a:cubicBezTo>
                  <a:pt x="104635" y="6842915"/>
                  <a:pt x="94400" y="6853150"/>
                  <a:pt x="81775" y="6853150"/>
                </a:cubicBezTo>
                <a:lnTo>
                  <a:pt x="0" y="6853150"/>
                </a:lnTo>
                <a:close/>
                <a:moveTo>
                  <a:pt x="0" y="6653902"/>
                </a:moveTo>
                <a:lnTo>
                  <a:pt x="173216" y="6653902"/>
                </a:lnTo>
                <a:cubicBezTo>
                  <a:pt x="185841" y="6653902"/>
                  <a:pt x="196076" y="6664137"/>
                  <a:pt x="196076" y="6676762"/>
                </a:cubicBezTo>
                <a:lnTo>
                  <a:pt x="196075" y="6676762"/>
                </a:lnTo>
                <a:cubicBezTo>
                  <a:pt x="196075" y="6689387"/>
                  <a:pt x="185840" y="6699622"/>
                  <a:pt x="173215" y="6699622"/>
                </a:cubicBezTo>
                <a:lnTo>
                  <a:pt x="0" y="6699622"/>
                </a:lnTo>
                <a:close/>
                <a:moveTo>
                  <a:pt x="0" y="6500374"/>
                </a:moveTo>
                <a:lnTo>
                  <a:pt x="81776" y="6500374"/>
                </a:lnTo>
                <a:cubicBezTo>
                  <a:pt x="94401" y="6500374"/>
                  <a:pt x="104636" y="6510609"/>
                  <a:pt x="104636" y="6523234"/>
                </a:cubicBezTo>
                <a:lnTo>
                  <a:pt x="104635" y="6523234"/>
                </a:lnTo>
                <a:cubicBezTo>
                  <a:pt x="104635" y="6535859"/>
                  <a:pt x="94400" y="6546094"/>
                  <a:pt x="81775" y="6546094"/>
                </a:cubicBezTo>
                <a:lnTo>
                  <a:pt x="0" y="6546094"/>
                </a:lnTo>
                <a:close/>
                <a:moveTo>
                  <a:pt x="0" y="6302591"/>
                </a:moveTo>
                <a:lnTo>
                  <a:pt x="279104" y="6302591"/>
                </a:lnTo>
                <a:cubicBezTo>
                  <a:pt x="303950" y="6302591"/>
                  <a:pt x="324091" y="6322732"/>
                  <a:pt x="324091" y="6347578"/>
                </a:cubicBezTo>
                <a:cubicBezTo>
                  <a:pt x="324091" y="6372424"/>
                  <a:pt x="303950" y="6392565"/>
                  <a:pt x="279104" y="6392565"/>
                </a:cubicBezTo>
                <a:lnTo>
                  <a:pt x="0" y="6392565"/>
                </a:lnTo>
                <a:close/>
                <a:moveTo>
                  <a:pt x="0" y="6124755"/>
                </a:moveTo>
                <a:lnTo>
                  <a:pt x="81776" y="6124755"/>
                </a:lnTo>
                <a:cubicBezTo>
                  <a:pt x="94401" y="6124755"/>
                  <a:pt x="104636" y="6134990"/>
                  <a:pt x="104636" y="6147615"/>
                </a:cubicBezTo>
                <a:lnTo>
                  <a:pt x="104635" y="6147615"/>
                </a:lnTo>
                <a:cubicBezTo>
                  <a:pt x="104635" y="6160240"/>
                  <a:pt x="94400" y="6170475"/>
                  <a:pt x="81775" y="6170475"/>
                </a:cubicBezTo>
                <a:lnTo>
                  <a:pt x="0" y="6170475"/>
                </a:lnTo>
                <a:close/>
                <a:moveTo>
                  <a:pt x="0" y="5971227"/>
                </a:moveTo>
                <a:lnTo>
                  <a:pt x="173216" y="5971227"/>
                </a:lnTo>
                <a:cubicBezTo>
                  <a:pt x="185841" y="5971227"/>
                  <a:pt x="196076" y="5981462"/>
                  <a:pt x="196076" y="5994087"/>
                </a:cubicBezTo>
                <a:lnTo>
                  <a:pt x="196075" y="5994087"/>
                </a:lnTo>
                <a:cubicBezTo>
                  <a:pt x="196075" y="6006712"/>
                  <a:pt x="185840" y="6016947"/>
                  <a:pt x="173215" y="6016947"/>
                </a:cubicBezTo>
                <a:lnTo>
                  <a:pt x="0" y="6016947"/>
                </a:lnTo>
                <a:close/>
                <a:moveTo>
                  <a:pt x="0" y="5817699"/>
                </a:moveTo>
                <a:lnTo>
                  <a:pt x="81776" y="5817699"/>
                </a:lnTo>
                <a:cubicBezTo>
                  <a:pt x="94401" y="5817699"/>
                  <a:pt x="104636" y="5827934"/>
                  <a:pt x="104636" y="5840559"/>
                </a:cubicBezTo>
                <a:lnTo>
                  <a:pt x="104635" y="5840559"/>
                </a:lnTo>
                <a:cubicBezTo>
                  <a:pt x="104635" y="5853184"/>
                  <a:pt x="94400" y="5863419"/>
                  <a:pt x="81775" y="5863419"/>
                </a:cubicBezTo>
                <a:lnTo>
                  <a:pt x="0" y="5863419"/>
                </a:lnTo>
                <a:close/>
                <a:moveTo>
                  <a:pt x="0" y="5619916"/>
                </a:moveTo>
                <a:lnTo>
                  <a:pt x="279104" y="5619916"/>
                </a:lnTo>
                <a:cubicBezTo>
                  <a:pt x="303950" y="5619916"/>
                  <a:pt x="324091" y="5640057"/>
                  <a:pt x="324091" y="5664903"/>
                </a:cubicBezTo>
                <a:cubicBezTo>
                  <a:pt x="324091" y="5689749"/>
                  <a:pt x="303950" y="5709890"/>
                  <a:pt x="279104" y="5709890"/>
                </a:cubicBezTo>
                <a:lnTo>
                  <a:pt x="0" y="5709890"/>
                </a:lnTo>
                <a:close/>
                <a:moveTo>
                  <a:pt x="0" y="5442077"/>
                </a:moveTo>
                <a:lnTo>
                  <a:pt x="81776" y="5442077"/>
                </a:lnTo>
                <a:cubicBezTo>
                  <a:pt x="94401" y="5442077"/>
                  <a:pt x="104636" y="5452312"/>
                  <a:pt x="104636" y="5464937"/>
                </a:cubicBezTo>
                <a:lnTo>
                  <a:pt x="104635" y="5464937"/>
                </a:lnTo>
                <a:cubicBezTo>
                  <a:pt x="104635" y="5477562"/>
                  <a:pt x="94400" y="5487797"/>
                  <a:pt x="81775" y="5487797"/>
                </a:cubicBezTo>
                <a:lnTo>
                  <a:pt x="0" y="5487797"/>
                </a:lnTo>
                <a:close/>
                <a:moveTo>
                  <a:pt x="0" y="5288549"/>
                </a:moveTo>
                <a:lnTo>
                  <a:pt x="173216" y="5288549"/>
                </a:lnTo>
                <a:cubicBezTo>
                  <a:pt x="185841" y="5288549"/>
                  <a:pt x="196076" y="5298784"/>
                  <a:pt x="196076" y="5311409"/>
                </a:cubicBezTo>
                <a:lnTo>
                  <a:pt x="196075" y="5311409"/>
                </a:lnTo>
                <a:cubicBezTo>
                  <a:pt x="196075" y="5324034"/>
                  <a:pt x="185840" y="5334269"/>
                  <a:pt x="173215" y="5334269"/>
                </a:cubicBezTo>
                <a:lnTo>
                  <a:pt x="0" y="5334269"/>
                </a:lnTo>
                <a:close/>
                <a:moveTo>
                  <a:pt x="0" y="5135021"/>
                </a:moveTo>
                <a:lnTo>
                  <a:pt x="81776" y="5135021"/>
                </a:lnTo>
                <a:cubicBezTo>
                  <a:pt x="94401" y="5135021"/>
                  <a:pt x="104636" y="5145256"/>
                  <a:pt x="104636" y="5157881"/>
                </a:cubicBezTo>
                <a:lnTo>
                  <a:pt x="104635" y="5157881"/>
                </a:lnTo>
                <a:cubicBezTo>
                  <a:pt x="104635" y="5170506"/>
                  <a:pt x="94400" y="5180741"/>
                  <a:pt x="81775" y="5180741"/>
                </a:cubicBezTo>
                <a:lnTo>
                  <a:pt x="0" y="5180741"/>
                </a:lnTo>
                <a:close/>
                <a:moveTo>
                  <a:pt x="0" y="4937238"/>
                </a:moveTo>
                <a:lnTo>
                  <a:pt x="279104" y="4937238"/>
                </a:lnTo>
                <a:cubicBezTo>
                  <a:pt x="303950" y="4937238"/>
                  <a:pt x="324091" y="4957379"/>
                  <a:pt x="324091" y="4982225"/>
                </a:cubicBezTo>
                <a:cubicBezTo>
                  <a:pt x="324091" y="5007071"/>
                  <a:pt x="303950" y="5027212"/>
                  <a:pt x="279104" y="5027212"/>
                </a:cubicBezTo>
                <a:lnTo>
                  <a:pt x="0" y="5027212"/>
                </a:lnTo>
                <a:close/>
                <a:moveTo>
                  <a:pt x="0" y="4759399"/>
                </a:moveTo>
                <a:lnTo>
                  <a:pt x="81776" y="4759399"/>
                </a:lnTo>
                <a:cubicBezTo>
                  <a:pt x="94401" y="4759399"/>
                  <a:pt x="104636" y="4769634"/>
                  <a:pt x="104636" y="4782259"/>
                </a:cubicBezTo>
                <a:lnTo>
                  <a:pt x="104635" y="4782259"/>
                </a:lnTo>
                <a:cubicBezTo>
                  <a:pt x="104635" y="4794884"/>
                  <a:pt x="94400" y="4805119"/>
                  <a:pt x="81775" y="4805119"/>
                </a:cubicBezTo>
                <a:lnTo>
                  <a:pt x="0" y="4805119"/>
                </a:lnTo>
                <a:close/>
                <a:moveTo>
                  <a:pt x="0" y="4605871"/>
                </a:moveTo>
                <a:lnTo>
                  <a:pt x="173216" y="4605871"/>
                </a:lnTo>
                <a:cubicBezTo>
                  <a:pt x="185841" y="4605871"/>
                  <a:pt x="196076" y="4616106"/>
                  <a:pt x="196076" y="4628731"/>
                </a:cubicBezTo>
                <a:lnTo>
                  <a:pt x="196075" y="4628731"/>
                </a:lnTo>
                <a:cubicBezTo>
                  <a:pt x="196075" y="4641356"/>
                  <a:pt x="185840" y="4651591"/>
                  <a:pt x="173215" y="4651591"/>
                </a:cubicBezTo>
                <a:lnTo>
                  <a:pt x="0" y="4651591"/>
                </a:lnTo>
                <a:close/>
                <a:moveTo>
                  <a:pt x="0" y="4452343"/>
                </a:moveTo>
                <a:lnTo>
                  <a:pt x="81776" y="4452343"/>
                </a:lnTo>
                <a:cubicBezTo>
                  <a:pt x="94401" y="4452343"/>
                  <a:pt x="104636" y="4462578"/>
                  <a:pt x="104636" y="4475203"/>
                </a:cubicBezTo>
                <a:lnTo>
                  <a:pt x="104635" y="4475203"/>
                </a:lnTo>
                <a:cubicBezTo>
                  <a:pt x="104635" y="4487828"/>
                  <a:pt x="94400" y="4498063"/>
                  <a:pt x="81775" y="4498063"/>
                </a:cubicBezTo>
                <a:lnTo>
                  <a:pt x="0" y="4498063"/>
                </a:lnTo>
                <a:close/>
                <a:moveTo>
                  <a:pt x="0" y="4254560"/>
                </a:moveTo>
                <a:lnTo>
                  <a:pt x="279104" y="4254560"/>
                </a:lnTo>
                <a:cubicBezTo>
                  <a:pt x="303950" y="4254560"/>
                  <a:pt x="324091" y="4274701"/>
                  <a:pt x="324091" y="4299547"/>
                </a:cubicBezTo>
                <a:cubicBezTo>
                  <a:pt x="324091" y="4324393"/>
                  <a:pt x="303950" y="4344534"/>
                  <a:pt x="279104" y="4344534"/>
                </a:cubicBezTo>
                <a:lnTo>
                  <a:pt x="0" y="4344534"/>
                </a:lnTo>
                <a:close/>
                <a:moveTo>
                  <a:pt x="0" y="4076721"/>
                </a:moveTo>
                <a:lnTo>
                  <a:pt x="81776" y="4076721"/>
                </a:lnTo>
                <a:cubicBezTo>
                  <a:pt x="94401" y="4076721"/>
                  <a:pt x="104636" y="4086956"/>
                  <a:pt x="104636" y="4099581"/>
                </a:cubicBezTo>
                <a:lnTo>
                  <a:pt x="104635" y="4099581"/>
                </a:lnTo>
                <a:cubicBezTo>
                  <a:pt x="104635" y="4112206"/>
                  <a:pt x="94400" y="4122441"/>
                  <a:pt x="81775" y="4122441"/>
                </a:cubicBezTo>
                <a:lnTo>
                  <a:pt x="0" y="4122441"/>
                </a:lnTo>
                <a:close/>
                <a:moveTo>
                  <a:pt x="0" y="3923193"/>
                </a:moveTo>
                <a:lnTo>
                  <a:pt x="173216" y="3923193"/>
                </a:lnTo>
                <a:cubicBezTo>
                  <a:pt x="185841" y="3923193"/>
                  <a:pt x="196076" y="3933428"/>
                  <a:pt x="196076" y="3946053"/>
                </a:cubicBezTo>
                <a:lnTo>
                  <a:pt x="196075" y="3946053"/>
                </a:lnTo>
                <a:cubicBezTo>
                  <a:pt x="196075" y="3958678"/>
                  <a:pt x="185840" y="3968913"/>
                  <a:pt x="173215" y="3968913"/>
                </a:cubicBezTo>
                <a:lnTo>
                  <a:pt x="0" y="3968913"/>
                </a:lnTo>
                <a:close/>
                <a:moveTo>
                  <a:pt x="0" y="3769665"/>
                </a:moveTo>
                <a:lnTo>
                  <a:pt x="81776" y="3769665"/>
                </a:lnTo>
                <a:cubicBezTo>
                  <a:pt x="94401" y="3769665"/>
                  <a:pt x="104636" y="3779900"/>
                  <a:pt x="104636" y="3792525"/>
                </a:cubicBezTo>
                <a:lnTo>
                  <a:pt x="104635" y="3792525"/>
                </a:lnTo>
                <a:cubicBezTo>
                  <a:pt x="104635" y="3805150"/>
                  <a:pt x="94400" y="3815385"/>
                  <a:pt x="81775" y="3815385"/>
                </a:cubicBezTo>
                <a:lnTo>
                  <a:pt x="0" y="3815385"/>
                </a:lnTo>
                <a:close/>
                <a:moveTo>
                  <a:pt x="0" y="3571882"/>
                </a:moveTo>
                <a:lnTo>
                  <a:pt x="279104" y="3571882"/>
                </a:lnTo>
                <a:cubicBezTo>
                  <a:pt x="303950" y="3571882"/>
                  <a:pt x="324091" y="3592023"/>
                  <a:pt x="324091" y="3616869"/>
                </a:cubicBezTo>
                <a:cubicBezTo>
                  <a:pt x="324091" y="3641715"/>
                  <a:pt x="303950" y="3661856"/>
                  <a:pt x="279104" y="3661856"/>
                </a:cubicBezTo>
                <a:lnTo>
                  <a:pt x="0" y="3661856"/>
                </a:lnTo>
                <a:close/>
                <a:moveTo>
                  <a:pt x="0" y="3394043"/>
                </a:moveTo>
                <a:lnTo>
                  <a:pt x="81776" y="3394043"/>
                </a:lnTo>
                <a:cubicBezTo>
                  <a:pt x="94401" y="3394043"/>
                  <a:pt x="104636" y="3404279"/>
                  <a:pt x="104636" y="3416905"/>
                </a:cubicBezTo>
                <a:lnTo>
                  <a:pt x="104635" y="3416905"/>
                </a:lnTo>
                <a:cubicBezTo>
                  <a:pt x="104635" y="3429528"/>
                  <a:pt x="94400" y="3439763"/>
                  <a:pt x="81775" y="3439763"/>
                </a:cubicBezTo>
                <a:lnTo>
                  <a:pt x="0" y="3439763"/>
                </a:lnTo>
                <a:close/>
                <a:moveTo>
                  <a:pt x="0" y="3240516"/>
                </a:moveTo>
                <a:lnTo>
                  <a:pt x="173216" y="3240516"/>
                </a:lnTo>
                <a:cubicBezTo>
                  <a:pt x="185841" y="3240516"/>
                  <a:pt x="196076" y="3250752"/>
                  <a:pt x="196076" y="3263376"/>
                </a:cubicBezTo>
                <a:lnTo>
                  <a:pt x="196075" y="3263376"/>
                </a:lnTo>
                <a:cubicBezTo>
                  <a:pt x="196075" y="3276001"/>
                  <a:pt x="185840" y="3286236"/>
                  <a:pt x="173215" y="3286236"/>
                </a:cubicBezTo>
                <a:lnTo>
                  <a:pt x="0" y="3286236"/>
                </a:lnTo>
                <a:close/>
                <a:moveTo>
                  <a:pt x="0" y="3086989"/>
                </a:moveTo>
                <a:lnTo>
                  <a:pt x="81776" y="3086989"/>
                </a:lnTo>
                <a:cubicBezTo>
                  <a:pt x="94401" y="3086989"/>
                  <a:pt x="104636" y="3097224"/>
                  <a:pt x="104636" y="3109849"/>
                </a:cubicBezTo>
                <a:lnTo>
                  <a:pt x="104635" y="3109849"/>
                </a:lnTo>
                <a:cubicBezTo>
                  <a:pt x="104635" y="3122474"/>
                  <a:pt x="94400" y="3132709"/>
                  <a:pt x="81775" y="3132709"/>
                </a:cubicBezTo>
                <a:lnTo>
                  <a:pt x="0" y="3132709"/>
                </a:lnTo>
                <a:close/>
                <a:moveTo>
                  <a:pt x="0" y="2889206"/>
                </a:moveTo>
                <a:lnTo>
                  <a:pt x="279104" y="2889206"/>
                </a:lnTo>
                <a:cubicBezTo>
                  <a:pt x="303950" y="2889206"/>
                  <a:pt x="324091" y="2909347"/>
                  <a:pt x="324091" y="2934194"/>
                </a:cubicBezTo>
                <a:cubicBezTo>
                  <a:pt x="324091" y="2959039"/>
                  <a:pt x="303950" y="2979180"/>
                  <a:pt x="279104" y="2979180"/>
                </a:cubicBezTo>
                <a:lnTo>
                  <a:pt x="0" y="2979180"/>
                </a:lnTo>
                <a:close/>
                <a:moveTo>
                  <a:pt x="0" y="2711367"/>
                </a:moveTo>
                <a:lnTo>
                  <a:pt x="81776" y="2711367"/>
                </a:lnTo>
                <a:cubicBezTo>
                  <a:pt x="94401" y="2711367"/>
                  <a:pt x="104636" y="2721602"/>
                  <a:pt x="104636" y="2734227"/>
                </a:cubicBezTo>
                <a:lnTo>
                  <a:pt x="104635" y="2734227"/>
                </a:lnTo>
                <a:cubicBezTo>
                  <a:pt x="104635" y="2746852"/>
                  <a:pt x="94400" y="2757087"/>
                  <a:pt x="81775" y="2757087"/>
                </a:cubicBezTo>
                <a:lnTo>
                  <a:pt x="0" y="2757087"/>
                </a:lnTo>
                <a:close/>
                <a:moveTo>
                  <a:pt x="0" y="2557839"/>
                </a:moveTo>
                <a:lnTo>
                  <a:pt x="173216" y="2557839"/>
                </a:lnTo>
                <a:cubicBezTo>
                  <a:pt x="185841" y="2557839"/>
                  <a:pt x="196076" y="2568074"/>
                  <a:pt x="196076" y="2580699"/>
                </a:cubicBezTo>
                <a:lnTo>
                  <a:pt x="196075" y="2580699"/>
                </a:lnTo>
                <a:cubicBezTo>
                  <a:pt x="196075" y="2593324"/>
                  <a:pt x="185840" y="2603559"/>
                  <a:pt x="173215" y="2603559"/>
                </a:cubicBezTo>
                <a:lnTo>
                  <a:pt x="0" y="2603559"/>
                </a:lnTo>
                <a:close/>
                <a:moveTo>
                  <a:pt x="0" y="2404312"/>
                </a:moveTo>
                <a:lnTo>
                  <a:pt x="81776" y="2404312"/>
                </a:lnTo>
                <a:cubicBezTo>
                  <a:pt x="94401" y="2404312"/>
                  <a:pt x="104636" y="2414546"/>
                  <a:pt x="104636" y="2427171"/>
                </a:cubicBezTo>
                <a:lnTo>
                  <a:pt x="104635" y="2427171"/>
                </a:lnTo>
                <a:cubicBezTo>
                  <a:pt x="104635" y="2439796"/>
                  <a:pt x="94400" y="2450032"/>
                  <a:pt x="81775" y="2450032"/>
                </a:cubicBezTo>
                <a:lnTo>
                  <a:pt x="0" y="2450032"/>
                </a:lnTo>
                <a:close/>
                <a:moveTo>
                  <a:pt x="0" y="2206528"/>
                </a:moveTo>
                <a:lnTo>
                  <a:pt x="279104" y="2206528"/>
                </a:lnTo>
                <a:cubicBezTo>
                  <a:pt x="303950" y="2206528"/>
                  <a:pt x="324091" y="2226669"/>
                  <a:pt x="324091" y="2251515"/>
                </a:cubicBezTo>
                <a:cubicBezTo>
                  <a:pt x="324091" y="2276362"/>
                  <a:pt x="303950" y="2296503"/>
                  <a:pt x="279104" y="2296503"/>
                </a:cubicBezTo>
                <a:lnTo>
                  <a:pt x="0" y="2296503"/>
                </a:lnTo>
                <a:close/>
                <a:moveTo>
                  <a:pt x="0" y="2028689"/>
                </a:moveTo>
                <a:lnTo>
                  <a:pt x="81776" y="2028689"/>
                </a:lnTo>
                <a:cubicBezTo>
                  <a:pt x="94401" y="2028689"/>
                  <a:pt x="104636" y="2038925"/>
                  <a:pt x="104636" y="2051550"/>
                </a:cubicBezTo>
                <a:lnTo>
                  <a:pt x="104635" y="2051550"/>
                </a:lnTo>
                <a:cubicBezTo>
                  <a:pt x="104635" y="2064175"/>
                  <a:pt x="94400" y="2074409"/>
                  <a:pt x="81775" y="2074409"/>
                </a:cubicBezTo>
                <a:lnTo>
                  <a:pt x="0" y="2074409"/>
                </a:lnTo>
                <a:close/>
                <a:moveTo>
                  <a:pt x="0" y="1875162"/>
                </a:moveTo>
                <a:lnTo>
                  <a:pt x="173216" y="1875162"/>
                </a:lnTo>
                <a:cubicBezTo>
                  <a:pt x="185841" y="1875162"/>
                  <a:pt x="196076" y="1885397"/>
                  <a:pt x="196076" y="1898022"/>
                </a:cubicBezTo>
                <a:lnTo>
                  <a:pt x="196075" y="1898022"/>
                </a:lnTo>
                <a:cubicBezTo>
                  <a:pt x="196075" y="1910647"/>
                  <a:pt x="185840" y="1920882"/>
                  <a:pt x="173215" y="1920882"/>
                </a:cubicBezTo>
                <a:lnTo>
                  <a:pt x="0" y="1920882"/>
                </a:lnTo>
                <a:close/>
                <a:moveTo>
                  <a:pt x="0" y="1721635"/>
                </a:moveTo>
                <a:lnTo>
                  <a:pt x="81776" y="1721635"/>
                </a:lnTo>
                <a:cubicBezTo>
                  <a:pt x="94401" y="1721635"/>
                  <a:pt x="104636" y="1731870"/>
                  <a:pt x="104636" y="1744495"/>
                </a:cubicBezTo>
                <a:lnTo>
                  <a:pt x="104635" y="1744495"/>
                </a:lnTo>
                <a:cubicBezTo>
                  <a:pt x="104635" y="1757120"/>
                  <a:pt x="94400" y="1767355"/>
                  <a:pt x="81775" y="1767355"/>
                </a:cubicBezTo>
                <a:lnTo>
                  <a:pt x="0" y="1767355"/>
                </a:lnTo>
                <a:close/>
                <a:moveTo>
                  <a:pt x="0" y="1523851"/>
                </a:moveTo>
                <a:lnTo>
                  <a:pt x="279104" y="1523851"/>
                </a:lnTo>
                <a:cubicBezTo>
                  <a:pt x="303950" y="1523851"/>
                  <a:pt x="324091" y="1543992"/>
                  <a:pt x="324091" y="1568838"/>
                </a:cubicBezTo>
                <a:cubicBezTo>
                  <a:pt x="324091" y="1593684"/>
                  <a:pt x="303950" y="1613826"/>
                  <a:pt x="279104" y="1613826"/>
                </a:cubicBezTo>
                <a:lnTo>
                  <a:pt x="0" y="1613826"/>
                </a:lnTo>
                <a:close/>
                <a:moveTo>
                  <a:pt x="0" y="1346012"/>
                </a:moveTo>
                <a:lnTo>
                  <a:pt x="81776" y="1346012"/>
                </a:lnTo>
                <a:cubicBezTo>
                  <a:pt x="94401" y="1346012"/>
                  <a:pt x="104636" y="1356247"/>
                  <a:pt x="104636" y="1368872"/>
                </a:cubicBezTo>
                <a:lnTo>
                  <a:pt x="104635" y="1368872"/>
                </a:lnTo>
                <a:cubicBezTo>
                  <a:pt x="104635" y="1381497"/>
                  <a:pt x="94400" y="1391732"/>
                  <a:pt x="81775" y="1391732"/>
                </a:cubicBezTo>
                <a:lnTo>
                  <a:pt x="0" y="1391732"/>
                </a:lnTo>
                <a:close/>
                <a:moveTo>
                  <a:pt x="0" y="1192484"/>
                </a:moveTo>
                <a:lnTo>
                  <a:pt x="173216" y="1192484"/>
                </a:lnTo>
                <a:cubicBezTo>
                  <a:pt x="185841" y="1192484"/>
                  <a:pt x="196076" y="1202719"/>
                  <a:pt x="196076" y="1215344"/>
                </a:cubicBezTo>
                <a:lnTo>
                  <a:pt x="196075" y="1215344"/>
                </a:lnTo>
                <a:cubicBezTo>
                  <a:pt x="196075" y="1227969"/>
                  <a:pt x="185840" y="1238205"/>
                  <a:pt x="173215" y="1238205"/>
                </a:cubicBezTo>
                <a:lnTo>
                  <a:pt x="0" y="1238205"/>
                </a:lnTo>
                <a:close/>
                <a:moveTo>
                  <a:pt x="0" y="1038956"/>
                </a:moveTo>
                <a:lnTo>
                  <a:pt x="81776" y="1038956"/>
                </a:lnTo>
                <a:cubicBezTo>
                  <a:pt x="94401" y="1038956"/>
                  <a:pt x="104636" y="1049192"/>
                  <a:pt x="104636" y="1061817"/>
                </a:cubicBezTo>
                <a:lnTo>
                  <a:pt x="104635" y="1061817"/>
                </a:lnTo>
                <a:cubicBezTo>
                  <a:pt x="104635" y="1074442"/>
                  <a:pt x="94400" y="1084677"/>
                  <a:pt x="81775" y="1084677"/>
                </a:cubicBezTo>
                <a:lnTo>
                  <a:pt x="0" y="1084677"/>
                </a:lnTo>
                <a:close/>
                <a:moveTo>
                  <a:pt x="0" y="841173"/>
                </a:moveTo>
                <a:lnTo>
                  <a:pt x="279104" y="841173"/>
                </a:lnTo>
                <a:cubicBezTo>
                  <a:pt x="303950" y="841173"/>
                  <a:pt x="324091" y="861314"/>
                  <a:pt x="324091" y="886160"/>
                </a:cubicBezTo>
                <a:cubicBezTo>
                  <a:pt x="324091" y="911007"/>
                  <a:pt x="303950" y="931147"/>
                  <a:pt x="279104" y="931147"/>
                </a:cubicBezTo>
                <a:lnTo>
                  <a:pt x="0" y="931147"/>
                </a:lnTo>
                <a:close/>
                <a:moveTo>
                  <a:pt x="0" y="663334"/>
                </a:moveTo>
                <a:lnTo>
                  <a:pt x="81776" y="663334"/>
                </a:lnTo>
                <a:cubicBezTo>
                  <a:pt x="94401" y="663334"/>
                  <a:pt x="104636" y="673569"/>
                  <a:pt x="104636" y="686194"/>
                </a:cubicBezTo>
                <a:lnTo>
                  <a:pt x="104635" y="686194"/>
                </a:lnTo>
                <a:cubicBezTo>
                  <a:pt x="104635" y="698819"/>
                  <a:pt x="94400" y="709054"/>
                  <a:pt x="81775" y="709054"/>
                </a:cubicBezTo>
                <a:lnTo>
                  <a:pt x="0" y="709054"/>
                </a:lnTo>
                <a:close/>
                <a:moveTo>
                  <a:pt x="0" y="509806"/>
                </a:moveTo>
                <a:lnTo>
                  <a:pt x="173216" y="509806"/>
                </a:lnTo>
                <a:cubicBezTo>
                  <a:pt x="185841" y="509806"/>
                  <a:pt x="196076" y="520041"/>
                  <a:pt x="196076" y="532666"/>
                </a:cubicBezTo>
                <a:lnTo>
                  <a:pt x="196075" y="532666"/>
                </a:lnTo>
                <a:cubicBezTo>
                  <a:pt x="196075" y="545291"/>
                  <a:pt x="185840" y="555526"/>
                  <a:pt x="173215" y="555526"/>
                </a:cubicBezTo>
                <a:lnTo>
                  <a:pt x="0" y="555526"/>
                </a:lnTo>
                <a:close/>
                <a:moveTo>
                  <a:pt x="0" y="356279"/>
                </a:moveTo>
                <a:lnTo>
                  <a:pt x="81776" y="356279"/>
                </a:lnTo>
                <a:cubicBezTo>
                  <a:pt x="94401" y="356279"/>
                  <a:pt x="104636" y="366514"/>
                  <a:pt x="104636" y="379139"/>
                </a:cubicBezTo>
                <a:lnTo>
                  <a:pt x="104635" y="379139"/>
                </a:lnTo>
                <a:cubicBezTo>
                  <a:pt x="104635" y="391764"/>
                  <a:pt x="94400" y="401999"/>
                  <a:pt x="81775" y="401999"/>
                </a:cubicBezTo>
                <a:lnTo>
                  <a:pt x="0" y="401999"/>
                </a:lnTo>
                <a:close/>
                <a:moveTo>
                  <a:pt x="0" y="158496"/>
                </a:moveTo>
                <a:lnTo>
                  <a:pt x="279104" y="158496"/>
                </a:lnTo>
                <a:cubicBezTo>
                  <a:pt x="303950" y="158496"/>
                  <a:pt x="324091" y="178637"/>
                  <a:pt x="324091" y="203483"/>
                </a:cubicBezTo>
                <a:cubicBezTo>
                  <a:pt x="324091" y="228329"/>
                  <a:pt x="303950" y="248470"/>
                  <a:pt x="279104" y="248470"/>
                </a:cubicBezTo>
                <a:lnTo>
                  <a:pt x="0" y="248470"/>
                </a:lnTo>
                <a:close/>
                <a:moveTo>
                  <a:pt x="0" y="0"/>
                </a:moveTo>
                <a:lnTo>
                  <a:pt x="81776" y="0"/>
                </a:lnTo>
                <a:cubicBezTo>
                  <a:pt x="94401" y="0"/>
                  <a:pt x="104636" y="10235"/>
                  <a:pt x="104636" y="22860"/>
                </a:cubicBezTo>
                <a:lnTo>
                  <a:pt x="104635" y="22860"/>
                </a:lnTo>
                <a:cubicBezTo>
                  <a:pt x="104635" y="35485"/>
                  <a:pt x="94400" y="45720"/>
                  <a:pt x="81775" y="45720"/>
                </a:cubicBezTo>
                <a:lnTo>
                  <a:pt x="0" y="45720"/>
                </a:lnTo>
                <a:close/>
              </a:path>
            </a:pathLst>
          </a:custGeom>
          <a:solidFill>
            <a:schemeClr val="bg1">
              <a:alpha val="3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331113" y="2211598"/>
            <a:ext cx="9108607" cy="165576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3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8C4B8EF-32A3-461D-AA69-4727E19A3564}"/>
              </a:ext>
            </a:extLst>
          </p:cNvPr>
          <p:cNvGrpSpPr/>
          <p:nvPr userDrawn="1"/>
        </p:nvGrpSpPr>
        <p:grpSpPr>
          <a:xfrm>
            <a:off x="11803080" y="979776"/>
            <a:ext cx="221196" cy="228600"/>
            <a:chOff x="11806154" y="979776"/>
            <a:chExt cx="221254" cy="228600"/>
          </a:xfrm>
        </p:grpSpPr>
        <p:sp>
          <p:nvSpPr>
            <p:cNvPr id="13" name="Round Same-side Corner of Rectangle 79">
              <a:extLst>
                <a:ext uri="{FF2B5EF4-FFF2-40B4-BE49-F238E27FC236}">
                  <a16:creationId xmlns:a16="http://schemas.microsoft.com/office/drawing/2014/main" id="{EE5B3361-8615-42AE-B777-05E724E99098}"/>
                </a:ext>
              </a:extLst>
            </p:cNvPr>
            <p:cNvSpPr/>
            <p:nvPr/>
          </p:nvSpPr>
          <p:spPr>
            <a:xfrm rot="5400000">
              <a:off x="11802481" y="983449"/>
              <a:ext cx="228600" cy="221254"/>
            </a:xfrm>
            <a:prstGeom prst="round2SameRect">
              <a:avLst>
                <a:gd name="adj1" fmla="val 0"/>
                <a:gd name="adj2" fmla="val 50000"/>
              </a:avLst>
            </a:prstGeom>
            <a:solidFill>
              <a:schemeClr val="tx2"/>
            </a:solidFill>
            <a:ln w="9525">
              <a:noFill/>
            </a:ln>
            <a:effectLst>
              <a:innerShdw blurRad="63500" dist="25400" dir="5400000">
                <a:prstClr val="black">
                  <a:alpha val="32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43371FA7-6B52-49D1-A2EB-2DFFDD0F605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843840" y="1010005"/>
              <a:ext cx="155448" cy="155448"/>
            </a:xfrm>
            <a:prstGeom prst="rect">
              <a:avLst/>
            </a:prstGeom>
          </p:spPr>
        </p:pic>
      </p:grp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FBD5524E-FFFC-4584-8726-81182C0273CF}"/>
              </a:ext>
            </a:extLst>
          </p:cNvPr>
          <p:cNvSpPr/>
          <p:nvPr userDrawn="1"/>
        </p:nvSpPr>
        <p:spPr>
          <a:xfrm>
            <a:off x="558654" y="706397"/>
            <a:ext cx="4012155" cy="977900"/>
          </a:xfrm>
          <a:prstGeom prst="roundRect">
            <a:avLst>
              <a:gd name="adj" fmla="val 50000"/>
            </a:avLst>
          </a:prstGeom>
          <a:solidFill>
            <a:schemeClr val="bg1">
              <a:alpha val="39000"/>
            </a:schemeClr>
          </a:solidFill>
          <a:ln w="190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293027" y="552617"/>
            <a:ext cx="9385073" cy="1304513"/>
          </a:xfrm>
        </p:spPr>
        <p:txBody>
          <a:bodyPr anchor="ctr">
            <a:noAutofit/>
          </a:bodyPr>
          <a:lstStyle>
            <a:lvl1pPr algn="l">
              <a:defRPr sz="3999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reeform 13">
            <a:extLst>
              <a:ext uri="{FF2B5EF4-FFF2-40B4-BE49-F238E27FC236}">
                <a16:creationId xmlns:a16="http://schemas.microsoft.com/office/drawing/2014/main" id="{E9E71F01-8498-401D-98E8-DE2258848D01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67122" y="859278"/>
            <a:ext cx="747942" cy="673564"/>
          </a:xfrm>
          <a:custGeom>
            <a:avLst/>
            <a:gdLst>
              <a:gd name="T0" fmla="*/ 757 w 1043"/>
              <a:gd name="T1" fmla="*/ 313 h 939"/>
              <a:gd name="T2" fmla="*/ 313 w 1043"/>
              <a:gd name="T3" fmla="*/ 321 h 939"/>
              <a:gd name="T4" fmla="*/ 321 w 1043"/>
              <a:gd name="T5" fmla="*/ 348 h 939"/>
              <a:gd name="T6" fmla="*/ 765 w 1043"/>
              <a:gd name="T7" fmla="*/ 340 h 939"/>
              <a:gd name="T8" fmla="*/ 765 w 1043"/>
              <a:gd name="T9" fmla="*/ 251 h 939"/>
              <a:gd name="T10" fmla="*/ 321 w 1043"/>
              <a:gd name="T11" fmla="*/ 243 h 939"/>
              <a:gd name="T12" fmla="*/ 313 w 1043"/>
              <a:gd name="T13" fmla="*/ 270 h 939"/>
              <a:gd name="T14" fmla="*/ 757 w 1043"/>
              <a:gd name="T15" fmla="*/ 278 h 939"/>
              <a:gd name="T16" fmla="*/ 765 w 1043"/>
              <a:gd name="T17" fmla="*/ 251 h 939"/>
              <a:gd name="T18" fmla="*/ 757 w 1043"/>
              <a:gd name="T19" fmla="*/ 382 h 939"/>
              <a:gd name="T20" fmla="*/ 313 w 1043"/>
              <a:gd name="T21" fmla="*/ 390 h 939"/>
              <a:gd name="T22" fmla="*/ 321 w 1043"/>
              <a:gd name="T23" fmla="*/ 417 h 939"/>
              <a:gd name="T24" fmla="*/ 765 w 1043"/>
              <a:gd name="T25" fmla="*/ 409 h 939"/>
              <a:gd name="T26" fmla="*/ 765 w 1043"/>
              <a:gd name="T27" fmla="*/ 182 h 939"/>
              <a:gd name="T28" fmla="*/ 321 w 1043"/>
              <a:gd name="T29" fmla="*/ 174 h 939"/>
              <a:gd name="T30" fmla="*/ 313 w 1043"/>
              <a:gd name="T31" fmla="*/ 201 h 939"/>
              <a:gd name="T32" fmla="*/ 757 w 1043"/>
              <a:gd name="T33" fmla="*/ 209 h 939"/>
              <a:gd name="T34" fmla="*/ 765 w 1043"/>
              <a:gd name="T35" fmla="*/ 182 h 939"/>
              <a:gd name="T36" fmla="*/ 1027 w 1043"/>
              <a:gd name="T37" fmla="*/ 730 h 939"/>
              <a:gd name="T38" fmla="*/ 491 w 1043"/>
              <a:gd name="T39" fmla="*/ 735 h 939"/>
              <a:gd name="T40" fmla="*/ 487 w 1043"/>
              <a:gd name="T41" fmla="*/ 747 h 939"/>
              <a:gd name="T42" fmla="*/ 358 w 1043"/>
              <a:gd name="T43" fmla="*/ 869 h 939"/>
              <a:gd name="T44" fmla="*/ 243 w 1043"/>
              <a:gd name="T45" fmla="*/ 757 h 939"/>
              <a:gd name="T46" fmla="*/ 243 w 1043"/>
              <a:gd name="T47" fmla="*/ 139 h 939"/>
              <a:gd name="T48" fmla="*/ 742 w 1043"/>
              <a:gd name="T49" fmla="*/ 69 h 939"/>
              <a:gd name="T50" fmla="*/ 834 w 1043"/>
              <a:gd name="T51" fmla="*/ 695 h 939"/>
              <a:gd name="T52" fmla="*/ 904 w 1043"/>
              <a:gd name="T53" fmla="*/ 161 h 939"/>
              <a:gd name="T54" fmla="*/ 685 w 1043"/>
              <a:gd name="T55" fmla="*/ 0 h 939"/>
              <a:gd name="T56" fmla="*/ 0 w 1043"/>
              <a:gd name="T57" fmla="*/ 174 h 939"/>
              <a:gd name="T58" fmla="*/ 16 w 1043"/>
              <a:gd name="T59" fmla="*/ 209 h 939"/>
              <a:gd name="T60" fmla="*/ 174 w 1043"/>
              <a:gd name="T61" fmla="*/ 757 h 939"/>
              <a:gd name="T62" fmla="*/ 820 w 1043"/>
              <a:gd name="T63" fmla="*/ 939 h 939"/>
              <a:gd name="T64" fmla="*/ 1043 w 1043"/>
              <a:gd name="T65" fmla="*/ 765 h 939"/>
              <a:gd name="T66" fmla="*/ 765 w 1043"/>
              <a:gd name="T67" fmla="*/ 529 h 939"/>
              <a:gd name="T68" fmla="*/ 321 w 1043"/>
              <a:gd name="T69" fmla="*/ 522 h 939"/>
              <a:gd name="T70" fmla="*/ 313 w 1043"/>
              <a:gd name="T71" fmla="*/ 548 h 939"/>
              <a:gd name="T72" fmla="*/ 757 w 1043"/>
              <a:gd name="T73" fmla="*/ 556 h 939"/>
              <a:gd name="T74" fmla="*/ 765 w 1043"/>
              <a:gd name="T75" fmla="*/ 529 h 939"/>
              <a:gd name="T76" fmla="*/ 757 w 1043"/>
              <a:gd name="T77" fmla="*/ 452 h 939"/>
              <a:gd name="T78" fmla="*/ 313 w 1043"/>
              <a:gd name="T79" fmla="*/ 460 h 939"/>
              <a:gd name="T80" fmla="*/ 321 w 1043"/>
              <a:gd name="T81" fmla="*/ 487 h 939"/>
              <a:gd name="T82" fmla="*/ 765 w 1043"/>
              <a:gd name="T83" fmla="*/ 479 h 939"/>
              <a:gd name="T84" fmla="*/ 765 w 1043"/>
              <a:gd name="T85" fmla="*/ 599 h 939"/>
              <a:gd name="T86" fmla="*/ 757 w 1043"/>
              <a:gd name="T87" fmla="*/ 626 h 939"/>
              <a:gd name="T88" fmla="*/ 313 w 1043"/>
              <a:gd name="T89" fmla="*/ 618 h 939"/>
              <a:gd name="T90" fmla="*/ 321 w 1043"/>
              <a:gd name="T91" fmla="*/ 591 h 939"/>
              <a:gd name="T92" fmla="*/ 765 w 1043"/>
              <a:gd name="T93" fmla="*/ 59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43" h="939">
                <a:moveTo>
                  <a:pt x="765" y="321"/>
                </a:moveTo>
                <a:cubicBezTo>
                  <a:pt x="765" y="316"/>
                  <a:pt x="761" y="313"/>
                  <a:pt x="757" y="313"/>
                </a:cubicBezTo>
                <a:cubicBezTo>
                  <a:pt x="321" y="313"/>
                  <a:pt x="321" y="313"/>
                  <a:pt x="321" y="313"/>
                </a:cubicBezTo>
                <a:cubicBezTo>
                  <a:pt x="316" y="313"/>
                  <a:pt x="313" y="316"/>
                  <a:pt x="313" y="321"/>
                </a:cubicBezTo>
                <a:cubicBezTo>
                  <a:pt x="313" y="340"/>
                  <a:pt x="313" y="340"/>
                  <a:pt x="313" y="340"/>
                </a:cubicBezTo>
                <a:cubicBezTo>
                  <a:pt x="313" y="344"/>
                  <a:pt x="316" y="348"/>
                  <a:pt x="321" y="348"/>
                </a:cubicBezTo>
                <a:cubicBezTo>
                  <a:pt x="757" y="348"/>
                  <a:pt x="757" y="348"/>
                  <a:pt x="757" y="348"/>
                </a:cubicBezTo>
                <a:cubicBezTo>
                  <a:pt x="761" y="348"/>
                  <a:pt x="765" y="344"/>
                  <a:pt x="765" y="340"/>
                </a:cubicBezTo>
                <a:lnTo>
                  <a:pt x="765" y="321"/>
                </a:lnTo>
                <a:close/>
                <a:moveTo>
                  <a:pt x="765" y="251"/>
                </a:moveTo>
                <a:cubicBezTo>
                  <a:pt x="765" y="247"/>
                  <a:pt x="761" y="243"/>
                  <a:pt x="757" y="243"/>
                </a:cubicBezTo>
                <a:cubicBezTo>
                  <a:pt x="321" y="243"/>
                  <a:pt x="321" y="243"/>
                  <a:pt x="321" y="243"/>
                </a:cubicBezTo>
                <a:cubicBezTo>
                  <a:pt x="316" y="243"/>
                  <a:pt x="313" y="247"/>
                  <a:pt x="313" y="251"/>
                </a:cubicBezTo>
                <a:cubicBezTo>
                  <a:pt x="313" y="270"/>
                  <a:pt x="313" y="270"/>
                  <a:pt x="313" y="270"/>
                </a:cubicBezTo>
                <a:cubicBezTo>
                  <a:pt x="313" y="275"/>
                  <a:pt x="316" y="278"/>
                  <a:pt x="321" y="278"/>
                </a:cubicBezTo>
                <a:cubicBezTo>
                  <a:pt x="757" y="278"/>
                  <a:pt x="757" y="278"/>
                  <a:pt x="757" y="278"/>
                </a:cubicBezTo>
                <a:cubicBezTo>
                  <a:pt x="761" y="278"/>
                  <a:pt x="765" y="275"/>
                  <a:pt x="765" y="270"/>
                </a:cubicBezTo>
                <a:lnTo>
                  <a:pt x="765" y="251"/>
                </a:lnTo>
                <a:close/>
                <a:moveTo>
                  <a:pt x="765" y="390"/>
                </a:moveTo>
                <a:cubicBezTo>
                  <a:pt x="765" y="386"/>
                  <a:pt x="761" y="382"/>
                  <a:pt x="757" y="382"/>
                </a:cubicBezTo>
                <a:cubicBezTo>
                  <a:pt x="321" y="382"/>
                  <a:pt x="321" y="382"/>
                  <a:pt x="321" y="382"/>
                </a:cubicBezTo>
                <a:cubicBezTo>
                  <a:pt x="316" y="382"/>
                  <a:pt x="313" y="386"/>
                  <a:pt x="313" y="390"/>
                </a:cubicBezTo>
                <a:cubicBezTo>
                  <a:pt x="313" y="409"/>
                  <a:pt x="313" y="409"/>
                  <a:pt x="313" y="409"/>
                </a:cubicBezTo>
                <a:cubicBezTo>
                  <a:pt x="313" y="414"/>
                  <a:pt x="316" y="417"/>
                  <a:pt x="321" y="417"/>
                </a:cubicBezTo>
                <a:cubicBezTo>
                  <a:pt x="757" y="417"/>
                  <a:pt x="757" y="417"/>
                  <a:pt x="757" y="417"/>
                </a:cubicBezTo>
                <a:cubicBezTo>
                  <a:pt x="761" y="417"/>
                  <a:pt x="765" y="414"/>
                  <a:pt x="765" y="409"/>
                </a:cubicBezTo>
                <a:lnTo>
                  <a:pt x="765" y="390"/>
                </a:lnTo>
                <a:close/>
                <a:moveTo>
                  <a:pt x="765" y="182"/>
                </a:moveTo>
                <a:cubicBezTo>
                  <a:pt x="765" y="177"/>
                  <a:pt x="761" y="174"/>
                  <a:pt x="757" y="174"/>
                </a:cubicBezTo>
                <a:cubicBezTo>
                  <a:pt x="321" y="174"/>
                  <a:pt x="321" y="174"/>
                  <a:pt x="321" y="174"/>
                </a:cubicBezTo>
                <a:cubicBezTo>
                  <a:pt x="316" y="174"/>
                  <a:pt x="313" y="177"/>
                  <a:pt x="313" y="182"/>
                </a:cubicBezTo>
                <a:cubicBezTo>
                  <a:pt x="313" y="201"/>
                  <a:pt x="313" y="201"/>
                  <a:pt x="313" y="201"/>
                </a:cubicBezTo>
                <a:cubicBezTo>
                  <a:pt x="313" y="205"/>
                  <a:pt x="316" y="209"/>
                  <a:pt x="321" y="209"/>
                </a:cubicBezTo>
                <a:cubicBezTo>
                  <a:pt x="757" y="209"/>
                  <a:pt x="757" y="209"/>
                  <a:pt x="757" y="209"/>
                </a:cubicBezTo>
                <a:cubicBezTo>
                  <a:pt x="761" y="209"/>
                  <a:pt x="765" y="205"/>
                  <a:pt x="765" y="201"/>
                </a:cubicBezTo>
                <a:lnTo>
                  <a:pt x="765" y="182"/>
                </a:lnTo>
                <a:close/>
                <a:moveTo>
                  <a:pt x="1041" y="743"/>
                </a:moveTo>
                <a:cubicBezTo>
                  <a:pt x="1041" y="736"/>
                  <a:pt x="1034" y="730"/>
                  <a:pt x="1027" y="730"/>
                </a:cubicBezTo>
                <a:cubicBezTo>
                  <a:pt x="501" y="730"/>
                  <a:pt x="501" y="730"/>
                  <a:pt x="501" y="730"/>
                </a:cubicBezTo>
                <a:cubicBezTo>
                  <a:pt x="497" y="730"/>
                  <a:pt x="494" y="732"/>
                  <a:pt x="491" y="735"/>
                </a:cubicBezTo>
                <a:cubicBezTo>
                  <a:pt x="488" y="737"/>
                  <a:pt x="486" y="741"/>
                  <a:pt x="487" y="745"/>
                </a:cubicBezTo>
                <a:cubicBezTo>
                  <a:pt x="487" y="746"/>
                  <a:pt x="487" y="747"/>
                  <a:pt x="487" y="747"/>
                </a:cubicBezTo>
                <a:cubicBezTo>
                  <a:pt x="487" y="815"/>
                  <a:pt x="432" y="869"/>
                  <a:pt x="365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295" y="869"/>
                  <a:pt x="243" y="819"/>
                  <a:pt x="243" y="757"/>
                </a:cubicBezTo>
                <a:cubicBezTo>
                  <a:pt x="243" y="757"/>
                  <a:pt x="243" y="243"/>
                  <a:pt x="243" y="174"/>
                </a:cubicBezTo>
                <a:cubicBezTo>
                  <a:pt x="243" y="139"/>
                  <a:pt x="243" y="139"/>
                  <a:pt x="243" y="139"/>
                </a:cubicBezTo>
                <a:cubicBezTo>
                  <a:pt x="243" y="100"/>
                  <a:pt x="212" y="69"/>
                  <a:pt x="174" y="69"/>
                </a:cubicBezTo>
                <a:cubicBezTo>
                  <a:pt x="742" y="69"/>
                  <a:pt x="742" y="69"/>
                  <a:pt x="742" y="69"/>
                </a:cubicBezTo>
                <a:cubicBezTo>
                  <a:pt x="793" y="69"/>
                  <a:pt x="834" y="111"/>
                  <a:pt x="834" y="161"/>
                </a:cubicBezTo>
                <a:cubicBezTo>
                  <a:pt x="834" y="695"/>
                  <a:pt x="834" y="695"/>
                  <a:pt x="834" y="695"/>
                </a:cubicBezTo>
                <a:cubicBezTo>
                  <a:pt x="904" y="695"/>
                  <a:pt x="904" y="695"/>
                  <a:pt x="904" y="695"/>
                </a:cubicBezTo>
                <a:cubicBezTo>
                  <a:pt x="904" y="573"/>
                  <a:pt x="904" y="326"/>
                  <a:pt x="904" y="161"/>
                </a:cubicBezTo>
                <a:cubicBezTo>
                  <a:pt x="904" y="72"/>
                  <a:pt x="832" y="0"/>
                  <a:pt x="742" y="0"/>
                </a:cubicBezTo>
                <a:cubicBezTo>
                  <a:pt x="685" y="0"/>
                  <a:pt x="685" y="0"/>
                  <a:pt x="685" y="0"/>
                </a:cubicBezTo>
                <a:cubicBezTo>
                  <a:pt x="174" y="0"/>
                  <a:pt x="174" y="0"/>
                  <a:pt x="174" y="0"/>
                </a:cubicBezTo>
                <a:cubicBezTo>
                  <a:pt x="78" y="0"/>
                  <a:pt x="0" y="78"/>
                  <a:pt x="0" y="174"/>
                </a:cubicBezTo>
                <a:cubicBezTo>
                  <a:pt x="0" y="181"/>
                  <a:pt x="0" y="188"/>
                  <a:pt x="1" y="196"/>
                </a:cubicBezTo>
                <a:cubicBezTo>
                  <a:pt x="2" y="203"/>
                  <a:pt x="8" y="209"/>
                  <a:pt x="16" y="209"/>
                </a:cubicBezTo>
                <a:cubicBezTo>
                  <a:pt x="174" y="209"/>
                  <a:pt x="174" y="209"/>
                  <a:pt x="174" y="209"/>
                </a:cubicBezTo>
                <a:cubicBezTo>
                  <a:pt x="174" y="410"/>
                  <a:pt x="174" y="694"/>
                  <a:pt x="174" y="757"/>
                </a:cubicBezTo>
                <a:cubicBezTo>
                  <a:pt x="174" y="857"/>
                  <a:pt x="256" y="939"/>
                  <a:pt x="358" y="939"/>
                </a:cubicBezTo>
                <a:cubicBezTo>
                  <a:pt x="820" y="939"/>
                  <a:pt x="820" y="939"/>
                  <a:pt x="820" y="939"/>
                </a:cubicBezTo>
                <a:cubicBezTo>
                  <a:pt x="869" y="939"/>
                  <a:pt x="869" y="939"/>
                  <a:pt x="869" y="939"/>
                </a:cubicBezTo>
                <a:cubicBezTo>
                  <a:pt x="965" y="939"/>
                  <a:pt x="1043" y="861"/>
                  <a:pt x="1043" y="765"/>
                </a:cubicBezTo>
                <a:cubicBezTo>
                  <a:pt x="1043" y="757"/>
                  <a:pt x="1042" y="750"/>
                  <a:pt x="1041" y="743"/>
                </a:cubicBezTo>
                <a:close/>
                <a:moveTo>
                  <a:pt x="765" y="529"/>
                </a:moveTo>
                <a:cubicBezTo>
                  <a:pt x="765" y="525"/>
                  <a:pt x="761" y="522"/>
                  <a:pt x="757" y="522"/>
                </a:cubicBezTo>
                <a:cubicBezTo>
                  <a:pt x="321" y="522"/>
                  <a:pt x="321" y="522"/>
                  <a:pt x="321" y="522"/>
                </a:cubicBezTo>
                <a:cubicBezTo>
                  <a:pt x="316" y="522"/>
                  <a:pt x="313" y="525"/>
                  <a:pt x="313" y="529"/>
                </a:cubicBezTo>
                <a:cubicBezTo>
                  <a:pt x="313" y="548"/>
                  <a:pt x="313" y="548"/>
                  <a:pt x="313" y="548"/>
                </a:cubicBezTo>
                <a:cubicBezTo>
                  <a:pt x="313" y="553"/>
                  <a:pt x="316" y="556"/>
                  <a:pt x="321" y="556"/>
                </a:cubicBezTo>
                <a:cubicBezTo>
                  <a:pt x="757" y="556"/>
                  <a:pt x="757" y="556"/>
                  <a:pt x="757" y="556"/>
                </a:cubicBezTo>
                <a:cubicBezTo>
                  <a:pt x="761" y="556"/>
                  <a:pt x="765" y="553"/>
                  <a:pt x="765" y="548"/>
                </a:cubicBezTo>
                <a:lnTo>
                  <a:pt x="765" y="529"/>
                </a:lnTo>
                <a:close/>
                <a:moveTo>
                  <a:pt x="765" y="460"/>
                </a:moveTo>
                <a:cubicBezTo>
                  <a:pt x="765" y="456"/>
                  <a:pt x="761" y="452"/>
                  <a:pt x="757" y="452"/>
                </a:cubicBezTo>
                <a:cubicBezTo>
                  <a:pt x="321" y="452"/>
                  <a:pt x="321" y="452"/>
                  <a:pt x="321" y="452"/>
                </a:cubicBezTo>
                <a:cubicBezTo>
                  <a:pt x="316" y="452"/>
                  <a:pt x="313" y="456"/>
                  <a:pt x="313" y="460"/>
                </a:cubicBezTo>
                <a:cubicBezTo>
                  <a:pt x="313" y="479"/>
                  <a:pt x="313" y="479"/>
                  <a:pt x="313" y="479"/>
                </a:cubicBezTo>
                <a:cubicBezTo>
                  <a:pt x="313" y="483"/>
                  <a:pt x="316" y="487"/>
                  <a:pt x="321" y="487"/>
                </a:cubicBezTo>
                <a:cubicBezTo>
                  <a:pt x="757" y="487"/>
                  <a:pt x="757" y="487"/>
                  <a:pt x="757" y="487"/>
                </a:cubicBezTo>
                <a:cubicBezTo>
                  <a:pt x="761" y="487"/>
                  <a:pt x="765" y="483"/>
                  <a:pt x="765" y="479"/>
                </a:cubicBezTo>
                <a:lnTo>
                  <a:pt x="765" y="460"/>
                </a:lnTo>
                <a:close/>
                <a:moveTo>
                  <a:pt x="765" y="599"/>
                </a:moveTo>
                <a:cubicBezTo>
                  <a:pt x="765" y="618"/>
                  <a:pt x="765" y="618"/>
                  <a:pt x="765" y="618"/>
                </a:cubicBezTo>
                <a:cubicBezTo>
                  <a:pt x="765" y="622"/>
                  <a:pt x="761" y="626"/>
                  <a:pt x="757" y="626"/>
                </a:cubicBezTo>
                <a:cubicBezTo>
                  <a:pt x="321" y="626"/>
                  <a:pt x="321" y="626"/>
                  <a:pt x="321" y="626"/>
                </a:cubicBezTo>
                <a:cubicBezTo>
                  <a:pt x="316" y="626"/>
                  <a:pt x="313" y="622"/>
                  <a:pt x="313" y="618"/>
                </a:cubicBezTo>
                <a:cubicBezTo>
                  <a:pt x="313" y="599"/>
                  <a:pt x="313" y="599"/>
                  <a:pt x="313" y="599"/>
                </a:cubicBezTo>
                <a:cubicBezTo>
                  <a:pt x="313" y="595"/>
                  <a:pt x="316" y="591"/>
                  <a:pt x="321" y="591"/>
                </a:cubicBezTo>
                <a:cubicBezTo>
                  <a:pt x="757" y="591"/>
                  <a:pt x="757" y="591"/>
                  <a:pt x="757" y="591"/>
                </a:cubicBezTo>
                <a:cubicBezTo>
                  <a:pt x="761" y="591"/>
                  <a:pt x="765" y="595"/>
                  <a:pt x="765" y="599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18" name="Picture 17" descr="Logo&#10;&#10;Description automatically generated">
            <a:extLst>
              <a:ext uri="{FF2B5EF4-FFF2-40B4-BE49-F238E27FC236}">
                <a16:creationId xmlns:a16="http://schemas.microsoft.com/office/drawing/2014/main" id="{645FBF16-CC34-4DF6-B100-B52F4CAE651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32883" y="6120714"/>
            <a:ext cx="1017656" cy="420241"/>
          </a:xfrm>
          <a:prstGeom prst="rect">
            <a:avLst/>
          </a:prstGeom>
        </p:spPr>
      </p:pic>
      <p:sp>
        <p:nvSpPr>
          <p:cNvPr id="19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72CFFBC7-B0D3-4A53-86A3-A15CCC114975}"/>
              </a:ext>
            </a:extLst>
          </p:cNvPr>
          <p:cNvSpPr/>
          <p:nvPr userDrawn="1"/>
        </p:nvSpPr>
        <p:spPr>
          <a:xfrm rot="5400000">
            <a:off x="11809682" y="871594"/>
            <a:ext cx="320468" cy="437817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2358777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5117683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llar 8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4" name="Round Same-side Corner of Rectangle 79">
            <a:extLst>
              <a:ext uri="{FF2B5EF4-FFF2-40B4-BE49-F238E27FC236}">
                <a16:creationId xmlns:a16="http://schemas.microsoft.com/office/drawing/2014/main" id="{429E155D-7E57-4822-8852-F94F1A49D6FC}"/>
              </a:ext>
            </a:extLst>
          </p:cNvPr>
          <p:cNvSpPr/>
          <p:nvPr userDrawn="1"/>
        </p:nvSpPr>
        <p:spPr>
          <a:xfrm rot="16200000">
            <a:off x="11219847" y="4496226"/>
            <a:ext cx="388777" cy="137124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2102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 b="1"/>
              <a:t>Pillar  </a:t>
            </a:r>
            <a:r>
              <a:rPr lang="en-US" sz="1600" b="1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70" name="Round Same-side Corner of Rectangle 79">
            <a:extLst>
              <a:ext uri="{FF2B5EF4-FFF2-40B4-BE49-F238E27FC236}">
                <a16:creationId xmlns:a16="http://schemas.microsoft.com/office/drawing/2014/main" id="{DA632258-7E89-4C63-86BD-EA679E94BCAB}"/>
              </a:ext>
            </a:extLst>
          </p:cNvPr>
          <p:cNvSpPr/>
          <p:nvPr userDrawn="1"/>
        </p:nvSpPr>
        <p:spPr>
          <a:xfrm rot="16200000">
            <a:off x="11384854" y="4208631"/>
            <a:ext cx="388777" cy="104122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7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1" name="Round Same-side Corner of Rectangle 79">
            <a:extLst>
              <a:ext uri="{FF2B5EF4-FFF2-40B4-BE49-F238E27FC236}">
                <a16:creationId xmlns:a16="http://schemas.microsoft.com/office/drawing/2014/main" id="{D4B93879-3513-4875-A1C4-5980915623CE}"/>
              </a:ext>
            </a:extLst>
          </p:cNvPr>
          <p:cNvSpPr/>
          <p:nvPr userDrawn="1"/>
        </p:nvSpPr>
        <p:spPr>
          <a:xfrm rot="16200000">
            <a:off x="11384854" y="3756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6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8" name="Round Same-side Corner of Rectangle 79">
            <a:extLst>
              <a:ext uri="{FF2B5EF4-FFF2-40B4-BE49-F238E27FC236}">
                <a16:creationId xmlns:a16="http://schemas.microsoft.com/office/drawing/2014/main" id="{312255C5-65A9-47AB-B67B-8924547FF7C2}"/>
              </a:ext>
            </a:extLst>
          </p:cNvPr>
          <p:cNvSpPr/>
          <p:nvPr userDrawn="1"/>
        </p:nvSpPr>
        <p:spPr>
          <a:xfrm rot="16200000">
            <a:off x="11384854" y="33034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5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9" name="Round Same-side Corner of Rectangle 79">
            <a:extLst>
              <a:ext uri="{FF2B5EF4-FFF2-40B4-BE49-F238E27FC236}">
                <a16:creationId xmlns:a16="http://schemas.microsoft.com/office/drawing/2014/main" id="{F23596D5-FD36-49E3-B746-F3D7A290DF3D}"/>
              </a:ext>
            </a:extLst>
          </p:cNvPr>
          <p:cNvSpPr/>
          <p:nvPr userDrawn="1"/>
        </p:nvSpPr>
        <p:spPr>
          <a:xfrm rot="16200000">
            <a:off x="11384853" y="28508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4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7" name="Round Same-side Corner of Rectangle 79">
            <a:extLst>
              <a:ext uri="{FF2B5EF4-FFF2-40B4-BE49-F238E27FC236}">
                <a16:creationId xmlns:a16="http://schemas.microsoft.com/office/drawing/2014/main" id="{059574F1-9FE9-480C-B4ED-14EFB4169B0E}"/>
              </a:ext>
            </a:extLst>
          </p:cNvPr>
          <p:cNvSpPr/>
          <p:nvPr userDrawn="1"/>
        </p:nvSpPr>
        <p:spPr>
          <a:xfrm rot="16200000">
            <a:off x="11384854" y="23982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3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8" name="Round Same-side Corner of Rectangle 79">
            <a:extLst>
              <a:ext uri="{FF2B5EF4-FFF2-40B4-BE49-F238E27FC236}">
                <a16:creationId xmlns:a16="http://schemas.microsoft.com/office/drawing/2014/main" id="{82236BCB-3538-4E87-B0C9-CACC40793A57}"/>
              </a:ext>
            </a:extLst>
          </p:cNvPr>
          <p:cNvSpPr/>
          <p:nvPr userDrawn="1"/>
        </p:nvSpPr>
        <p:spPr>
          <a:xfrm rot="16200000">
            <a:off x="11384854" y="19456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2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9" name="Round Same-side Corner of Rectangle 79">
            <a:extLst>
              <a:ext uri="{FF2B5EF4-FFF2-40B4-BE49-F238E27FC236}">
                <a16:creationId xmlns:a16="http://schemas.microsoft.com/office/drawing/2014/main" id="{61090AD0-0469-4342-901A-FC4BE401662F}"/>
              </a:ext>
            </a:extLst>
          </p:cNvPr>
          <p:cNvSpPr/>
          <p:nvPr userDrawn="1"/>
        </p:nvSpPr>
        <p:spPr>
          <a:xfrm rot="16200000">
            <a:off x="11384854" y="1493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1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96" name="Round Same-side Corner of Rectangle 79">
            <a:extLst>
              <a:ext uri="{FF2B5EF4-FFF2-40B4-BE49-F238E27FC236}">
                <a16:creationId xmlns:a16="http://schemas.microsoft.com/office/drawing/2014/main" id="{75C801CE-9FCA-486D-96A7-6973FA449CCA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8" name="Round Same-side Corner of Rectangle 79">
            <a:extLst>
              <a:ext uri="{FF2B5EF4-FFF2-40B4-BE49-F238E27FC236}">
                <a16:creationId xmlns:a16="http://schemas.microsoft.com/office/drawing/2014/main" id="{B358AAFE-318C-4629-9F49-D9DBA46F85EC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2AA29EF-1A83-4920-8837-4ADB789F9454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795CF7A-A928-4BA8-8F3A-421AD587EC5F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4" name="Round Same-side Corner of Rectangle 79">
            <a:extLst>
              <a:ext uri="{FF2B5EF4-FFF2-40B4-BE49-F238E27FC236}">
                <a16:creationId xmlns:a16="http://schemas.microsoft.com/office/drawing/2014/main" id="{13CD620F-9E71-4D9D-BE7B-C381B93FC517}"/>
              </a:ext>
            </a:extLst>
          </p:cNvPr>
          <p:cNvSpPr/>
          <p:nvPr userDrawn="1"/>
        </p:nvSpPr>
        <p:spPr>
          <a:xfrm rot="16200000">
            <a:off x="11900597" y="5088007"/>
            <a:ext cx="388777" cy="18768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>
              <a:lumMod val="75000"/>
              <a:alpha val="59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17" name="TextBox 16">
            <a:hlinkClick r:id="" action="ppaction://noaction"/>
            <a:extLst>
              <a:ext uri="{FF2B5EF4-FFF2-40B4-BE49-F238E27FC236}">
                <a16:creationId xmlns:a16="http://schemas.microsoft.com/office/drawing/2014/main" id="{06046C7F-3D34-407F-A063-EE1B54B39E0D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18" name="TextBox 17">
            <a:hlinkClick r:id="" action="ppaction://noaction"/>
            <a:extLst>
              <a:ext uri="{FF2B5EF4-FFF2-40B4-BE49-F238E27FC236}">
                <a16:creationId xmlns:a16="http://schemas.microsoft.com/office/drawing/2014/main" id="{CA45D622-71B7-4E13-8ED2-2A4AFD97AAA9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DF7DCE60-60E8-492F-9BC3-393A93D6A4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432FE4A5-A739-47EA-81E0-3D22CEE29C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B5073D68-B7A1-4FBB-9A72-6F75E5D5AE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45" name="Freeform 9">
            <a:extLst>
              <a:ext uri="{FF2B5EF4-FFF2-40B4-BE49-F238E27FC236}">
                <a16:creationId xmlns:a16="http://schemas.microsoft.com/office/drawing/2014/main" id="{A9C993CA-B5B7-47F3-BE52-1162D746BA90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95767" y="4176118"/>
            <a:ext cx="181694" cy="212254"/>
          </a:xfrm>
          <a:custGeom>
            <a:avLst/>
            <a:gdLst>
              <a:gd name="T0" fmla="*/ 708 w 809"/>
              <a:gd name="T1" fmla="*/ 509 h 945"/>
              <a:gd name="T2" fmla="*/ 405 w 809"/>
              <a:gd name="T3" fmla="*/ 838 h 945"/>
              <a:gd name="T4" fmla="*/ 404 w 809"/>
              <a:gd name="T5" fmla="*/ 838 h 945"/>
              <a:gd name="T6" fmla="*/ 404 w 809"/>
              <a:gd name="T7" fmla="*/ 473 h 945"/>
              <a:gd name="T8" fmla="*/ 101 w 809"/>
              <a:gd name="T9" fmla="*/ 473 h 945"/>
              <a:gd name="T10" fmla="*/ 101 w 809"/>
              <a:gd name="T11" fmla="*/ 245 h 945"/>
              <a:gd name="T12" fmla="*/ 404 w 809"/>
              <a:gd name="T13" fmla="*/ 123 h 945"/>
              <a:gd name="T14" fmla="*/ 404 w 809"/>
              <a:gd name="T15" fmla="*/ 473 h 945"/>
              <a:gd name="T16" fmla="*/ 708 w 809"/>
              <a:gd name="T17" fmla="*/ 473 h 945"/>
              <a:gd name="T18" fmla="*/ 708 w 809"/>
              <a:gd name="T19" fmla="*/ 509 h 945"/>
              <a:gd name="T20" fmla="*/ 792 w 809"/>
              <a:gd name="T21" fmla="*/ 150 h 945"/>
              <a:gd name="T22" fmla="*/ 415 w 809"/>
              <a:gd name="T23" fmla="*/ 4 h 945"/>
              <a:gd name="T24" fmla="*/ 394 w 809"/>
              <a:gd name="T25" fmla="*/ 4 h 945"/>
              <a:gd name="T26" fmla="*/ 17 w 809"/>
              <a:gd name="T27" fmla="*/ 150 h 945"/>
              <a:gd name="T28" fmla="*/ 0 w 809"/>
              <a:gd name="T29" fmla="*/ 168 h 945"/>
              <a:gd name="T30" fmla="*/ 0 w 809"/>
              <a:gd name="T31" fmla="*/ 508 h 945"/>
              <a:gd name="T32" fmla="*/ 398 w 809"/>
              <a:gd name="T33" fmla="*/ 944 h 945"/>
              <a:gd name="T34" fmla="*/ 410 w 809"/>
              <a:gd name="T35" fmla="*/ 944 h 945"/>
              <a:gd name="T36" fmla="*/ 809 w 809"/>
              <a:gd name="T37" fmla="*/ 508 h 945"/>
              <a:gd name="T38" fmla="*/ 809 w 809"/>
              <a:gd name="T39" fmla="*/ 168 h 945"/>
              <a:gd name="T40" fmla="*/ 792 w 809"/>
              <a:gd name="T41" fmla="*/ 150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9" h="945">
                <a:moveTo>
                  <a:pt x="708" y="509"/>
                </a:moveTo>
                <a:cubicBezTo>
                  <a:pt x="708" y="713"/>
                  <a:pt x="483" y="811"/>
                  <a:pt x="405" y="838"/>
                </a:cubicBezTo>
                <a:cubicBezTo>
                  <a:pt x="405" y="838"/>
                  <a:pt x="404" y="838"/>
                  <a:pt x="404" y="838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101" y="473"/>
                  <a:pt x="101" y="473"/>
                  <a:pt x="101" y="473"/>
                </a:cubicBezTo>
                <a:cubicBezTo>
                  <a:pt x="101" y="245"/>
                  <a:pt x="101" y="245"/>
                  <a:pt x="101" y="245"/>
                </a:cubicBezTo>
                <a:cubicBezTo>
                  <a:pt x="185" y="231"/>
                  <a:pt x="288" y="197"/>
                  <a:pt x="404" y="123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708" y="473"/>
                  <a:pt x="708" y="473"/>
                  <a:pt x="708" y="473"/>
                </a:cubicBezTo>
                <a:lnTo>
                  <a:pt x="708" y="509"/>
                </a:lnTo>
                <a:close/>
                <a:moveTo>
                  <a:pt x="792" y="150"/>
                </a:moveTo>
                <a:cubicBezTo>
                  <a:pt x="691" y="146"/>
                  <a:pt x="562" y="109"/>
                  <a:pt x="415" y="4"/>
                </a:cubicBezTo>
                <a:cubicBezTo>
                  <a:pt x="409" y="0"/>
                  <a:pt x="400" y="0"/>
                  <a:pt x="394" y="4"/>
                </a:cubicBezTo>
                <a:cubicBezTo>
                  <a:pt x="247" y="109"/>
                  <a:pt x="118" y="146"/>
                  <a:pt x="17" y="150"/>
                </a:cubicBezTo>
                <a:cubicBezTo>
                  <a:pt x="7" y="150"/>
                  <a:pt x="0" y="158"/>
                  <a:pt x="0" y="168"/>
                </a:cubicBezTo>
                <a:cubicBezTo>
                  <a:pt x="0" y="209"/>
                  <a:pt x="0" y="325"/>
                  <a:pt x="0" y="508"/>
                </a:cubicBezTo>
                <a:cubicBezTo>
                  <a:pt x="0" y="792"/>
                  <a:pt x="348" y="926"/>
                  <a:pt x="398" y="944"/>
                </a:cubicBezTo>
                <a:cubicBezTo>
                  <a:pt x="402" y="945"/>
                  <a:pt x="406" y="945"/>
                  <a:pt x="410" y="944"/>
                </a:cubicBezTo>
                <a:cubicBezTo>
                  <a:pt x="460" y="926"/>
                  <a:pt x="809" y="792"/>
                  <a:pt x="809" y="508"/>
                </a:cubicBezTo>
                <a:cubicBezTo>
                  <a:pt x="809" y="325"/>
                  <a:pt x="809" y="209"/>
                  <a:pt x="809" y="168"/>
                </a:cubicBezTo>
                <a:cubicBezTo>
                  <a:pt x="809" y="158"/>
                  <a:pt x="801" y="150"/>
                  <a:pt x="792" y="15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46" name="Freeform 13">
            <a:extLst>
              <a:ext uri="{FF2B5EF4-FFF2-40B4-BE49-F238E27FC236}">
                <a16:creationId xmlns:a16="http://schemas.microsoft.com/office/drawing/2014/main" id="{05335764-8AF5-429B-8265-73AEFA29D9F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840588" y="5097137"/>
            <a:ext cx="218911" cy="197141"/>
          </a:xfrm>
          <a:custGeom>
            <a:avLst/>
            <a:gdLst>
              <a:gd name="T0" fmla="*/ 757 w 1043"/>
              <a:gd name="T1" fmla="*/ 313 h 939"/>
              <a:gd name="T2" fmla="*/ 313 w 1043"/>
              <a:gd name="T3" fmla="*/ 321 h 939"/>
              <a:gd name="T4" fmla="*/ 321 w 1043"/>
              <a:gd name="T5" fmla="*/ 348 h 939"/>
              <a:gd name="T6" fmla="*/ 765 w 1043"/>
              <a:gd name="T7" fmla="*/ 340 h 939"/>
              <a:gd name="T8" fmla="*/ 765 w 1043"/>
              <a:gd name="T9" fmla="*/ 251 h 939"/>
              <a:gd name="T10" fmla="*/ 321 w 1043"/>
              <a:gd name="T11" fmla="*/ 243 h 939"/>
              <a:gd name="T12" fmla="*/ 313 w 1043"/>
              <a:gd name="T13" fmla="*/ 270 h 939"/>
              <a:gd name="T14" fmla="*/ 757 w 1043"/>
              <a:gd name="T15" fmla="*/ 278 h 939"/>
              <a:gd name="T16" fmla="*/ 765 w 1043"/>
              <a:gd name="T17" fmla="*/ 251 h 939"/>
              <a:gd name="T18" fmla="*/ 757 w 1043"/>
              <a:gd name="T19" fmla="*/ 382 h 939"/>
              <a:gd name="T20" fmla="*/ 313 w 1043"/>
              <a:gd name="T21" fmla="*/ 390 h 939"/>
              <a:gd name="T22" fmla="*/ 321 w 1043"/>
              <a:gd name="T23" fmla="*/ 417 h 939"/>
              <a:gd name="T24" fmla="*/ 765 w 1043"/>
              <a:gd name="T25" fmla="*/ 409 h 939"/>
              <a:gd name="T26" fmla="*/ 765 w 1043"/>
              <a:gd name="T27" fmla="*/ 182 h 939"/>
              <a:gd name="T28" fmla="*/ 321 w 1043"/>
              <a:gd name="T29" fmla="*/ 174 h 939"/>
              <a:gd name="T30" fmla="*/ 313 w 1043"/>
              <a:gd name="T31" fmla="*/ 201 h 939"/>
              <a:gd name="T32" fmla="*/ 757 w 1043"/>
              <a:gd name="T33" fmla="*/ 209 h 939"/>
              <a:gd name="T34" fmla="*/ 765 w 1043"/>
              <a:gd name="T35" fmla="*/ 182 h 939"/>
              <a:gd name="T36" fmla="*/ 1027 w 1043"/>
              <a:gd name="T37" fmla="*/ 730 h 939"/>
              <a:gd name="T38" fmla="*/ 491 w 1043"/>
              <a:gd name="T39" fmla="*/ 735 h 939"/>
              <a:gd name="T40" fmla="*/ 487 w 1043"/>
              <a:gd name="T41" fmla="*/ 747 h 939"/>
              <a:gd name="T42" fmla="*/ 358 w 1043"/>
              <a:gd name="T43" fmla="*/ 869 h 939"/>
              <a:gd name="T44" fmla="*/ 243 w 1043"/>
              <a:gd name="T45" fmla="*/ 757 h 939"/>
              <a:gd name="T46" fmla="*/ 243 w 1043"/>
              <a:gd name="T47" fmla="*/ 139 h 939"/>
              <a:gd name="T48" fmla="*/ 742 w 1043"/>
              <a:gd name="T49" fmla="*/ 69 h 939"/>
              <a:gd name="T50" fmla="*/ 834 w 1043"/>
              <a:gd name="T51" fmla="*/ 695 h 939"/>
              <a:gd name="T52" fmla="*/ 904 w 1043"/>
              <a:gd name="T53" fmla="*/ 161 h 939"/>
              <a:gd name="T54" fmla="*/ 685 w 1043"/>
              <a:gd name="T55" fmla="*/ 0 h 939"/>
              <a:gd name="T56" fmla="*/ 0 w 1043"/>
              <a:gd name="T57" fmla="*/ 174 h 939"/>
              <a:gd name="T58" fmla="*/ 16 w 1043"/>
              <a:gd name="T59" fmla="*/ 209 h 939"/>
              <a:gd name="T60" fmla="*/ 174 w 1043"/>
              <a:gd name="T61" fmla="*/ 757 h 939"/>
              <a:gd name="T62" fmla="*/ 820 w 1043"/>
              <a:gd name="T63" fmla="*/ 939 h 939"/>
              <a:gd name="T64" fmla="*/ 1043 w 1043"/>
              <a:gd name="T65" fmla="*/ 765 h 939"/>
              <a:gd name="T66" fmla="*/ 765 w 1043"/>
              <a:gd name="T67" fmla="*/ 529 h 939"/>
              <a:gd name="T68" fmla="*/ 321 w 1043"/>
              <a:gd name="T69" fmla="*/ 522 h 939"/>
              <a:gd name="T70" fmla="*/ 313 w 1043"/>
              <a:gd name="T71" fmla="*/ 548 h 939"/>
              <a:gd name="T72" fmla="*/ 757 w 1043"/>
              <a:gd name="T73" fmla="*/ 556 h 939"/>
              <a:gd name="T74" fmla="*/ 765 w 1043"/>
              <a:gd name="T75" fmla="*/ 529 h 939"/>
              <a:gd name="T76" fmla="*/ 757 w 1043"/>
              <a:gd name="T77" fmla="*/ 452 h 939"/>
              <a:gd name="T78" fmla="*/ 313 w 1043"/>
              <a:gd name="T79" fmla="*/ 460 h 939"/>
              <a:gd name="T80" fmla="*/ 321 w 1043"/>
              <a:gd name="T81" fmla="*/ 487 h 939"/>
              <a:gd name="T82" fmla="*/ 765 w 1043"/>
              <a:gd name="T83" fmla="*/ 479 h 939"/>
              <a:gd name="T84" fmla="*/ 765 w 1043"/>
              <a:gd name="T85" fmla="*/ 599 h 939"/>
              <a:gd name="T86" fmla="*/ 757 w 1043"/>
              <a:gd name="T87" fmla="*/ 626 h 939"/>
              <a:gd name="T88" fmla="*/ 313 w 1043"/>
              <a:gd name="T89" fmla="*/ 618 h 939"/>
              <a:gd name="T90" fmla="*/ 321 w 1043"/>
              <a:gd name="T91" fmla="*/ 591 h 939"/>
              <a:gd name="T92" fmla="*/ 765 w 1043"/>
              <a:gd name="T93" fmla="*/ 59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43" h="939">
                <a:moveTo>
                  <a:pt x="765" y="321"/>
                </a:moveTo>
                <a:cubicBezTo>
                  <a:pt x="765" y="316"/>
                  <a:pt x="761" y="313"/>
                  <a:pt x="757" y="313"/>
                </a:cubicBezTo>
                <a:cubicBezTo>
                  <a:pt x="321" y="313"/>
                  <a:pt x="321" y="313"/>
                  <a:pt x="321" y="313"/>
                </a:cubicBezTo>
                <a:cubicBezTo>
                  <a:pt x="316" y="313"/>
                  <a:pt x="313" y="316"/>
                  <a:pt x="313" y="321"/>
                </a:cubicBezTo>
                <a:cubicBezTo>
                  <a:pt x="313" y="340"/>
                  <a:pt x="313" y="340"/>
                  <a:pt x="313" y="340"/>
                </a:cubicBezTo>
                <a:cubicBezTo>
                  <a:pt x="313" y="344"/>
                  <a:pt x="316" y="348"/>
                  <a:pt x="321" y="348"/>
                </a:cubicBezTo>
                <a:cubicBezTo>
                  <a:pt x="757" y="348"/>
                  <a:pt x="757" y="348"/>
                  <a:pt x="757" y="348"/>
                </a:cubicBezTo>
                <a:cubicBezTo>
                  <a:pt x="761" y="348"/>
                  <a:pt x="765" y="344"/>
                  <a:pt x="765" y="340"/>
                </a:cubicBezTo>
                <a:lnTo>
                  <a:pt x="765" y="321"/>
                </a:lnTo>
                <a:close/>
                <a:moveTo>
                  <a:pt x="765" y="251"/>
                </a:moveTo>
                <a:cubicBezTo>
                  <a:pt x="765" y="247"/>
                  <a:pt x="761" y="243"/>
                  <a:pt x="757" y="243"/>
                </a:cubicBezTo>
                <a:cubicBezTo>
                  <a:pt x="321" y="243"/>
                  <a:pt x="321" y="243"/>
                  <a:pt x="321" y="243"/>
                </a:cubicBezTo>
                <a:cubicBezTo>
                  <a:pt x="316" y="243"/>
                  <a:pt x="313" y="247"/>
                  <a:pt x="313" y="251"/>
                </a:cubicBezTo>
                <a:cubicBezTo>
                  <a:pt x="313" y="270"/>
                  <a:pt x="313" y="270"/>
                  <a:pt x="313" y="270"/>
                </a:cubicBezTo>
                <a:cubicBezTo>
                  <a:pt x="313" y="275"/>
                  <a:pt x="316" y="278"/>
                  <a:pt x="321" y="278"/>
                </a:cubicBezTo>
                <a:cubicBezTo>
                  <a:pt x="757" y="278"/>
                  <a:pt x="757" y="278"/>
                  <a:pt x="757" y="278"/>
                </a:cubicBezTo>
                <a:cubicBezTo>
                  <a:pt x="761" y="278"/>
                  <a:pt x="765" y="275"/>
                  <a:pt x="765" y="270"/>
                </a:cubicBezTo>
                <a:lnTo>
                  <a:pt x="765" y="251"/>
                </a:lnTo>
                <a:close/>
                <a:moveTo>
                  <a:pt x="765" y="390"/>
                </a:moveTo>
                <a:cubicBezTo>
                  <a:pt x="765" y="386"/>
                  <a:pt x="761" y="382"/>
                  <a:pt x="757" y="382"/>
                </a:cubicBezTo>
                <a:cubicBezTo>
                  <a:pt x="321" y="382"/>
                  <a:pt x="321" y="382"/>
                  <a:pt x="321" y="382"/>
                </a:cubicBezTo>
                <a:cubicBezTo>
                  <a:pt x="316" y="382"/>
                  <a:pt x="313" y="386"/>
                  <a:pt x="313" y="390"/>
                </a:cubicBezTo>
                <a:cubicBezTo>
                  <a:pt x="313" y="409"/>
                  <a:pt x="313" y="409"/>
                  <a:pt x="313" y="409"/>
                </a:cubicBezTo>
                <a:cubicBezTo>
                  <a:pt x="313" y="414"/>
                  <a:pt x="316" y="417"/>
                  <a:pt x="321" y="417"/>
                </a:cubicBezTo>
                <a:cubicBezTo>
                  <a:pt x="757" y="417"/>
                  <a:pt x="757" y="417"/>
                  <a:pt x="757" y="417"/>
                </a:cubicBezTo>
                <a:cubicBezTo>
                  <a:pt x="761" y="417"/>
                  <a:pt x="765" y="414"/>
                  <a:pt x="765" y="409"/>
                </a:cubicBezTo>
                <a:lnTo>
                  <a:pt x="765" y="390"/>
                </a:lnTo>
                <a:close/>
                <a:moveTo>
                  <a:pt x="765" y="182"/>
                </a:moveTo>
                <a:cubicBezTo>
                  <a:pt x="765" y="177"/>
                  <a:pt x="761" y="174"/>
                  <a:pt x="757" y="174"/>
                </a:cubicBezTo>
                <a:cubicBezTo>
                  <a:pt x="321" y="174"/>
                  <a:pt x="321" y="174"/>
                  <a:pt x="321" y="174"/>
                </a:cubicBezTo>
                <a:cubicBezTo>
                  <a:pt x="316" y="174"/>
                  <a:pt x="313" y="177"/>
                  <a:pt x="313" y="182"/>
                </a:cubicBezTo>
                <a:cubicBezTo>
                  <a:pt x="313" y="201"/>
                  <a:pt x="313" y="201"/>
                  <a:pt x="313" y="201"/>
                </a:cubicBezTo>
                <a:cubicBezTo>
                  <a:pt x="313" y="205"/>
                  <a:pt x="316" y="209"/>
                  <a:pt x="321" y="209"/>
                </a:cubicBezTo>
                <a:cubicBezTo>
                  <a:pt x="757" y="209"/>
                  <a:pt x="757" y="209"/>
                  <a:pt x="757" y="209"/>
                </a:cubicBezTo>
                <a:cubicBezTo>
                  <a:pt x="761" y="209"/>
                  <a:pt x="765" y="205"/>
                  <a:pt x="765" y="201"/>
                </a:cubicBezTo>
                <a:lnTo>
                  <a:pt x="765" y="182"/>
                </a:lnTo>
                <a:close/>
                <a:moveTo>
                  <a:pt x="1041" y="743"/>
                </a:moveTo>
                <a:cubicBezTo>
                  <a:pt x="1041" y="736"/>
                  <a:pt x="1034" y="730"/>
                  <a:pt x="1027" y="730"/>
                </a:cubicBezTo>
                <a:cubicBezTo>
                  <a:pt x="501" y="730"/>
                  <a:pt x="501" y="730"/>
                  <a:pt x="501" y="730"/>
                </a:cubicBezTo>
                <a:cubicBezTo>
                  <a:pt x="497" y="730"/>
                  <a:pt x="494" y="732"/>
                  <a:pt x="491" y="735"/>
                </a:cubicBezTo>
                <a:cubicBezTo>
                  <a:pt x="488" y="737"/>
                  <a:pt x="486" y="741"/>
                  <a:pt x="487" y="745"/>
                </a:cubicBezTo>
                <a:cubicBezTo>
                  <a:pt x="487" y="746"/>
                  <a:pt x="487" y="747"/>
                  <a:pt x="487" y="747"/>
                </a:cubicBezTo>
                <a:cubicBezTo>
                  <a:pt x="487" y="815"/>
                  <a:pt x="432" y="869"/>
                  <a:pt x="365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295" y="869"/>
                  <a:pt x="243" y="819"/>
                  <a:pt x="243" y="757"/>
                </a:cubicBezTo>
                <a:cubicBezTo>
                  <a:pt x="243" y="757"/>
                  <a:pt x="243" y="243"/>
                  <a:pt x="243" y="174"/>
                </a:cubicBezTo>
                <a:cubicBezTo>
                  <a:pt x="243" y="139"/>
                  <a:pt x="243" y="139"/>
                  <a:pt x="243" y="139"/>
                </a:cubicBezTo>
                <a:cubicBezTo>
                  <a:pt x="243" y="100"/>
                  <a:pt x="212" y="69"/>
                  <a:pt x="174" y="69"/>
                </a:cubicBezTo>
                <a:cubicBezTo>
                  <a:pt x="742" y="69"/>
                  <a:pt x="742" y="69"/>
                  <a:pt x="742" y="69"/>
                </a:cubicBezTo>
                <a:cubicBezTo>
                  <a:pt x="793" y="69"/>
                  <a:pt x="834" y="111"/>
                  <a:pt x="834" y="161"/>
                </a:cubicBezTo>
                <a:cubicBezTo>
                  <a:pt x="834" y="695"/>
                  <a:pt x="834" y="695"/>
                  <a:pt x="834" y="695"/>
                </a:cubicBezTo>
                <a:cubicBezTo>
                  <a:pt x="904" y="695"/>
                  <a:pt x="904" y="695"/>
                  <a:pt x="904" y="695"/>
                </a:cubicBezTo>
                <a:cubicBezTo>
                  <a:pt x="904" y="573"/>
                  <a:pt x="904" y="326"/>
                  <a:pt x="904" y="161"/>
                </a:cubicBezTo>
                <a:cubicBezTo>
                  <a:pt x="904" y="72"/>
                  <a:pt x="832" y="0"/>
                  <a:pt x="742" y="0"/>
                </a:cubicBezTo>
                <a:cubicBezTo>
                  <a:pt x="685" y="0"/>
                  <a:pt x="685" y="0"/>
                  <a:pt x="685" y="0"/>
                </a:cubicBezTo>
                <a:cubicBezTo>
                  <a:pt x="174" y="0"/>
                  <a:pt x="174" y="0"/>
                  <a:pt x="174" y="0"/>
                </a:cubicBezTo>
                <a:cubicBezTo>
                  <a:pt x="78" y="0"/>
                  <a:pt x="0" y="78"/>
                  <a:pt x="0" y="174"/>
                </a:cubicBezTo>
                <a:cubicBezTo>
                  <a:pt x="0" y="181"/>
                  <a:pt x="0" y="188"/>
                  <a:pt x="1" y="196"/>
                </a:cubicBezTo>
                <a:cubicBezTo>
                  <a:pt x="2" y="203"/>
                  <a:pt x="8" y="209"/>
                  <a:pt x="16" y="209"/>
                </a:cubicBezTo>
                <a:cubicBezTo>
                  <a:pt x="174" y="209"/>
                  <a:pt x="174" y="209"/>
                  <a:pt x="174" y="209"/>
                </a:cubicBezTo>
                <a:cubicBezTo>
                  <a:pt x="174" y="410"/>
                  <a:pt x="174" y="694"/>
                  <a:pt x="174" y="757"/>
                </a:cubicBezTo>
                <a:cubicBezTo>
                  <a:pt x="174" y="857"/>
                  <a:pt x="256" y="939"/>
                  <a:pt x="358" y="939"/>
                </a:cubicBezTo>
                <a:cubicBezTo>
                  <a:pt x="820" y="939"/>
                  <a:pt x="820" y="939"/>
                  <a:pt x="820" y="939"/>
                </a:cubicBezTo>
                <a:cubicBezTo>
                  <a:pt x="869" y="939"/>
                  <a:pt x="869" y="939"/>
                  <a:pt x="869" y="939"/>
                </a:cubicBezTo>
                <a:cubicBezTo>
                  <a:pt x="965" y="939"/>
                  <a:pt x="1043" y="861"/>
                  <a:pt x="1043" y="765"/>
                </a:cubicBezTo>
                <a:cubicBezTo>
                  <a:pt x="1043" y="757"/>
                  <a:pt x="1042" y="750"/>
                  <a:pt x="1041" y="743"/>
                </a:cubicBezTo>
                <a:close/>
                <a:moveTo>
                  <a:pt x="765" y="529"/>
                </a:moveTo>
                <a:cubicBezTo>
                  <a:pt x="765" y="525"/>
                  <a:pt x="761" y="522"/>
                  <a:pt x="757" y="522"/>
                </a:cubicBezTo>
                <a:cubicBezTo>
                  <a:pt x="321" y="522"/>
                  <a:pt x="321" y="522"/>
                  <a:pt x="321" y="522"/>
                </a:cubicBezTo>
                <a:cubicBezTo>
                  <a:pt x="316" y="522"/>
                  <a:pt x="313" y="525"/>
                  <a:pt x="313" y="529"/>
                </a:cubicBezTo>
                <a:cubicBezTo>
                  <a:pt x="313" y="548"/>
                  <a:pt x="313" y="548"/>
                  <a:pt x="313" y="548"/>
                </a:cubicBezTo>
                <a:cubicBezTo>
                  <a:pt x="313" y="553"/>
                  <a:pt x="316" y="556"/>
                  <a:pt x="321" y="556"/>
                </a:cubicBezTo>
                <a:cubicBezTo>
                  <a:pt x="757" y="556"/>
                  <a:pt x="757" y="556"/>
                  <a:pt x="757" y="556"/>
                </a:cubicBezTo>
                <a:cubicBezTo>
                  <a:pt x="761" y="556"/>
                  <a:pt x="765" y="553"/>
                  <a:pt x="765" y="548"/>
                </a:cubicBezTo>
                <a:lnTo>
                  <a:pt x="765" y="529"/>
                </a:lnTo>
                <a:close/>
                <a:moveTo>
                  <a:pt x="765" y="460"/>
                </a:moveTo>
                <a:cubicBezTo>
                  <a:pt x="765" y="456"/>
                  <a:pt x="761" y="452"/>
                  <a:pt x="757" y="452"/>
                </a:cubicBezTo>
                <a:cubicBezTo>
                  <a:pt x="321" y="452"/>
                  <a:pt x="321" y="452"/>
                  <a:pt x="321" y="452"/>
                </a:cubicBezTo>
                <a:cubicBezTo>
                  <a:pt x="316" y="452"/>
                  <a:pt x="313" y="456"/>
                  <a:pt x="313" y="460"/>
                </a:cubicBezTo>
                <a:cubicBezTo>
                  <a:pt x="313" y="479"/>
                  <a:pt x="313" y="479"/>
                  <a:pt x="313" y="479"/>
                </a:cubicBezTo>
                <a:cubicBezTo>
                  <a:pt x="313" y="483"/>
                  <a:pt x="316" y="487"/>
                  <a:pt x="321" y="487"/>
                </a:cubicBezTo>
                <a:cubicBezTo>
                  <a:pt x="757" y="487"/>
                  <a:pt x="757" y="487"/>
                  <a:pt x="757" y="487"/>
                </a:cubicBezTo>
                <a:cubicBezTo>
                  <a:pt x="761" y="487"/>
                  <a:pt x="765" y="483"/>
                  <a:pt x="765" y="479"/>
                </a:cubicBezTo>
                <a:lnTo>
                  <a:pt x="765" y="460"/>
                </a:lnTo>
                <a:close/>
                <a:moveTo>
                  <a:pt x="765" y="599"/>
                </a:moveTo>
                <a:cubicBezTo>
                  <a:pt x="765" y="618"/>
                  <a:pt x="765" y="618"/>
                  <a:pt x="765" y="618"/>
                </a:cubicBezTo>
                <a:cubicBezTo>
                  <a:pt x="765" y="622"/>
                  <a:pt x="761" y="626"/>
                  <a:pt x="757" y="626"/>
                </a:cubicBezTo>
                <a:cubicBezTo>
                  <a:pt x="321" y="626"/>
                  <a:pt x="321" y="626"/>
                  <a:pt x="321" y="626"/>
                </a:cubicBezTo>
                <a:cubicBezTo>
                  <a:pt x="316" y="626"/>
                  <a:pt x="313" y="622"/>
                  <a:pt x="313" y="618"/>
                </a:cubicBezTo>
                <a:cubicBezTo>
                  <a:pt x="313" y="599"/>
                  <a:pt x="313" y="599"/>
                  <a:pt x="313" y="599"/>
                </a:cubicBezTo>
                <a:cubicBezTo>
                  <a:pt x="313" y="595"/>
                  <a:pt x="316" y="591"/>
                  <a:pt x="321" y="591"/>
                </a:cubicBezTo>
                <a:cubicBezTo>
                  <a:pt x="757" y="591"/>
                  <a:pt x="757" y="591"/>
                  <a:pt x="757" y="591"/>
                </a:cubicBezTo>
                <a:cubicBezTo>
                  <a:pt x="761" y="591"/>
                  <a:pt x="765" y="595"/>
                  <a:pt x="765" y="59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4D155299-749A-44B3-8BDE-E350CE993B2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200260" y="2340801"/>
            <a:ext cx="182832" cy="231961"/>
            <a:chOff x="849313" y="-539751"/>
            <a:chExt cx="8375650" cy="10623551"/>
          </a:xfrm>
          <a:solidFill>
            <a:schemeClr val="bg1">
              <a:alpha val="70000"/>
            </a:schemeClr>
          </a:solidFill>
        </p:grpSpPr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16683CCD-48AD-4B20-B7DC-FAB5AB148CE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3" y="2670175"/>
              <a:ext cx="8375650" cy="7413625"/>
            </a:xfrm>
            <a:custGeom>
              <a:avLst/>
              <a:gdLst>
                <a:gd name="T0" fmla="*/ 116 w 741"/>
                <a:gd name="T1" fmla="*/ 656 h 656"/>
                <a:gd name="T2" fmla="*/ 165 w 741"/>
                <a:gd name="T3" fmla="*/ 561 h 656"/>
                <a:gd name="T4" fmla="*/ 92 w 741"/>
                <a:gd name="T5" fmla="*/ 506 h 656"/>
                <a:gd name="T6" fmla="*/ 0 w 741"/>
                <a:gd name="T7" fmla="*/ 284 h 656"/>
                <a:gd name="T8" fmla="*/ 181 w 741"/>
                <a:gd name="T9" fmla="*/ 0 h 656"/>
                <a:gd name="T10" fmla="*/ 210 w 741"/>
                <a:gd name="T11" fmla="*/ 118 h 656"/>
                <a:gd name="T12" fmla="*/ 118 w 741"/>
                <a:gd name="T13" fmla="*/ 275 h 656"/>
                <a:gd name="T14" fmla="*/ 347 w 741"/>
                <a:gd name="T15" fmla="*/ 437 h 656"/>
                <a:gd name="T16" fmla="*/ 663 w 741"/>
                <a:gd name="T17" fmla="*/ 353 h 656"/>
                <a:gd name="T18" fmla="*/ 699 w 741"/>
                <a:gd name="T19" fmla="*/ 374 h 656"/>
                <a:gd name="T20" fmla="*/ 678 w 741"/>
                <a:gd name="T21" fmla="*/ 410 h 656"/>
                <a:gd name="T22" fmla="*/ 373 w 741"/>
                <a:gd name="T23" fmla="*/ 491 h 656"/>
                <a:gd name="T24" fmla="*/ 386 w 741"/>
                <a:gd name="T25" fmla="*/ 539 h 656"/>
                <a:gd name="T26" fmla="*/ 623 w 741"/>
                <a:gd name="T27" fmla="*/ 539 h 656"/>
                <a:gd name="T28" fmla="*/ 741 w 741"/>
                <a:gd name="T29" fmla="*/ 656 h 656"/>
                <a:gd name="T30" fmla="*/ 116 w 741"/>
                <a:gd name="T31" fmla="*/ 656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1" h="656">
                  <a:moveTo>
                    <a:pt x="116" y="656"/>
                  </a:moveTo>
                  <a:cubicBezTo>
                    <a:pt x="116" y="617"/>
                    <a:pt x="136" y="582"/>
                    <a:pt x="165" y="561"/>
                  </a:cubicBezTo>
                  <a:cubicBezTo>
                    <a:pt x="138" y="546"/>
                    <a:pt x="113" y="528"/>
                    <a:pt x="92" y="506"/>
                  </a:cubicBezTo>
                  <a:cubicBezTo>
                    <a:pt x="35" y="449"/>
                    <a:pt x="0" y="371"/>
                    <a:pt x="0" y="284"/>
                  </a:cubicBezTo>
                  <a:cubicBezTo>
                    <a:pt x="0" y="162"/>
                    <a:pt x="71" y="52"/>
                    <a:pt x="181" y="0"/>
                  </a:cubicBezTo>
                  <a:cubicBezTo>
                    <a:pt x="171" y="41"/>
                    <a:pt x="182" y="86"/>
                    <a:pt x="210" y="118"/>
                  </a:cubicBezTo>
                  <a:cubicBezTo>
                    <a:pt x="156" y="151"/>
                    <a:pt x="120" y="210"/>
                    <a:pt x="118" y="275"/>
                  </a:cubicBezTo>
                  <a:cubicBezTo>
                    <a:pt x="114" y="385"/>
                    <a:pt x="226" y="466"/>
                    <a:pt x="347" y="437"/>
                  </a:cubicBezTo>
                  <a:cubicBezTo>
                    <a:pt x="663" y="353"/>
                    <a:pt x="663" y="353"/>
                    <a:pt x="663" y="353"/>
                  </a:cubicBezTo>
                  <a:cubicBezTo>
                    <a:pt x="678" y="349"/>
                    <a:pt x="694" y="358"/>
                    <a:pt x="699" y="374"/>
                  </a:cubicBezTo>
                  <a:cubicBezTo>
                    <a:pt x="703" y="389"/>
                    <a:pt x="693" y="406"/>
                    <a:pt x="678" y="410"/>
                  </a:cubicBezTo>
                  <a:cubicBezTo>
                    <a:pt x="373" y="491"/>
                    <a:pt x="373" y="491"/>
                    <a:pt x="373" y="491"/>
                  </a:cubicBezTo>
                  <a:cubicBezTo>
                    <a:pt x="386" y="539"/>
                    <a:pt x="386" y="539"/>
                    <a:pt x="386" y="539"/>
                  </a:cubicBezTo>
                  <a:cubicBezTo>
                    <a:pt x="623" y="539"/>
                    <a:pt x="623" y="539"/>
                    <a:pt x="623" y="539"/>
                  </a:cubicBezTo>
                  <a:cubicBezTo>
                    <a:pt x="688" y="539"/>
                    <a:pt x="741" y="591"/>
                    <a:pt x="741" y="656"/>
                  </a:cubicBezTo>
                  <a:lnTo>
                    <a:pt x="116" y="6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9B26A5AE-D441-411B-84F1-D439B12903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1" y="5043487"/>
              <a:ext cx="2587625" cy="1231900"/>
            </a:xfrm>
            <a:custGeom>
              <a:avLst/>
              <a:gdLst>
                <a:gd name="T0" fmla="*/ 40 w 229"/>
                <a:gd name="T1" fmla="*/ 104 h 109"/>
                <a:gd name="T2" fmla="*/ 4 w 229"/>
                <a:gd name="T3" fmla="*/ 84 h 109"/>
                <a:gd name="T4" fmla="*/ 25 w 229"/>
                <a:gd name="T5" fmla="*/ 48 h 109"/>
                <a:gd name="T6" fmla="*/ 188 w 229"/>
                <a:gd name="T7" fmla="*/ 4 h 109"/>
                <a:gd name="T8" fmla="*/ 224 w 229"/>
                <a:gd name="T9" fmla="*/ 25 h 109"/>
                <a:gd name="T10" fmla="*/ 204 w 229"/>
                <a:gd name="T11" fmla="*/ 61 h 109"/>
                <a:gd name="T12" fmla="*/ 40 w 229"/>
                <a:gd name="T13" fmla="*/ 10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109">
                  <a:moveTo>
                    <a:pt x="40" y="104"/>
                  </a:moveTo>
                  <a:cubicBezTo>
                    <a:pt x="25" y="109"/>
                    <a:pt x="9" y="99"/>
                    <a:pt x="4" y="84"/>
                  </a:cubicBezTo>
                  <a:cubicBezTo>
                    <a:pt x="0" y="68"/>
                    <a:pt x="10" y="52"/>
                    <a:pt x="25" y="48"/>
                  </a:cubicBezTo>
                  <a:cubicBezTo>
                    <a:pt x="188" y="4"/>
                    <a:pt x="188" y="4"/>
                    <a:pt x="188" y="4"/>
                  </a:cubicBezTo>
                  <a:cubicBezTo>
                    <a:pt x="204" y="0"/>
                    <a:pt x="220" y="9"/>
                    <a:pt x="224" y="25"/>
                  </a:cubicBezTo>
                  <a:cubicBezTo>
                    <a:pt x="229" y="40"/>
                    <a:pt x="219" y="57"/>
                    <a:pt x="204" y="61"/>
                  </a:cubicBezTo>
                  <a:lnTo>
                    <a:pt x="4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9F37B175-4C15-41F6-A8B6-EDF6EFAFEB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4851" y="-539751"/>
              <a:ext cx="4092575" cy="5910263"/>
            </a:xfrm>
            <a:custGeom>
              <a:avLst/>
              <a:gdLst>
                <a:gd name="T0" fmla="*/ 105 w 362"/>
                <a:gd name="T1" fmla="*/ 348 h 523"/>
                <a:gd name="T2" fmla="*/ 69 w 362"/>
                <a:gd name="T3" fmla="*/ 327 h 523"/>
                <a:gd name="T4" fmla="*/ 90 w 362"/>
                <a:gd name="T5" fmla="*/ 291 h 523"/>
                <a:gd name="T6" fmla="*/ 126 w 362"/>
                <a:gd name="T7" fmla="*/ 312 h 523"/>
                <a:gd name="T8" fmla="*/ 105 w 362"/>
                <a:gd name="T9" fmla="*/ 348 h 523"/>
                <a:gd name="T10" fmla="*/ 358 w 362"/>
                <a:gd name="T11" fmla="*/ 441 h 523"/>
                <a:gd name="T12" fmla="*/ 271 w 362"/>
                <a:gd name="T13" fmla="*/ 115 h 523"/>
                <a:gd name="T14" fmla="*/ 233 w 362"/>
                <a:gd name="T15" fmla="*/ 93 h 523"/>
                <a:gd name="T16" fmla="*/ 206 w 362"/>
                <a:gd name="T17" fmla="*/ 101 h 523"/>
                <a:gd name="T18" fmla="*/ 182 w 362"/>
                <a:gd name="T19" fmla="*/ 12 h 523"/>
                <a:gd name="T20" fmla="*/ 164 w 362"/>
                <a:gd name="T21" fmla="*/ 2 h 523"/>
                <a:gd name="T22" fmla="*/ 93 w 362"/>
                <a:gd name="T23" fmla="*/ 21 h 523"/>
                <a:gd name="T24" fmla="*/ 83 w 362"/>
                <a:gd name="T25" fmla="*/ 39 h 523"/>
                <a:gd name="T26" fmla="*/ 107 w 362"/>
                <a:gd name="T27" fmla="*/ 127 h 523"/>
                <a:gd name="T28" fmla="*/ 80 w 362"/>
                <a:gd name="T29" fmla="*/ 135 h 523"/>
                <a:gd name="T30" fmla="*/ 58 w 362"/>
                <a:gd name="T31" fmla="*/ 172 h 523"/>
                <a:gd name="T32" fmla="*/ 75 w 362"/>
                <a:gd name="T33" fmla="*/ 235 h 523"/>
                <a:gd name="T34" fmla="*/ 12 w 362"/>
                <a:gd name="T35" fmla="*/ 342 h 523"/>
                <a:gd name="T36" fmla="*/ 120 w 362"/>
                <a:gd name="T37" fmla="*/ 405 h 523"/>
                <a:gd name="T38" fmla="*/ 120 w 362"/>
                <a:gd name="T39" fmla="*/ 405 h 523"/>
                <a:gd name="T40" fmla="*/ 145 w 362"/>
                <a:gd name="T41" fmla="*/ 498 h 523"/>
                <a:gd name="T42" fmla="*/ 181 w 362"/>
                <a:gd name="T43" fmla="*/ 518 h 523"/>
                <a:gd name="T44" fmla="*/ 337 w 362"/>
                <a:gd name="T45" fmla="*/ 477 h 523"/>
                <a:gd name="T46" fmla="*/ 358 w 362"/>
                <a:gd name="T47" fmla="*/ 441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2" h="523">
                  <a:moveTo>
                    <a:pt x="105" y="348"/>
                  </a:moveTo>
                  <a:cubicBezTo>
                    <a:pt x="89" y="352"/>
                    <a:pt x="73" y="343"/>
                    <a:pt x="69" y="327"/>
                  </a:cubicBezTo>
                  <a:cubicBezTo>
                    <a:pt x="65" y="311"/>
                    <a:pt x="74" y="295"/>
                    <a:pt x="90" y="291"/>
                  </a:cubicBezTo>
                  <a:cubicBezTo>
                    <a:pt x="106" y="287"/>
                    <a:pt x="122" y="296"/>
                    <a:pt x="126" y="312"/>
                  </a:cubicBezTo>
                  <a:cubicBezTo>
                    <a:pt x="130" y="328"/>
                    <a:pt x="121" y="344"/>
                    <a:pt x="105" y="348"/>
                  </a:cubicBezTo>
                  <a:close/>
                  <a:moveTo>
                    <a:pt x="358" y="441"/>
                  </a:moveTo>
                  <a:cubicBezTo>
                    <a:pt x="271" y="115"/>
                    <a:pt x="271" y="115"/>
                    <a:pt x="271" y="115"/>
                  </a:cubicBezTo>
                  <a:cubicBezTo>
                    <a:pt x="266" y="99"/>
                    <a:pt x="250" y="89"/>
                    <a:pt x="233" y="93"/>
                  </a:cubicBezTo>
                  <a:cubicBezTo>
                    <a:pt x="206" y="101"/>
                    <a:pt x="206" y="101"/>
                    <a:pt x="206" y="101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0" y="4"/>
                    <a:pt x="172" y="0"/>
                    <a:pt x="164" y="2"/>
                  </a:cubicBezTo>
                  <a:cubicBezTo>
                    <a:pt x="93" y="21"/>
                    <a:pt x="93" y="21"/>
                    <a:pt x="93" y="21"/>
                  </a:cubicBezTo>
                  <a:cubicBezTo>
                    <a:pt x="86" y="23"/>
                    <a:pt x="81" y="31"/>
                    <a:pt x="83" y="39"/>
                  </a:cubicBezTo>
                  <a:cubicBezTo>
                    <a:pt x="107" y="127"/>
                    <a:pt x="107" y="127"/>
                    <a:pt x="107" y="127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63" y="139"/>
                    <a:pt x="54" y="156"/>
                    <a:pt x="58" y="172"/>
                  </a:cubicBezTo>
                  <a:cubicBezTo>
                    <a:pt x="75" y="235"/>
                    <a:pt x="75" y="235"/>
                    <a:pt x="75" y="235"/>
                  </a:cubicBezTo>
                  <a:cubicBezTo>
                    <a:pt x="28" y="247"/>
                    <a:pt x="0" y="295"/>
                    <a:pt x="12" y="342"/>
                  </a:cubicBezTo>
                  <a:cubicBezTo>
                    <a:pt x="25" y="389"/>
                    <a:pt x="73" y="417"/>
                    <a:pt x="120" y="405"/>
                  </a:cubicBezTo>
                  <a:cubicBezTo>
                    <a:pt x="120" y="405"/>
                    <a:pt x="120" y="405"/>
                    <a:pt x="120" y="405"/>
                  </a:cubicBezTo>
                  <a:cubicBezTo>
                    <a:pt x="145" y="498"/>
                    <a:pt x="145" y="498"/>
                    <a:pt x="145" y="498"/>
                  </a:cubicBezTo>
                  <a:cubicBezTo>
                    <a:pt x="150" y="513"/>
                    <a:pt x="166" y="523"/>
                    <a:pt x="181" y="518"/>
                  </a:cubicBezTo>
                  <a:cubicBezTo>
                    <a:pt x="337" y="477"/>
                    <a:pt x="337" y="477"/>
                    <a:pt x="337" y="477"/>
                  </a:cubicBezTo>
                  <a:cubicBezTo>
                    <a:pt x="353" y="472"/>
                    <a:pt x="362" y="456"/>
                    <a:pt x="358" y="4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51" name="Freeform 47">
            <a:extLst>
              <a:ext uri="{FF2B5EF4-FFF2-40B4-BE49-F238E27FC236}">
                <a16:creationId xmlns:a16="http://schemas.microsoft.com/office/drawing/2014/main" id="{A153F7B4-1040-487D-BBC4-0DFC066F7E0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74781" y="3268800"/>
            <a:ext cx="201116" cy="201139"/>
          </a:xfrm>
          <a:custGeom>
            <a:avLst/>
            <a:gdLst>
              <a:gd name="T0" fmla="*/ 951 w 981"/>
              <a:gd name="T1" fmla="*/ 842 h 981"/>
              <a:gd name="T2" fmla="*/ 711 w 981"/>
              <a:gd name="T3" fmla="*/ 603 h 981"/>
              <a:gd name="T4" fmla="*/ 603 w 981"/>
              <a:gd name="T5" fmla="*/ 107 h 981"/>
              <a:gd name="T6" fmla="*/ 107 w 981"/>
              <a:gd name="T7" fmla="*/ 216 h 981"/>
              <a:gd name="T8" fmla="*/ 216 w 981"/>
              <a:gd name="T9" fmla="*/ 712 h 981"/>
              <a:gd name="T10" fmla="*/ 603 w 981"/>
              <a:gd name="T11" fmla="*/ 712 h 981"/>
              <a:gd name="T12" fmla="*/ 842 w 981"/>
              <a:gd name="T13" fmla="*/ 951 h 981"/>
              <a:gd name="T14" fmla="*/ 951 w 981"/>
              <a:gd name="T15" fmla="*/ 951 h 981"/>
              <a:gd name="T16" fmla="*/ 951 w 981"/>
              <a:gd name="T17" fmla="*/ 843 h 981"/>
              <a:gd name="T18" fmla="*/ 951 w 981"/>
              <a:gd name="T19" fmla="*/ 842 h 981"/>
              <a:gd name="T20" fmla="*/ 153 w 981"/>
              <a:gd name="T21" fmla="*/ 410 h 981"/>
              <a:gd name="T22" fmla="*/ 410 w 981"/>
              <a:gd name="T23" fmla="*/ 153 h 981"/>
              <a:gd name="T24" fmla="*/ 666 w 981"/>
              <a:gd name="T25" fmla="*/ 410 h 981"/>
              <a:gd name="T26" fmla="*/ 410 w 981"/>
              <a:gd name="T27" fmla="*/ 666 h 981"/>
              <a:gd name="T28" fmla="*/ 153 w 981"/>
              <a:gd name="T29" fmla="*/ 410 h 9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81" h="981">
                <a:moveTo>
                  <a:pt x="951" y="842"/>
                </a:moveTo>
                <a:cubicBezTo>
                  <a:pt x="711" y="603"/>
                  <a:pt x="711" y="603"/>
                  <a:pt x="711" y="603"/>
                </a:cubicBezTo>
                <a:cubicBezTo>
                  <a:pt x="818" y="436"/>
                  <a:pt x="770" y="214"/>
                  <a:pt x="603" y="107"/>
                </a:cubicBezTo>
                <a:cubicBezTo>
                  <a:pt x="436" y="0"/>
                  <a:pt x="214" y="49"/>
                  <a:pt x="107" y="216"/>
                </a:cubicBezTo>
                <a:cubicBezTo>
                  <a:pt x="0" y="383"/>
                  <a:pt x="49" y="605"/>
                  <a:pt x="216" y="712"/>
                </a:cubicBezTo>
                <a:cubicBezTo>
                  <a:pt x="334" y="787"/>
                  <a:pt x="485" y="787"/>
                  <a:pt x="603" y="712"/>
                </a:cubicBezTo>
                <a:cubicBezTo>
                  <a:pt x="842" y="951"/>
                  <a:pt x="842" y="951"/>
                  <a:pt x="842" y="951"/>
                </a:cubicBezTo>
                <a:cubicBezTo>
                  <a:pt x="872" y="981"/>
                  <a:pt x="921" y="981"/>
                  <a:pt x="951" y="951"/>
                </a:cubicBezTo>
                <a:cubicBezTo>
                  <a:pt x="981" y="921"/>
                  <a:pt x="981" y="873"/>
                  <a:pt x="951" y="843"/>
                </a:cubicBezTo>
                <a:cubicBezTo>
                  <a:pt x="951" y="843"/>
                  <a:pt x="951" y="842"/>
                  <a:pt x="951" y="842"/>
                </a:cubicBezTo>
                <a:close/>
                <a:moveTo>
                  <a:pt x="153" y="410"/>
                </a:moveTo>
                <a:cubicBezTo>
                  <a:pt x="153" y="268"/>
                  <a:pt x="268" y="153"/>
                  <a:pt x="410" y="153"/>
                </a:cubicBezTo>
                <a:cubicBezTo>
                  <a:pt x="551" y="153"/>
                  <a:pt x="666" y="268"/>
                  <a:pt x="666" y="410"/>
                </a:cubicBezTo>
                <a:cubicBezTo>
                  <a:pt x="666" y="551"/>
                  <a:pt x="551" y="666"/>
                  <a:pt x="410" y="666"/>
                </a:cubicBezTo>
                <a:cubicBezTo>
                  <a:pt x="268" y="666"/>
                  <a:pt x="153" y="551"/>
                  <a:pt x="153" y="41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F9523832-2660-419C-8A14-188EB3B4F5F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6706" y="918349"/>
            <a:ext cx="9963591" cy="5673283"/>
          </a:xfrm>
        </p:spPr>
        <p:txBody>
          <a:bodyPr/>
          <a:lstStyle>
            <a:lvl1pPr marL="0" indent="0">
              <a:spcBef>
                <a:spcPts val="1200"/>
              </a:spcBef>
              <a:buFontTx/>
              <a:buNone/>
              <a:defRPr sz="1799" b="1">
                <a:solidFill>
                  <a:schemeClr val="accent1">
                    <a:lumMod val="75000"/>
                  </a:schemeClr>
                </a:solidFill>
              </a:defRPr>
            </a:lvl1pPr>
            <a:lvl2pPr marL="228531" indent="-228531">
              <a:spcBef>
                <a:spcPts val="1200"/>
              </a:spcBef>
              <a:buFont typeface="+mj-lt"/>
              <a:buAutoNum type="alphaUcPeriod"/>
              <a:defRPr/>
            </a:lvl2pPr>
            <a:lvl3pPr marL="511910" indent="-173684">
              <a:spcBef>
                <a:spcPts val="600"/>
              </a:spcBef>
              <a:buFont typeface="+mj-lt"/>
              <a:buAutoNum type="romanLcPeriod"/>
              <a:defRPr sz="1300"/>
            </a:lvl3pPr>
            <a:lvl4pPr marL="795289" indent="-173684">
              <a:spcBef>
                <a:spcPts val="400"/>
              </a:spcBef>
              <a:buFont typeface="+mj-lt"/>
              <a:buAutoNum type="alphaLcPeriod"/>
              <a:defRPr sz="1300"/>
            </a:lvl4pPr>
            <a:lvl5pPr marL="1144245" indent="-115853">
              <a:spcBef>
                <a:spcPts val="200"/>
              </a:spcBef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EFA24FFA-BBC5-4E7F-9422-64DCAD9447F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84359" y="2786642"/>
            <a:ext cx="219317" cy="283896"/>
            <a:chOff x="10758416" y="1419641"/>
            <a:chExt cx="3297184" cy="4266944"/>
          </a:xfrm>
          <a:solidFill>
            <a:schemeClr val="bg1">
              <a:alpha val="80000"/>
            </a:schemeClr>
          </a:solidFill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FA09AC0D-B895-4FB3-8006-DC669083A658}"/>
                </a:ext>
              </a:extLst>
            </p:cNvPr>
            <p:cNvSpPr/>
            <p:nvPr/>
          </p:nvSpPr>
          <p:spPr>
            <a:xfrm>
              <a:off x="10758416" y="1419641"/>
              <a:ext cx="3297184" cy="4266944"/>
            </a:xfrm>
            <a:custGeom>
              <a:avLst/>
              <a:gdLst>
                <a:gd name="connsiteX0" fmla="*/ 2763817 w 3297184"/>
                <a:gd name="connsiteY0" fmla="*/ 1939520 h 4266944"/>
                <a:gd name="connsiteX1" fmla="*/ 2424401 w 3297184"/>
                <a:gd name="connsiteY1" fmla="*/ 1600104 h 4266944"/>
                <a:gd name="connsiteX2" fmla="*/ 2763817 w 3297184"/>
                <a:gd name="connsiteY2" fmla="*/ 1260688 h 4266944"/>
                <a:gd name="connsiteX3" fmla="*/ 3103233 w 3297184"/>
                <a:gd name="connsiteY3" fmla="*/ 1600104 h 4266944"/>
                <a:gd name="connsiteX4" fmla="*/ 2763817 w 3297184"/>
                <a:gd name="connsiteY4" fmla="*/ 1939520 h 4266944"/>
                <a:gd name="connsiteX5" fmla="*/ 3297185 w 3297184"/>
                <a:gd name="connsiteY5" fmla="*/ 1600104 h 4266944"/>
                <a:gd name="connsiteX6" fmla="*/ 2763817 w 3297184"/>
                <a:gd name="connsiteY6" fmla="*/ 1066736 h 4266944"/>
                <a:gd name="connsiteX7" fmla="*/ 2230449 w 3297184"/>
                <a:gd name="connsiteY7" fmla="*/ 1600104 h 4266944"/>
                <a:gd name="connsiteX8" fmla="*/ 2618353 w 3297184"/>
                <a:gd name="connsiteY8" fmla="*/ 2114077 h 4266944"/>
                <a:gd name="connsiteX9" fmla="*/ 2618353 w 3297184"/>
                <a:gd name="connsiteY9" fmla="*/ 3248697 h 4266944"/>
                <a:gd name="connsiteX10" fmla="*/ 1891032 w 3297184"/>
                <a:gd name="connsiteY10" fmla="*/ 3976017 h 4266944"/>
                <a:gd name="connsiteX11" fmla="*/ 1163712 w 3297184"/>
                <a:gd name="connsiteY11" fmla="*/ 3248697 h 4266944"/>
                <a:gd name="connsiteX12" fmla="*/ 1163712 w 3297184"/>
                <a:gd name="connsiteY12" fmla="*/ 2754119 h 4266944"/>
                <a:gd name="connsiteX13" fmla="*/ 2036496 w 3297184"/>
                <a:gd name="connsiteY13" fmla="*/ 1745568 h 4266944"/>
                <a:gd name="connsiteX14" fmla="*/ 1939520 w 3297184"/>
                <a:gd name="connsiteY14" fmla="*/ 1580709 h 4266944"/>
                <a:gd name="connsiteX15" fmla="*/ 1939520 w 3297184"/>
                <a:gd name="connsiteY15" fmla="*/ 387904 h 4266944"/>
                <a:gd name="connsiteX16" fmla="*/ 1687383 w 3297184"/>
                <a:gd name="connsiteY16" fmla="*/ 101825 h 4266944"/>
                <a:gd name="connsiteX17" fmla="*/ 1551616 w 3297184"/>
                <a:gd name="connsiteY17" fmla="*/ 0 h 4266944"/>
                <a:gd name="connsiteX18" fmla="*/ 1503128 w 3297184"/>
                <a:gd name="connsiteY18" fmla="*/ 0 h 4266944"/>
                <a:gd name="connsiteX19" fmla="*/ 1309176 w 3297184"/>
                <a:gd name="connsiteY19" fmla="*/ 193952 h 4266944"/>
                <a:gd name="connsiteX20" fmla="*/ 1503128 w 3297184"/>
                <a:gd name="connsiteY20" fmla="*/ 387904 h 4266944"/>
                <a:gd name="connsiteX21" fmla="*/ 1551616 w 3297184"/>
                <a:gd name="connsiteY21" fmla="*/ 387904 h 4266944"/>
                <a:gd name="connsiteX22" fmla="*/ 1687383 w 3297184"/>
                <a:gd name="connsiteY22" fmla="*/ 300626 h 4266944"/>
                <a:gd name="connsiteX23" fmla="*/ 1745568 w 3297184"/>
                <a:gd name="connsiteY23" fmla="*/ 387904 h 4266944"/>
                <a:gd name="connsiteX24" fmla="*/ 1745568 w 3297184"/>
                <a:gd name="connsiteY24" fmla="*/ 1580709 h 4266944"/>
                <a:gd name="connsiteX25" fmla="*/ 1648592 w 3297184"/>
                <a:gd name="connsiteY25" fmla="*/ 1745568 h 4266944"/>
                <a:gd name="connsiteX26" fmla="*/ 1018248 w 3297184"/>
                <a:gd name="connsiteY26" fmla="*/ 2375913 h 4266944"/>
                <a:gd name="connsiteX27" fmla="*/ 387904 w 3297184"/>
                <a:gd name="connsiteY27" fmla="*/ 1745568 h 4266944"/>
                <a:gd name="connsiteX28" fmla="*/ 290928 w 3297184"/>
                <a:gd name="connsiteY28" fmla="*/ 1580709 h 4266944"/>
                <a:gd name="connsiteX29" fmla="*/ 290928 w 3297184"/>
                <a:gd name="connsiteY29" fmla="*/ 387904 h 4266944"/>
                <a:gd name="connsiteX30" fmla="*/ 349114 w 3297184"/>
                <a:gd name="connsiteY30" fmla="*/ 300626 h 4266944"/>
                <a:gd name="connsiteX31" fmla="*/ 484880 w 3297184"/>
                <a:gd name="connsiteY31" fmla="*/ 387904 h 4266944"/>
                <a:gd name="connsiteX32" fmla="*/ 533368 w 3297184"/>
                <a:gd name="connsiteY32" fmla="*/ 387904 h 4266944"/>
                <a:gd name="connsiteX33" fmla="*/ 727320 w 3297184"/>
                <a:gd name="connsiteY33" fmla="*/ 193952 h 4266944"/>
                <a:gd name="connsiteX34" fmla="*/ 533368 w 3297184"/>
                <a:gd name="connsiteY34" fmla="*/ 0 h 4266944"/>
                <a:gd name="connsiteX35" fmla="*/ 484880 w 3297184"/>
                <a:gd name="connsiteY35" fmla="*/ 0 h 4266944"/>
                <a:gd name="connsiteX36" fmla="*/ 349114 w 3297184"/>
                <a:gd name="connsiteY36" fmla="*/ 101825 h 4266944"/>
                <a:gd name="connsiteX37" fmla="*/ 96976 w 3297184"/>
                <a:gd name="connsiteY37" fmla="*/ 387904 h 4266944"/>
                <a:gd name="connsiteX38" fmla="*/ 96976 w 3297184"/>
                <a:gd name="connsiteY38" fmla="*/ 1580709 h 4266944"/>
                <a:gd name="connsiteX39" fmla="*/ 0 w 3297184"/>
                <a:gd name="connsiteY39" fmla="*/ 1745568 h 4266944"/>
                <a:gd name="connsiteX40" fmla="*/ 872784 w 3297184"/>
                <a:gd name="connsiteY40" fmla="*/ 2754119 h 4266944"/>
                <a:gd name="connsiteX41" fmla="*/ 872784 w 3297184"/>
                <a:gd name="connsiteY41" fmla="*/ 3248697 h 4266944"/>
                <a:gd name="connsiteX42" fmla="*/ 1891032 w 3297184"/>
                <a:gd name="connsiteY42" fmla="*/ 4266945 h 4266944"/>
                <a:gd name="connsiteX43" fmla="*/ 2909281 w 3297184"/>
                <a:gd name="connsiteY43" fmla="*/ 3248697 h 4266944"/>
                <a:gd name="connsiteX44" fmla="*/ 2909281 w 3297184"/>
                <a:gd name="connsiteY44" fmla="*/ 2114077 h 4266944"/>
                <a:gd name="connsiteX45" fmla="*/ 3297185 w 3297184"/>
                <a:gd name="connsiteY45" fmla="*/ 1600104 h 4266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3297184" h="4266944">
                  <a:moveTo>
                    <a:pt x="2763817" y="1939520"/>
                  </a:moveTo>
                  <a:cubicBezTo>
                    <a:pt x="2574713" y="1939520"/>
                    <a:pt x="2424401" y="1789208"/>
                    <a:pt x="2424401" y="1600104"/>
                  </a:cubicBezTo>
                  <a:cubicBezTo>
                    <a:pt x="2424401" y="1411001"/>
                    <a:pt x="2574713" y="1260688"/>
                    <a:pt x="2763817" y="1260688"/>
                  </a:cubicBezTo>
                  <a:cubicBezTo>
                    <a:pt x="2952920" y="1260688"/>
                    <a:pt x="3103233" y="1411001"/>
                    <a:pt x="3103233" y="1600104"/>
                  </a:cubicBezTo>
                  <a:cubicBezTo>
                    <a:pt x="3103233" y="1789208"/>
                    <a:pt x="2952920" y="1939520"/>
                    <a:pt x="2763817" y="1939520"/>
                  </a:cubicBezTo>
                  <a:close/>
                  <a:moveTo>
                    <a:pt x="3297185" y="1600104"/>
                  </a:moveTo>
                  <a:cubicBezTo>
                    <a:pt x="3297185" y="1304328"/>
                    <a:pt x="3059594" y="1066736"/>
                    <a:pt x="2763817" y="1066736"/>
                  </a:cubicBezTo>
                  <a:cubicBezTo>
                    <a:pt x="2468040" y="1066736"/>
                    <a:pt x="2230449" y="1304328"/>
                    <a:pt x="2230449" y="1600104"/>
                  </a:cubicBezTo>
                  <a:cubicBezTo>
                    <a:pt x="2230449" y="1842544"/>
                    <a:pt x="2395308" y="2051043"/>
                    <a:pt x="2618353" y="2114077"/>
                  </a:cubicBezTo>
                  <a:lnTo>
                    <a:pt x="2618353" y="3248697"/>
                  </a:lnTo>
                  <a:cubicBezTo>
                    <a:pt x="2618353" y="3651147"/>
                    <a:pt x="2293483" y="3976017"/>
                    <a:pt x="1891032" y="3976017"/>
                  </a:cubicBezTo>
                  <a:cubicBezTo>
                    <a:pt x="1488582" y="3976017"/>
                    <a:pt x="1163712" y="3651147"/>
                    <a:pt x="1163712" y="3248697"/>
                  </a:cubicBezTo>
                  <a:lnTo>
                    <a:pt x="1163712" y="2754119"/>
                  </a:lnTo>
                  <a:cubicBezTo>
                    <a:pt x="1658290" y="2681387"/>
                    <a:pt x="2036496" y="2259541"/>
                    <a:pt x="2036496" y="1745568"/>
                  </a:cubicBezTo>
                  <a:cubicBezTo>
                    <a:pt x="2036496" y="1672836"/>
                    <a:pt x="1997706" y="1609802"/>
                    <a:pt x="1939520" y="1580709"/>
                  </a:cubicBezTo>
                  <a:lnTo>
                    <a:pt x="1939520" y="387904"/>
                  </a:lnTo>
                  <a:cubicBezTo>
                    <a:pt x="1939520" y="242440"/>
                    <a:pt x="1827998" y="121220"/>
                    <a:pt x="1687383" y="101825"/>
                  </a:cubicBezTo>
                  <a:cubicBezTo>
                    <a:pt x="1667988" y="43639"/>
                    <a:pt x="1614651" y="0"/>
                    <a:pt x="1551616" y="0"/>
                  </a:cubicBezTo>
                  <a:lnTo>
                    <a:pt x="1503128" y="0"/>
                  </a:lnTo>
                  <a:cubicBezTo>
                    <a:pt x="1396455" y="0"/>
                    <a:pt x="1309176" y="87278"/>
                    <a:pt x="1309176" y="193952"/>
                  </a:cubicBezTo>
                  <a:cubicBezTo>
                    <a:pt x="1309176" y="300626"/>
                    <a:pt x="1396455" y="387904"/>
                    <a:pt x="1503128" y="387904"/>
                  </a:cubicBezTo>
                  <a:lnTo>
                    <a:pt x="1551616" y="387904"/>
                  </a:lnTo>
                  <a:cubicBezTo>
                    <a:pt x="1609802" y="387904"/>
                    <a:pt x="1663139" y="349114"/>
                    <a:pt x="1687383" y="300626"/>
                  </a:cubicBezTo>
                  <a:cubicBezTo>
                    <a:pt x="1721324" y="315172"/>
                    <a:pt x="1745568" y="349114"/>
                    <a:pt x="1745568" y="387904"/>
                  </a:cubicBezTo>
                  <a:lnTo>
                    <a:pt x="1745568" y="1580709"/>
                  </a:lnTo>
                  <a:cubicBezTo>
                    <a:pt x="1687383" y="1614651"/>
                    <a:pt x="1648592" y="1677685"/>
                    <a:pt x="1648592" y="1745568"/>
                  </a:cubicBezTo>
                  <a:cubicBezTo>
                    <a:pt x="1648592" y="2094682"/>
                    <a:pt x="1367362" y="2375913"/>
                    <a:pt x="1018248" y="2375913"/>
                  </a:cubicBezTo>
                  <a:cubicBezTo>
                    <a:pt x="669135" y="2375913"/>
                    <a:pt x="387904" y="2094682"/>
                    <a:pt x="387904" y="1745568"/>
                  </a:cubicBezTo>
                  <a:cubicBezTo>
                    <a:pt x="387904" y="1672836"/>
                    <a:pt x="349114" y="1609802"/>
                    <a:pt x="290928" y="1580709"/>
                  </a:cubicBezTo>
                  <a:lnTo>
                    <a:pt x="290928" y="387904"/>
                  </a:lnTo>
                  <a:cubicBezTo>
                    <a:pt x="290928" y="349114"/>
                    <a:pt x="315172" y="315172"/>
                    <a:pt x="349114" y="300626"/>
                  </a:cubicBezTo>
                  <a:cubicBezTo>
                    <a:pt x="373358" y="353963"/>
                    <a:pt x="421846" y="387904"/>
                    <a:pt x="484880" y="387904"/>
                  </a:cubicBezTo>
                  <a:lnTo>
                    <a:pt x="533368" y="387904"/>
                  </a:lnTo>
                  <a:cubicBezTo>
                    <a:pt x="640042" y="387904"/>
                    <a:pt x="727320" y="300626"/>
                    <a:pt x="727320" y="193952"/>
                  </a:cubicBezTo>
                  <a:cubicBezTo>
                    <a:pt x="727320" y="87278"/>
                    <a:pt x="640042" y="0"/>
                    <a:pt x="533368" y="0"/>
                  </a:cubicBezTo>
                  <a:lnTo>
                    <a:pt x="484880" y="0"/>
                  </a:lnTo>
                  <a:cubicBezTo>
                    <a:pt x="421846" y="0"/>
                    <a:pt x="368509" y="43639"/>
                    <a:pt x="349114" y="101825"/>
                  </a:cubicBezTo>
                  <a:cubicBezTo>
                    <a:pt x="208498" y="121220"/>
                    <a:pt x="96976" y="242440"/>
                    <a:pt x="96976" y="387904"/>
                  </a:cubicBezTo>
                  <a:lnTo>
                    <a:pt x="96976" y="1580709"/>
                  </a:lnTo>
                  <a:cubicBezTo>
                    <a:pt x="38790" y="1614651"/>
                    <a:pt x="0" y="1677685"/>
                    <a:pt x="0" y="1745568"/>
                  </a:cubicBezTo>
                  <a:cubicBezTo>
                    <a:pt x="0" y="2259541"/>
                    <a:pt x="378206" y="2681387"/>
                    <a:pt x="872784" y="2754119"/>
                  </a:cubicBezTo>
                  <a:lnTo>
                    <a:pt x="872784" y="3248697"/>
                  </a:lnTo>
                  <a:cubicBezTo>
                    <a:pt x="872784" y="3811158"/>
                    <a:pt x="1328572" y="4266945"/>
                    <a:pt x="1891032" y="4266945"/>
                  </a:cubicBezTo>
                  <a:cubicBezTo>
                    <a:pt x="2453493" y="4266945"/>
                    <a:pt x="2909281" y="3811158"/>
                    <a:pt x="2909281" y="3248697"/>
                  </a:cubicBezTo>
                  <a:lnTo>
                    <a:pt x="2909281" y="2114077"/>
                  </a:lnTo>
                  <a:cubicBezTo>
                    <a:pt x="3132326" y="2051043"/>
                    <a:pt x="3297185" y="1842544"/>
                    <a:pt x="3297185" y="1600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1C43E910-2CE5-46C5-A6B6-5F06952A5761}"/>
                </a:ext>
              </a:extLst>
            </p:cNvPr>
            <p:cNvSpPr/>
            <p:nvPr/>
          </p:nvSpPr>
          <p:spPr>
            <a:xfrm>
              <a:off x="13279792" y="2777305"/>
              <a:ext cx="484880" cy="484880"/>
            </a:xfrm>
            <a:custGeom>
              <a:avLst/>
              <a:gdLst>
                <a:gd name="connsiteX0" fmla="*/ 484880 w 484880"/>
                <a:gd name="connsiteY0" fmla="*/ 242440 h 484880"/>
                <a:gd name="connsiteX1" fmla="*/ 242440 w 484880"/>
                <a:gd name="connsiteY1" fmla="*/ 484880 h 484880"/>
                <a:gd name="connsiteX2" fmla="*/ 0 w 484880"/>
                <a:gd name="connsiteY2" fmla="*/ 242440 h 484880"/>
                <a:gd name="connsiteX3" fmla="*/ 242440 w 484880"/>
                <a:gd name="connsiteY3" fmla="*/ 0 h 484880"/>
                <a:gd name="connsiteX4" fmla="*/ 484880 w 484880"/>
                <a:gd name="connsiteY4" fmla="*/ 242440 h 484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880" h="484880">
                  <a:moveTo>
                    <a:pt x="484880" y="242440"/>
                  </a:moveTo>
                  <a:cubicBezTo>
                    <a:pt x="484880" y="376336"/>
                    <a:pt x="376336" y="484880"/>
                    <a:pt x="242440" y="484880"/>
                  </a:cubicBezTo>
                  <a:cubicBezTo>
                    <a:pt x="108544" y="484880"/>
                    <a:pt x="0" y="376336"/>
                    <a:pt x="0" y="242440"/>
                  </a:cubicBezTo>
                  <a:cubicBezTo>
                    <a:pt x="0" y="108544"/>
                    <a:pt x="108544" y="0"/>
                    <a:pt x="242440" y="0"/>
                  </a:cubicBezTo>
                  <a:cubicBezTo>
                    <a:pt x="376336" y="0"/>
                    <a:pt x="484880" y="108544"/>
                    <a:pt x="484880" y="2424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5E7A3AF7-C338-4A9B-9473-D3B9F5851775}"/>
              </a:ext>
            </a:extLst>
          </p:cNvPr>
          <p:cNvGrpSpPr/>
          <p:nvPr userDrawn="1"/>
        </p:nvGrpSpPr>
        <p:grpSpPr>
          <a:xfrm>
            <a:off x="11169212" y="3702633"/>
            <a:ext cx="229989" cy="225311"/>
            <a:chOff x="2634853" y="3844528"/>
            <a:chExt cx="261938" cy="268319"/>
          </a:xfrm>
          <a:solidFill>
            <a:schemeClr val="bg1">
              <a:alpha val="80000"/>
            </a:schemeClr>
          </a:solidFill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DF64B0F7-4EDC-4927-A91C-12AB26CEC870}"/>
                </a:ext>
              </a:extLst>
            </p:cNvPr>
            <p:cNvSpPr/>
            <p:nvPr/>
          </p:nvSpPr>
          <p:spPr>
            <a:xfrm>
              <a:off x="2634853" y="3965972"/>
              <a:ext cx="34366" cy="108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58E7849B-9F26-4599-B6FE-750B98E1FC17}"/>
                </a:ext>
              </a:extLst>
            </p:cNvPr>
            <p:cNvSpPr/>
            <p:nvPr/>
          </p:nvSpPr>
          <p:spPr>
            <a:xfrm>
              <a:off x="2691746" y="3894534"/>
              <a:ext cx="34366" cy="18024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B1BA223A-9FBD-4EBB-8A86-2AC7735DBBBE}"/>
                </a:ext>
              </a:extLst>
            </p:cNvPr>
            <p:cNvSpPr/>
            <p:nvPr/>
          </p:nvSpPr>
          <p:spPr>
            <a:xfrm>
              <a:off x="2748639" y="3992166"/>
              <a:ext cx="34366" cy="826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59A8C2EC-346A-4C06-B83E-BC7D78980027}"/>
                </a:ext>
              </a:extLst>
            </p:cNvPr>
            <p:cNvSpPr/>
            <p:nvPr/>
          </p:nvSpPr>
          <p:spPr>
            <a:xfrm>
              <a:off x="2805532" y="3942160"/>
              <a:ext cx="34366" cy="13261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6102ABF2-C5DD-4E8B-8631-65A7CD236FD5}"/>
                </a:ext>
              </a:extLst>
            </p:cNvPr>
            <p:cNvSpPr/>
            <p:nvPr/>
          </p:nvSpPr>
          <p:spPr>
            <a:xfrm>
              <a:off x="2862425" y="3844528"/>
              <a:ext cx="34366" cy="2302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2DD4AD1F-379B-488B-BEEC-F239B8356576}"/>
                </a:ext>
              </a:extLst>
            </p:cNvPr>
            <p:cNvSpPr/>
            <p:nvPr/>
          </p:nvSpPr>
          <p:spPr>
            <a:xfrm>
              <a:off x="2634853" y="4094559"/>
              <a:ext cx="261938" cy="1828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A6E0DCF4-1CA7-4BB0-8368-516E364E4F1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43494" y="4609169"/>
            <a:ext cx="247314" cy="241130"/>
            <a:chOff x="2578100" y="0"/>
            <a:chExt cx="11628438" cy="11334750"/>
          </a:xfrm>
          <a:solidFill>
            <a:schemeClr val="bg1">
              <a:alpha val="80000"/>
            </a:schemeClr>
          </a:solidFill>
        </p:grpSpPr>
        <p:sp>
          <p:nvSpPr>
            <p:cNvPr id="56" name="Freeform 15">
              <a:extLst>
                <a:ext uri="{FF2B5EF4-FFF2-40B4-BE49-F238E27FC236}">
                  <a16:creationId xmlns:a16="http://schemas.microsoft.com/office/drawing/2014/main" id="{BFC35437-4806-47CC-BB56-E566AE5CD6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2263" y="0"/>
              <a:ext cx="4994275" cy="5073650"/>
            </a:xfrm>
            <a:custGeom>
              <a:avLst/>
              <a:gdLst>
                <a:gd name="T0" fmla="*/ 211 w 442"/>
                <a:gd name="T1" fmla="*/ 137 h 449"/>
                <a:gd name="T2" fmla="*/ 308 w 442"/>
                <a:gd name="T3" fmla="*/ 215 h 449"/>
                <a:gd name="T4" fmla="*/ 231 w 442"/>
                <a:gd name="T5" fmla="*/ 312 h 449"/>
                <a:gd name="T6" fmla="*/ 133 w 442"/>
                <a:gd name="T7" fmla="*/ 235 h 449"/>
                <a:gd name="T8" fmla="*/ 211 w 442"/>
                <a:gd name="T9" fmla="*/ 137 h 449"/>
                <a:gd name="T10" fmla="*/ 65 w 442"/>
                <a:gd name="T11" fmla="*/ 283 h 449"/>
                <a:gd name="T12" fmla="*/ 16 w 442"/>
                <a:gd name="T13" fmla="*/ 320 h 449"/>
                <a:gd name="T14" fmla="*/ 71 w 442"/>
                <a:gd name="T15" fmla="*/ 394 h 449"/>
                <a:gd name="T16" fmla="*/ 121 w 442"/>
                <a:gd name="T17" fmla="*/ 357 h 449"/>
                <a:gd name="T18" fmla="*/ 194 w 442"/>
                <a:gd name="T19" fmla="*/ 389 h 449"/>
                <a:gd name="T20" fmla="*/ 201 w 442"/>
                <a:gd name="T21" fmla="*/ 449 h 449"/>
                <a:gd name="T22" fmla="*/ 292 w 442"/>
                <a:gd name="T23" fmla="*/ 439 h 449"/>
                <a:gd name="T24" fmla="*/ 285 w 442"/>
                <a:gd name="T25" fmla="*/ 378 h 449"/>
                <a:gd name="T26" fmla="*/ 349 w 442"/>
                <a:gd name="T27" fmla="*/ 330 h 449"/>
                <a:gd name="T28" fmla="*/ 405 w 442"/>
                <a:gd name="T29" fmla="*/ 354 h 449"/>
                <a:gd name="T30" fmla="*/ 442 w 442"/>
                <a:gd name="T31" fmla="*/ 270 h 449"/>
                <a:gd name="T32" fmla="*/ 385 w 442"/>
                <a:gd name="T33" fmla="*/ 246 h 449"/>
                <a:gd name="T34" fmla="*/ 376 w 442"/>
                <a:gd name="T35" fmla="*/ 166 h 449"/>
                <a:gd name="T36" fmla="*/ 425 w 442"/>
                <a:gd name="T37" fmla="*/ 130 h 449"/>
                <a:gd name="T38" fmla="*/ 370 w 442"/>
                <a:gd name="T39" fmla="*/ 56 h 449"/>
                <a:gd name="T40" fmla="*/ 321 w 442"/>
                <a:gd name="T41" fmla="*/ 93 h 449"/>
                <a:gd name="T42" fmla="*/ 248 w 442"/>
                <a:gd name="T43" fmla="*/ 61 h 449"/>
                <a:gd name="T44" fmla="*/ 241 w 442"/>
                <a:gd name="T45" fmla="*/ 0 h 449"/>
                <a:gd name="T46" fmla="*/ 149 w 442"/>
                <a:gd name="T47" fmla="*/ 11 h 449"/>
                <a:gd name="T48" fmla="*/ 156 w 442"/>
                <a:gd name="T49" fmla="*/ 72 h 449"/>
                <a:gd name="T50" fmla="*/ 93 w 442"/>
                <a:gd name="T51" fmla="*/ 119 h 449"/>
                <a:gd name="T52" fmla="*/ 36 w 442"/>
                <a:gd name="T53" fmla="*/ 95 h 449"/>
                <a:gd name="T54" fmla="*/ 0 w 442"/>
                <a:gd name="T55" fmla="*/ 180 h 449"/>
                <a:gd name="T56" fmla="*/ 56 w 442"/>
                <a:gd name="T57" fmla="*/ 204 h 449"/>
                <a:gd name="T58" fmla="*/ 65 w 442"/>
                <a:gd name="T59" fmla="*/ 283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2" h="449">
                  <a:moveTo>
                    <a:pt x="211" y="137"/>
                  </a:moveTo>
                  <a:cubicBezTo>
                    <a:pt x="259" y="132"/>
                    <a:pt x="303" y="166"/>
                    <a:pt x="308" y="215"/>
                  </a:cubicBezTo>
                  <a:cubicBezTo>
                    <a:pt x="314" y="263"/>
                    <a:pt x="279" y="307"/>
                    <a:pt x="231" y="312"/>
                  </a:cubicBezTo>
                  <a:cubicBezTo>
                    <a:pt x="183" y="318"/>
                    <a:pt x="139" y="283"/>
                    <a:pt x="133" y="235"/>
                  </a:cubicBezTo>
                  <a:cubicBezTo>
                    <a:pt x="128" y="187"/>
                    <a:pt x="162" y="143"/>
                    <a:pt x="211" y="137"/>
                  </a:cubicBezTo>
                  <a:close/>
                  <a:moveTo>
                    <a:pt x="65" y="283"/>
                  </a:moveTo>
                  <a:cubicBezTo>
                    <a:pt x="16" y="320"/>
                    <a:pt x="16" y="320"/>
                    <a:pt x="16" y="320"/>
                  </a:cubicBezTo>
                  <a:cubicBezTo>
                    <a:pt x="71" y="394"/>
                    <a:pt x="71" y="394"/>
                    <a:pt x="71" y="394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94" y="389"/>
                    <a:pt x="194" y="389"/>
                    <a:pt x="194" y="389"/>
                  </a:cubicBezTo>
                  <a:cubicBezTo>
                    <a:pt x="201" y="449"/>
                    <a:pt x="201" y="449"/>
                    <a:pt x="201" y="449"/>
                  </a:cubicBezTo>
                  <a:cubicBezTo>
                    <a:pt x="292" y="439"/>
                    <a:pt x="292" y="439"/>
                    <a:pt x="292" y="439"/>
                  </a:cubicBezTo>
                  <a:cubicBezTo>
                    <a:pt x="285" y="378"/>
                    <a:pt x="285" y="378"/>
                    <a:pt x="285" y="378"/>
                  </a:cubicBezTo>
                  <a:cubicBezTo>
                    <a:pt x="349" y="330"/>
                    <a:pt x="349" y="330"/>
                    <a:pt x="349" y="330"/>
                  </a:cubicBezTo>
                  <a:cubicBezTo>
                    <a:pt x="405" y="354"/>
                    <a:pt x="405" y="354"/>
                    <a:pt x="405" y="354"/>
                  </a:cubicBezTo>
                  <a:cubicBezTo>
                    <a:pt x="442" y="270"/>
                    <a:pt x="442" y="270"/>
                    <a:pt x="442" y="270"/>
                  </a:cubicBezTo>
                  <a:cubicBezTo>
                    <a:pt x="385" y="246"/>
                    <a:pt x="385" y="246"/>
                    <a:pt x="385" y="246"/>
                  </a:cubicBezTo>
                  <a:cubicBezTo>
                    <a:pt x="376" y="166"/>
                    <a:pt x="376" y="166"/>
                    <a:pt x="376" y="166"/>
                  </a:cubicBezTo>
                  <a:cubicBezTo>
                    <a:pt x="425" y="130"/>
                    <a:pt x="425" y="130"/>
                    <a:pt x="425" y="130"/>
                  </a:cubicBezTo>
                  <a:cubicBezTo>
                    <a:pt x="370" y="56"/>
                    <a:pt x="370" y="56"/>
                    <a:pt x="370" y="56"/>
                  </a:cubicBezTo>
                  <a:cubicBezTo>
                    <a:pt x="321" y="93"/>
                    <a:pt x="321" y="93"/>
                    <a:pt x="321" y="93"/>
                  </a:cubicBezTo>
                  <a:cubicBezTo>
                    <a:pt x="248" y="61"/>
                    <a:pt x="248" y="61"/>
                    <a:pt x="248" y="61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56" y="72"/>
                    <a:pt x="156" y="72"/>
                    <a:pt x="156" y="72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36" y="95"/>
                    <a:pt x="36" y="95"/>
                    <a:pt x="36" y="95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56" y="204"/>
                    <a:pt x="56" y="204"/>
                    <a:pt x="56" y="204"/>
                  </a:cubicBezTo>
                  <a:lnTo>
                    <a:pt x="65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7B315D3F-A951-47C2-8A78-17AEF0E236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0313" y="6340475"/>
              <a:ext cx="5073650" cy="4994275"/>
            </a:xfrm>
            <a:custGeom>
              <a:avLst/>
              <a:gdLst>
                <a:gd name="T0" fmla="*/ 306 w 449"/>
                <a:gd name="T1" fmla="*/ 256 h 442"/>
                <a:gd name="T2" fmla="*/ 190 w 449"/>
                <a:gd name="T3" fmla="*/ 302 h 442"/>
                <a:gd name="T4" fmla="*/ 144 w 449"/>
                <a:gd name="T5" fmla="*/ 186 h 442"/>
                <a:gd name="T6" fmla="*/ 259 w 449"/>
                <a:gd name="T7" fmla="*/ 140 h 442"/>
                <a:gd name="T8" fmla="*/ 306 w 449"/>
                <a:gd name="T9" fmla="*/ 256 h 442"/>
                <a:gd name="T10" fmla="*/ 449 w 449"/>
                <a:gd name="T11" fmla="*/ 240 h 442"/>
                <a:gd name="T12" fmla="*/ 438 w 449"/>
                <a:gd name="T13" fmla="*/ 149 h 442"/>
                <a:gd name="T14" fmla="*/ 377 w 449"/>
                <a:gd name="T15" fmla="*/ 156 h 442"/>
                <a:gd name="T16" fmla="*/ 330 w 449"/>
                <a:gd name="T17" fmla="*/ 92 h 442"/>
                <a:gd name="T18" fmla="*/ 354 w 449"/>
                <a:gd name="T19" fmla="*/ 36 h 442"/>
                <a:gd name="T20" fmla="*/ 269 w 449"/>
                <a:gd name="T21" fmla="*/ 0 h 442"/>
                <a:gd name="T22" fmla="*/ 245 w 449"/>
                <a:gd name="T23" fmla="*/ 56 h 442"/>
                <a:gd name="T24" fmla="*/ 166 w 449"/>
                <a:gd name="T25" fmla="*/ 66 h 442"/>
                <a:gd name="T26" fmla="*/ 129 w 449"/>
                <a:gd name="T27" fmla="*/ 17 h 442"/>
                <a:gd name="T28" fmla="*/ 55 w 449"/>
                <a:gd name="T29" fmla="*/ 72 h 442"/>
                <a:gd name="T30" fmla="*/ 92 w 449"/>
                <a:gd name="T31" fmla="*/ 121 h 442"/>
                <a:gd name="T32" fmla="*/ 61 w 449"/>
                <a:gd name="T33" fmla="*/ 194 h 442"/>
                <a:gd name="T34" fmla="*/ 0 w 449"/>
                <a:gd name="T35" fmla="*/ 202 h 442"/>
                <a:gd name="T36" fmla="*/ 11 w 449"/>
                <a:gd name="T37" fmla="*/ 293 h 442"/>
                <a:gd name="T38" fmla="*/ 72 w 449"/>
                <a:gd name="T39" fmla="*/ 286 h 442"/>
                <a:gd name="T40" fmla="*/ 120 w 449"/>
                <a:gd name="T41" fmla="*/ 350 h 442"/>
                <a:gd name="T42" fmla="*/ 96 w 449"/>
                <a:gd name="T43" fmla="*/ 406 h 442"/>
                <a:gd name="T44" fmla="*/ 180 w 449"/>
                <a:gd name="T45" fmla="*/ 442 h 442"/>
                <a:gd name="T46" fmla="*/ 205 w 449"/>
                <a:gd name="T47" fmla="*/ 386 h 442"/>
                <a:gd name="T48" fmla="*/ 284 w 449"/>
                <a:gd name="T49" fmla="*/ 376 h 442"/>
                <a:gd name="T50" fmla="*/ 320 w 449"/>
                <a:gd name="T51" fmla="*/ 425 h 442"/>
                <a:gd name="T52" fmla="*/ 394 w 449"/>
                <a:gd name="T53" fmla="*/ 370 h 442"/>
                <a:gd name="T54" fmla="*/ 357 w 449"/>
                <a:gd name="T55" fmla="*/ 321 h 442"/>
                <a:gd name="T56" fmla="*/ 389 w 449"/>
                <a:gd name="T57" fmla="*/ 248 h 442"/>
                <a:gd name="T58" fmla="*/ 449 w 449"/>
                <a:gd name="T59" fmla="*/ 24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9" h="442">
                  <a:moveTo>
                    <a:pt x="306" y="256"/>
                  </a:moveTo>
                  <a:cubicBezTo>
                    <a:pt x="287" y="300"/>
                    <a:pt x="235" y="321"/>
                    <a:pt x="190" y="302"/>
                  </a:cubicBezTo>
                  <a:cubicBezTo>
                    <a:pt x="145" y="283"/>
                    <a:pt x="125" y="231"/>
                    <a:pt x="144" y="186"/>
                  </a:cubicBezTo>
                  <a:cubicBezTo>
                    <a:pt x="163" y="142"/>
                    <a:pt x="215" y="121"/>
                    <a:pt x="259" y="140"/>
                  </a:cubicBezTo>
                  <a:cubicBezTo>
                    <a:pt x="304" y="159"/>
                    <a:pt x="325" y="211"/>
                    <a:pt x="306" y="256"/>
                  </a:cubicBezTo>
                  <a:close/>
                  <a:moveTo>
                    <a:pt x="449" y="240"/>
                  </a:moveTo>
                  <a:cubicBezTo>
                    <a:pt x="438" y="149"/>
                    <a:pt x="438" y="149"/>
                    <a:pt x="438" y="149"/>
                  </a:cubicBezTo>
                  <a:cubicBezTo>
                    <a:pt x="377" y="156"/>
                    <a:pt x="377" y="156"/>
                    <a:pt x="377" y="156"/>
                  </a:cubicBezTo>
                  <a:cubicBezTo>
                    <a:pt x="330" y="92"/>
                    <a:pt x="330" y="92"/>
                    <a:pt x="330" y="92"/>
                  </a:cubicBezTo>
                  <a:cubicBezTo>
                    <a:pt x="354" y="36"/>
                    <a:pt x="354" y="36"/>
                    <a:pt x="354" y="36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245" y="56"/>
                    <a:pt x="245" y="56"/>
                    <a:pt x="245" y="56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92" y="121"/>
                    <a:pt x="92" y="121"/>
                    <a:pt x="92" y="121"/>
                  </a:cubicBezTo>
                  <a:cubicBezTo>
                    <a:pt x="61" y="194"/>
                    <a:pt x="61" y="194"/>
                    <a:pt x="61" y="194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11" y="293"/>
                    <a:pt x="11" y="293"/>
                    <a:pt x="11" y="293"/>
                  </a:cubicBezTo>
                  <a:cubicBezTo>
                    <a:pt x="72" y="286"/>
                    <a:pt x="72" y="286"/>
                    <a:pt x="72" y="286"/>
                  </a:cubicBezTo>
                  <a:cubicBezTo>
                    <a:pt x="120" y="350"/>
                    <a:pt x="120" y="350"/>
                    <a:pt x="120" y="350"/>
                  </a:cubicBezTo>
                  <a:cubicBezTo>
                    <a:pt x="96" y="406"/>
                    <a:pt x="96" y="406"/>
                    <a:pt x="96" y="406"/>
                  </a:cubicBezTo>
                  <a:cubicBezTo>
                    <a:pt x="180" y="442"/>
                    <a:pt x="180" y="442"/>
                    <a:pt x="180" y="442"/>
                  </a:cubicBezTo>
                  <a:cubicBezTo>
                    <a:pt x="205" y="386"/>
                    <a:pt x="205" y="386"/>
                    <a:pt x="205" y="386"/>
                  </a:cubicBezTo>
                  <a:cubicBezTo>
                    <a:pt x="284" y="376"/>
                    <a:pt x="284" y="376"/>
                    <a:pt x="284" y="376"/>
                  </a:cubicBezTo>
                  <a:cubicBezTo>
                    <a:pt x="320" y="425"/>
                    <a:pt x="320" y="425"/>
                    <a:pt x="320" y="425"/>
                  </a:cubicBezTo>
                  <a:cubicBezTo>
                    <a:pt x="394" y="370"/>
                    <a:pt x="394" y="370"/>
                    <a:pt x="394" y="370"/>
                  </a:cubicBezTo>
                  <a:cubicBezTo>
                    <a:pt x="357" y="321"/>
                    <a:pt x="357" y="321"/>
                    <a:pt x="357" y="321"/>
                  </a:cubicBezTo>
                  <a:cubicBezTo>
                    <a:pt x="389" y="248"/>
                    <a:pt x="389" y="248"/>
                    <a:pt x="389" y="248"/>
                  </a:cubicBezTo>
                  <a:lnTo>
                    <a:pt x="449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591193D4-0719-4B8D-BAD6-BE59EA2CA1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8100" y="1638300"/>
              <a:ext cx="7627938" cy="7616825"/>
            </a:xfrm>
            <a:custGeom>
              <a:avLst/>
              <a:gdLst>
                <a:gd name="T0" fmla="*/ 337 w 675"/>
                <a:gd name="T1" fmla="*/ 485 h 674"/>
                <a:gd name="T2" fmla="*/ 189 w 675"/>
                <a:gd name="T3" fmla="*/ 337 h 674"/>
                <a:gd name="T4" fmla="*/ 337 w 675"/>
                <a:gd name="T5" fmla="*/ 189 h 674"/>
                <a:gd name="T6" fmla="*/ 486 w 675"/>
                <a:gd name="T7" fmla="*/ 337 h 674"/>
                <a:gd name="T8" fmla="*/ 337 w 675"/>
                <a:gd name="T9" fmla="*/ 485 h 674"/>
                <a:gd name="T10" fmla="*/ 571 w 675"/>
                <a:gd name="T11" fmla="*/ 479 h 674"/>
                <a:gd name="T12" fmla="*/ 602 w 675"/>
                <a:gd name="T13" fmla="*/ 401 h 674"/>
                <a:gd name="T14" fmla="*/ 675 w 675"/>
                <a:gd name="T15" fmla="*/ 395 h 674"/>
                <a:gd name="T16" fmla="*/ 675 w 675"/>
                <a:gd name="T17" fmla="*/ 279 h 674"/>
                <a:gd name="T18" fmla="*/ 602 w 675"/>
                <a:gd name="T19" fmla="*/ 272 h 674"/>
                <a:gd name="T20" fmla="*/ 571 w 675"/>
                <a:gd name="T21" fmla="*/ 195 h 674"/>
                <a:gd name="T22" fmla="*/ 617 w 675"/>
                <a:gd name="T23" fmla="*/ 139 h 674"/>
                <a:gd name="T24" fmla="*/ 535 w 675"/>
                <a:gd name="T25" fmla="*/ 57 h 674"/>
                <a:gd name="T26" fmla="*/ 479 w 675"/>
                <a:gd name="T27" fmla="*/ 104 h 674"/>
                <a:gd name="T28" fmla="*/ 402 w 675"/>
                <a:gd name="T29" fmla="*/ 72 h 674"/>
                <a:gd name="T30" fmla="*/ 395 w 675"/>
                <a:gd name="T31" fmla="*/ 0 h 674"/>
                <a:gd name="T32" fmla="*/ 279 w 675"/>
                <a:gd name="T33" fmla="*/ 0 h 674"/>
                <a:gd name="T34" fmla="*/ 273 w 675"/>
                <a:gd name="T35" fmla="*/ 72 h 674"/>
                <a:gd name="T36" fmla="*/ 195 w 675"/>
                <a:gd name="T37" fmla="*/ 103 h 674"/>
                <a:gd name="T38" fmla="*/ 140 w 675"/>
                <a:gd name="T39" fmla="*/ 57 h 674"/>
                <a:gd name="T40" fmla="*/ 58 w 675"/>
                <a:gd name="T41" fmla="*/ 139 h 674"/>
                <a:gd name="T42" fmla="*/ 104 w 675"/>
                <a:gd name="T43" fmla="*/ 195 h 674"/>
                <a:gd name="T44" fmla="*/ 72 w 675"/>
                <a:gd name="T45" fmla="*/ 272 h 674"/>
                <a:gd name="T46" fmla="*/ 0 w 675"/>
                <a:gd name="T47" fmla="*/ 279 h 674"/>
                <a:gd name="T48" fmla="*/ 0 w 675"/>
                <a:gd name="T49" fmla="*/ 395 h 674"/>
                <a:gd name="T50" fmla="*/ 72 w 675"/>
                <a:gd name="T51" fmla="*/ 401 h 674"/>
                <a:gd name="T52" fmla="*/ 104 w 675"/>
                <a:gd name="T53" fmla="*/ 479 h 674"/>
                <a:gd name="T54" fmla="*/ 58 w 675"/>
                <a:gd name="T55" fmla="*/ 534 h 674"/>
                <a:gd name="T56" fmla="*/ 140 w 675"/>
                <a:gd name="T57" fmla="*/ 616 h 674"/>
                <a:gd name="T58" fmla="*/ 195 w 675"/>
                <a:gd name="T59" fmla="*/ 570 h 674"/>
                <a:gd name="T60" fmla="*/ 273 w 675"/>
                <a:gd name="T61" fmla="*/ 602 h 674"/>
                <a:gd name="T62" fmla="*/ 279 w 675"/>
                <a:gd name="T63" fmla="*/ 674 h 674"/>
                <a:gd name="T64" fmla="*/ 395 w 675"/>
                <a:gd name="T65" fmla="*/ 674 h 674"/>
                <a:gd name="T66" fmla="*/ 402 w 675"/>
                <a:gd name="T67" fmla="*/ 602 h 674"/>
                <a:gd name="T68" fmla="*/ 479 w 675"/>
                <a:gd name="T69" fmla="*/ 570 h 674"/>
                <a:gd name="T70" fmla="*/ 535 w 675"/>
                <a:gd name="T71" fmla="*/ 616 h 674"/>
                <a:gd name="T72" fmla="*/ 617 w 675"/>
                <a:gd name="T73" fmla="*/ 534 h 674"/>
                <a:gd name="T74" fmla="*/ 571 w 675"/>
                <a:gd name="T75" fmla="*/ 479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5" h="674">
                  <a:moveTo>
                    <a:pt x="337" y="485"/>
                  </a:moveTo>
                  <a:cubicBezTo>
                    <a:pt x="255" y="485"/>
                    <a:pt x="189" y="419"/>
                    <a:pt x="189" y="337"/>
                  </a:cubicBezTo>
                  <a:cubicBezTo>
                    <a:pt x="189" y="255"/>
                    <a:pt x="255" y="189"/>
                    <a:pt x="337" y="189"/>
                  </a:cubicBezTo>
                  <a:cubicBezTo>
                    <a:pt x="419" y="189"/>
                    <a:pt x="486" y="255"/>
                    <a:pt x="486" y="337"/>
                  </a:cubicBezTo>
                  <a:cubicBezTo>
                    <a:pt x="486" y="419"/>
                    <a:pt x="419" y="485"/>
                    <a:pt x="337" y="485"/>
                  </a:cubicBezTo>
                  <a:close/>
                  <a:moveTo>
                    <a:pt x="571" y="479"/>
                  </a:moveTo>
                  <a:cubicBezTo>
                    <a:pt x="602" y="401"/>
                    <a:pt x="602" y="401"/>
                    <a:pt x="602" y="401"/>
                  </a:cubicBezTo>
                  <a:cubicBezTo>
                    <a:pt x="675" y="395"/>
                    <a:pt x="675" y="395"/>
                    <a:pt x="675" y="395"/>
                  </a:cubicBezTo>
                  <a:cubicBezTo>
                    <a:pt x="675" y="279"/>
                    <a:pt x="675" y="279"/>
                    <a:pt x="675" y="279"/>
                  </a:cubicBezTo>
                  <a:cubicBezTo>
                    <a:pt x="602" y="272"/>
                    <a:pt x="602" y="272"/>
                    <a:pt x="602" y="272"/>
                  </a:cubicBezTo>
                  <a:cubicBezTo>
                    <a:pt x="571" y="195"/>
                    <a:pt x="571" y="195"/>
                    <a:pt x="571" y="195"/>
                  </a:cubicBezTo>
                  <a:cubicBezTo>
                    <a:pt x="617" y="139"/>
                    <a:pt x="617" y="139"/>
                    <a:pt x="617" y="139"/>
                  </a:cubicBezTo>
                  <a:cubicBezTo>
                    <a:pt x="535" y="57"/>
                    <a:pt x="535" y="57"/>
                    <a:pt x="535" y="57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02" y="72"/>
                    <a:pt x="402" y="72"/>
                    <a:pt x="402" y="72"/>
                  </a:cubicBezTo>
                  <a:cubicBezTo>
                    <a:pt x="395" y="0"/>
                    <a:pt x="395" y="0"/>
                    <a:pt x="395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3" y="72"/>
                    <a:pt x="273" y="72"/>
                    <a:pt x="273" y="72"/>
                  </a:cubicBezTo>
                  <a:cubicBezTo>
                    <a:pt x="195" y="103"/>
                    <a:pt x="195" y="103"/>
                    <a:pt x="195" y="103"/>
                  </a:cubicBezTo>
                  <a:cubicBezTo>
                    <a:pt x="140" y="57"/>
                    <a:pt x="140" y="57"/>
                    <a:pt x="140" y="57"/>
                  </a:cubicBezTo>
                  <a:cubicBezTo>
                    <a:pt x="58" y="139"/>
                    <a:pt x="58" y="139"/>
                    <a:pt x="58" y="139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72" y="272"/>
                    <a:pt x="72" y="272"/>
                    <a:pt x="72" y="272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0" y="395"/>
                    <a:pt x="0" y="395"/>
                    <a:pt x="0" y="395"/>
                  </a:cubicBezTo>
                  <a:cubicBezTo>
                    <a:pt x="72" y="401"/>
                    <a:pt x="72" y="401"/>
                    <a:pt x="72" y="401"/>
                  </a:cubicBezTo>
                  <a:cubicBezTo>
                    <a:pt x="104" y="479"/>
                    <a:pt x="104" y="479"/>
                    <a:pt x="104" y="479"/>
                  </a:cubicBezTo>
                  <a:cubicBezTo>
                    <a:pt x="58" y="534"/>
                    <a:pt x="58" y="534"/>
                    <a:pt x="58" y="534"/>
                  </a:cubicBezTo>
                  <a:cubicBezTo>
                    <a:pt x="140" y="616"/>
                    <a:pt x="140" y="616"/>
                    <a:pt x="140" y="616"/>
                  </a:cubicBezTo>
                  <a:cubicBezTo>
                    <a:pt x="195" y="570"/>
                    <a:pt x="195" y="570"/>
                    <a:pt x="195" y="570"/>
                  </a:cubicBezTo>
                  <a:cubicBezTo>
                    <a:pt x="273" y="602"/>
                    <a:pt x="273" y="602"/>
                    <a:pt x="273" y="602"/>
                  </a:cubicBezTo>
                  <a:cubicBezTo>
                    <a:pt x="279" y="674"/>
                    <a:pt x="279" y="674"/>
                    <a:pt x="279" y="674"/>
                  </a:cubicBezTo>
                  <a:cubicBezTo>
                    <a:pt x="395" y="674"/>
                    <a:pt x="395" y="674"/>
                    <a:pt x="395" y="674"/>
                  </a:cubicBezTo>
                  <a:cubicBezTo>
                    <a:pt x="402" y="602"/>
                    <a:pt x="402" y="602"/>
                    <a:pt x="402" y="602"/>
                  </a:cubicBezTo>
                  <a:cubicBezTo>
                    <a:pt x="479" y="570"/>
                    <a:pt x="479" y="570"/>
                    <a:pt x="479" y="570"/>
                  </a:cubicBezTo>
                  <a:cubicBezTo>
                    <a:pt x="535" y="616"/>
                    <a:pt x="535" y="616"/>
                    <a:pt x="535" y="616"/>
                  </a:cubicBezTo>
                  <a:cubicBezTo>
                    <a:pt x="617" y="534"/>
                    <a:pt x="617" y="534"/>
                    <a:pt x="617" y="534"/>
                  </a:cubicBezTo>
                  <a:lnTo>
                    <a:pt x="571" y="4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DD4A0AB2-92D0-4B20-9F75-E11D9CFD5C1D}"/>
              </a:ext>
            </a:extLst>
          </p:cNvPr>
          <p:cNvGrpSpPr/>
          <p:nvPr userDrawn="1"/>
        </p:nvGrpSpPr>
        <p:grpSpPr>
          <a:xfrm>
            <a:off x="11217797" y="1860685"/>
            <a:ext cx="192111" cy="290045"/>
            <a:chOff x="-3947158" y="1719597"/>
            <a:chExt cx="3385092" cy="5109416"/>
          </a:xfrm>
          <a:solidFill>
            <a:schemeClr val="bg1">
              <a:alpha val="80000"/>
            </a:schemeClr>
          </a:solidFill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9CACB7DE-D286-41C4-A4E0-69FE0D7E3C1F}"/>
                </a:ext>
              </a:extLst>
            </p:cNvPr>
            <p:cNvSpPr/>
            <p:nvPr/>
          </p:nvSpPr>
          <p:spPr>
            <a:xfrm>
              <a:off x="-3624517" y="2322583"/>
              <a:ext cx="3062451" cy="218046"/>
            </a:xfrm>
            <a:prstGeom prst="rect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5DB3EF13-40A1-49C4-B5E5-0717F1D46CB8}"/>
                </a:ext>
              </a:extLst>
            </p:cNvPr>
            <p:cNvSpPr/>
            <p:nvPr/>
          </p:nvSpPr>
          <p:spPr>
            <a:xfrm>
              <a:off x="-3947158" y="3738067"/>
              <a:ext cx="1988090" cy="3089947"/>
            </a:xfrm>
            <a:custGeom>
              <a:avLst/>
              <a:gdLst>
                <a:gd name="connsiteX0" fmla="*/ 1536585 w 1988090"/>
                <a:gd name="connsiteY0" fmla="*/ 279 h 3089947"/>
                <a:gd name="connsiteX1" fmla="*/ 1493799 w 1988090"/>
                <a:gd name="connsiteY1" fmla="*/ 6084 h 3089947"/>
                <a:gd name="connsiteX2" fmla="*/ 994045 w 1988090"/>
                <a:gd name="connsiteY2" fmla="*/ 201257 h 3089947"/>
                <a:gd name="connsiteX3" fmla="*/ 494330 w 1988090"/>
                <a:gd name="connsiteY3" fmla="*/ 6122 h 3089947"/>
                <a:gd name="connsiteX4" fmla="*/ 451390 w 1988090"/>
                <a:gd name="connsiteY4" fmla="*/ 317 h 3089947"/>
                <a:gd name="connsiteX5" fmla="*/ 362549 w 1988090"/>
                <a:gd name="connsiteY5" fmla="*/ 12004 h 3089947"/>
                <a:gd name="connsiteX6" fmla="*/ 126819 w 1988090"/>
                <a:gd name="connsiteY6" fmla="*/ 305590 h 3089947"/>
                <a:gd name="connsiteX7" fmla="*/ 36 w 1988090"/>
                <a:gd name="connsiteY7" fmla="*/ 1551706 h 3089947"/>
                <a:gd name="connsiteX8" fmla="*/ 56470 w 1988090"/>
                <a:gd name="connsiteY8" fmla="*/ 1695481 h 3089947"/>
                <a:gd name="connsiteX9" fmla="*/ 198053 w 1988090"/>
                <a:gd name="connsiteY9" fmla="*/ 1757220 h 3089947"/>
                <a:gd name="connsiteX10" fmla="*/ 199975 w 1988090"/>
                <a:gd name="connsiteY10" fmla="*/ 1757258 h 3089947"/>
                <a:gd name="connsiteX11" fmla="*/ 201898 w 1988090"/>
                <a:gd name="connsiteY11" fmla="*/ 1757258 h 3089947"/>
                <a:gd name="connsiteX12" fmla="*/ 290969 w 1988090"/>
                <a:gd name="connsiteY12" fmla="*/ 1736154 h 3089947"/>
                <a:gd name="connsiteX13" fmla="*/ 359743 w 1988090"/>
                <a:gd name="connsiteY13" fmla="*/ 1679873 h 3089947"/>
                <a:gd name="connsiteX14" fmla="*/ 359743 w 1988090"/>
                <a:gd name="connsiteY14" fmla="*/ 2240751 h 3089947"/>
                <a:gd name="connsiteX15" fmla="*/ 359743 w 1988090"/>
                <a:gd name="connsiteY15" fmla="*/ 2801628 h 3089947"/>
                <a:gd name="connsiteX16" fmla="*/ 444201 w 1988090"/>
                <a:gd name="connsiteY16" fmla="*/ 3005489 h 3089947"/>
                <a:gd name="connsiteX17" fmla="*/ 648062 w 1988090"/>
                <a:gd name="connsiteY17" fmla="*/ 3089947 h 3089947"/>
                <a:gd name="connsiteX18" fmla="*/ 851923 w 1988090"/>
                <a:gd name="connsiteY18" fmla="*/ 3005489 h 3089947"/>
                <a:gd name="connsiteX19" fmla="*/ 936382 w 1988090"/>
                <a:gd name="connsiteY19" fmla="*/ 2801628 h 3089947"/>
                <a:gd name="connsiteX20" fmla="*/ 936382 w 1988090"/>
                <a:gd name="connsiteY20" fmla="*/ 2340317 h 3089947"/>
                <a:gd name="connsiteX21" fmla="*/ 936382 w 1988090"/>
                <a:gd name="connsiteY21" fmla="*/ 1879006 h 3089947"/>
                <a:gd name="connsiteX22" fmla="*/ 994045 w 1988090"/>
                <a:gd name="connsiteY22" fmla="*/ 1879006 h 3089947"/>
                <a:gd name="connsiteX23" fmla="*/ 1051709 w 1988090"/>
                <a:gd name="connsiteY23" fmla="*/ 1879006 h 3089947"/>
                <a:gd name="connsiteX24" fmla="*/ 1051709 w 1988090"/>
                <a:gd name="connsiteY24" fmla="*/ 2340317 h 3089947"/>
                <a:gd name="connsiteX25" fmla="*/ 1051709 w 1988090"/>
                <a:gd name="connsiteY25" fmla="*/ 2801628 h 3089947"/>
                <a:gd name="connsiteX26" fmla="*/ 1136167 w 1988090"/>
                <a:gd name="connsiteY26" fmla="*/ 3005489 h 3089947"/>
                <a:gd name="connsiteX27" fmla="*/ 1340029 w 1988090"/>
                <a:gd name="connsiteY27" fmla="*/ 3089947 h 3089947"/>
                <a:gd name="connsiteX28" fmla="*/ 1543889 w 1988090"/>
                <a:gd name="connsiteY28" fmla="*/ 3005489 h 3089947"/>
                <a:gd name="connsiteX29" fmla="*/ 1628348 w 1988090"/>
                <a:gd name="connsiteY29" fmla="*/ 2801628 h 3089947"/>
                <a:gd name="connsiteX30" fmla="*/ 1628348 w 1988090"/>
                <a:gd name="connsiteY30" fmla="*/ 2263432 h 3089947"/>
                <a:gd name="connsiteX31" fmla="*/ 1628348 w 1988090"/>
                <a:gd name="connsiteY31" fmla="*/ 1725313 h 3089947"/>
                <a:gd name="connsiteX32" fmla="*/ 1628348 w 1988090"/>
                <a:gd name="connsiteY32" fmla="*/ 1725236 h 3089947"/>
                <a:gd name="connsiteX33" fmla="*/ 1628348 w 1988090"/>
                <a:gd name="connsiteY33" fmla="*/ 1725159 h 3089947"/>
                <a:gd name="connsiteX34" fmla="*/ 1628348 w 1988090"/>
                <a:gd name="connsiteY34" fmla="*/ 1702478 h 3089947"/>
                <a:gd name="connsiteX35" fmla="*/ 1628348 w 1988090"/>
                <a:gd name="connsiteY35" fmla="*/ 1679797 h 3089947"/>
                <a:gd name="connsiteX36" fmla="*/ 1697122 w 1988090"/>
                <a:gd name="connsiteY36" fmla="*/ 1736115 h 3089947"/>
                <a:gd name="connsiteX37" fmla="*/ 1786193 w 1988090"/>
                <a:gd name="connsiteY37" fmla="*/ 1757220 h 3089947"/>
                <a:gd name="connsiteX38" fmla="*/ 1788115 w 1988090"/>
                <a:gd name="connsiteY38" fmla="*/ 1757220 h 3089947"/>
                <a:gd name="connsiteX39" fmla="*/ 1790037 w 1988090"/>
                <a:gd name="connsiteY39" fmla="*/ 1757182 h 3089947"/>
                <a:gd name="connsiteX40" fmla="*/ 1931621 w 1988090"/>
                <a:gd name="connsiteY40" fmla="*/ 1695443 h 3089947"/>
                <a:gd name="connsiteX41" fmla="*/ 1988055 w 1988090"/>
                <a:gd name="connsiteY41" fmla="*/ 1551668 h 3089947"/>
                <a:gd name="connsiteX42" fmla="*/ 1861233 w 1988090"/>
                <a:gd name="connsiteY42" fmla="*/ 305552 h 3089947"/>
                <a:gd name="connsiteX43" fmla="*/ 1625465 w 1988090"/>
                <a:gd name="connsiteY43" fmla="*/ 11966 h 3089947"/>
                <a:gd name="connsiteX44" fmla="*/ 1536585 w 1988090"/>
                <a:gd name="connsiteY44" fmla="*/ 279 h 308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988090" h="3089947">
                  <a:moveTo>
                    <a:pt x="1536585" y="279"/>
                  </a:moveTo>
                  <a:cubicBezTo>
                    <a:pt x="1521939" y="971"/>
                    <a:pt x="1507676" y="3008"/>
                    <a:pt x="1493799" y="6084"/>
                  </a:cubicBezTo>
                  <a:cubicBezTo>
                    <a:pt x="1361787" y="126870"/>
                    <a:pt x="1186643" y="201257"/>
                    <a:pt x="994045" y="201257"/>
                  </a:cubicBezTo>
                  <a:cubicBezTo>
                    <a:pt x="801448" y="201257"/>
                    <a:pt x="626342" y="126870"/>
                    <a:pt x="494330" y="6122"/>
                  </a:cubicBezTo>
                  <a:cubicBezTo>
                    <a:pt x="480414" y="3047"/>
                    <a:pt x="466075" y="1009"/>
                    <a:pt x="451390" y="317"/>
                  </a:cubicBezTo>
                  <a:cubicBezTo>
                    <a:pt x="422827" y="-1028"/>
                    <a:pt x="392996" y="2432"/>
                    <a:pt x="362549" y="12004"/>
                  </a:cubicBezTo>
                  <a:cubicBezTo>
                    <a:pt x="277591" y="38683"/>
                    <a:pt x="193133" y="92772"/>
                    <a:pt x="126819" y="305590"/>
                  </a:cubicBezTo>
                  <a:cubicBezTo>
                    <a:pt x="60506" y="518408"/>
                    <a:pt x="12337" y="889994"/>
                    <a:pt x="36" y="1551706"/>
                  </a:cubicBezTo>
                  <a:cubicBezTo>
                    <a:pt x="-1002" y="1607409"/>
                    <a:pt x="20641" y="1658308"/>
                    <a:pt x="56470" y="1695481"/>
                  </a:cubicBezTo>
                  <a:cubicBezTo>
                    <a:pt x="92298" y="1732655"/>
                    <a:pt x="142312" y="1756221"/>
                    <a:pt x="198053" y="1757220"/>
                  </a:cubicBezTo>
                  <a:cubicBezTo>
                    <a:pt x="198707" y="1757220"/>
                    <a:pt x="199322" y="1757220"/>
                    <a:pt x="199975" y="1757258"/>
                  </a:cubicBezTo>
                  <a:cubicBezTo>
                    <a:pt x="200629" y="1757297"/>
                    <a:pt x="201244" y="1757258"/>
                    <a:pt x="201898" y="1757258"/>
                  </a:cubicBezTo>
                  <a:cubicBezTo>
                    <a:pt x="233920" y="1757258"/>
                    <a:pt x="264136" y="1749647"/>
                    <a:pt x="290969" y="1736154"/>
                  </a:cubicBezTo>
                  <a:cubicBezTo>
                    <a:pt x="317802" y="1722660"/>
                    <a:pt x="341214" y="1703323"/>
                    <a:pt x="359743" y="1679873"/>
                  </a:cubicBezTo>
                  <a:lnTo>
                    <a:pt x="359743" y="2240751"/>
                  </a:lnTo>
                  <a:lnTo>
                    <a:pt x="359743" y="2801628"/>
                  </a:lnTo>
                  <a:cubicBezTo>
                    <a:pt x="359743" y="2881243"/>
                    <a:pt x="391996" y="2953323"/>
                    <a:pt x="444201" y="3005489"/>
                  </a:cubicBezTo>
                  <a:cubicBezTo>
                    <a:pt x="496406" y="3057656"/>
                    <a:pt x="568447" y="3089947"/>
                    <a:pt x="648062" y="3089947"/>
                  </a:cubicBezTo>
                  <a:cubicBezTo>
                    <a:pt x="727677" y="3089947"/>
                    <a:pt x="799757" y="3057694"/>
                    <a:pt x="851923" y="3005489"/>
                  </a:cubicBezTo>
                  <a:cubicBezTo>
                    <a:pt x="904090" y="2953284"/>
                    <a:pt x="936382" y="2881243"/>
                    <a:pt x="936382" y="2801628"/>
                  </a:cubicBezTo>
                  <a:lnTo>
                    <a:pt x="936382" y="2340317"/>
                  </a:lnTo>
                  <a:lnTo>
                    <a:pt x="936382" y="1879006"/>
                  </a:lnTo>
                  <a:lnTo>
                    <a:pt x="994045" y="1879006"/>
                  </a:lnTo>
                  <a:lnTo>
                    <a:pt x="1051709" y="1879006"/>
                  </a:lnTo>
                  <a:lnTo>
                    <a:pt x="1051709" y="2340317"/>
                  </a:lnTo>
                  <a:lnTo>
                    <a:pt x="1051709" y="2801628"/>
                  </a:lnTo>
                  <a:cubicBezTo>
                    <a:pt x="1051709" y="2881243"/>
                    <a:pt x="1083962" y="2953323"/>
                    <a:pt x="1136167" y="3005489"/>
                  </a:cubicBezTo>
                  <a:cubicBezTo>
                    <a:pt x="1188372" y="3057656"/>
                    <a:pt x="1260414" y="3089947"/>
                    <a:pt x="1340029" y="3089947"/>
                  </a:cubicBezTo>
                  <a:cubicBezTo>
                    <a:pt x="1419643" y="3089947"/>
                    <a:pt x="1491723" y="3057694"/>
                    <a:pt x="1543889" y="3005489"/>
                  </a:cubicBezTo>
                  <a:cubicBezTo>
                    <a:pt x="1596056" y="2953284"/>
                    <a:pt x="1628348" y="2881243"/>
                    <a:pt x="1628348" y="2801628"/>
                  </a:cubicBezTo>
                  <a:lnTo>
                    <a:pt x="1628348" y="2263432"/>
                  </a:lnTo>
                  <a:lnTo>
                    <a:pt x="1628348" y="1725313"/>
                  </a:lnTo>
                  <a:cubicBezTo>
                    <a:pt x="1628348" y="1725274"/>
                    <a:pt x="1628348" y="1725274"/>
                    <a:pt x="1628348" y="1725236"/>
                  </a:cubicBezTo>
                  <a:cubicBezTo>
                    <a:pt x="1628348" y="1725197"/>
                    <a:pt x="1628348" y="1725197"/>
                    <a:pt x="1628348" y="1725159"/>
                  </a:cubicBezTo>
                  <a:lnTo>
                    <a:pt x="1628348" y="1702478"/>
                  </a:lnTo>
                  <a:lnTo>
                    <a:pt x="1628348" y="1679797"/>
                  </a:lnTo>
                  <a:cubicBezTo>
                    <a:pt x="1646839" y="1703247"/>
                    <a:pt x="1670289" y="1722622"/>
                    <a:pt x="1697122" y="1736115"/>
                  </a:cubicBezTo>
                  <a:cubicBezTo>
                    <a:pt x="1723955" y="1749609"/>
                    <a:pt x="1754170" y="1757220"/>
                    <a:pt x="1786193" y="1757220"/>
                  </a:cubicBezTo>
                  <a:cubicBezTo>
                    <a:pt x="1786847" y="1757220"/>
                    <a:pt x="1787461" y="1757220"/>
                    <a:pt x="1788115" y="1757220"/>
                  </a:cubicBezTo>
                  <a:cubicBezTo>
                    <a:pt x="1788769" y="1757220"/>
                    <a:pt x="1789384" y="1757220"/>
                    <a:pt x="1790037" y="1757182"/>
                  </a:cubicBezTo>
                  <a:cubicBezTo>
                    <a:pt x="1845779" y="1756144"/>
                    <a:pt x="1895793" y="1732617"/>
                    <a:pt x="1931621" y="1695443"/>
                  </a:cubicBezTo>
                  <a:cubicBezTo>
                    <a:pt x="1967450" y="1658269"/>
                    <a:pt x="1989093" y="1607371"/>
                    <a:pt x="1988055" y="1551668"/>
                  </a:cubicBezTo>
                  <a:cubicBezTo>
                    <a:pt x="1975715" y="889955"/>
                    <a:pt x="1927585" y="518370"/>
                    <a:pt x="1861233" y="305552"/>
                  </a:cubicBezTo>
                  <a:cubicBezTo>
                    <a:pt x="1794881" y="92733"/>
                    <a:pt x="1710423" y="38683"/>
                    <a:pt x="1625465" y="11966"/>
                  </a:cubicBezTo>
                  <a:cubicBezTo>
                    <a:pt x="1594980" y="2393"/>
                    <a:pt x="1565148" y="-1066"/>
                    <a:pt x="1536585" y="27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76EB2041-C8DF-4773-9251-E38E93922374}"/>
                </a:ext>
              </a:extLst>
            </p:cNvPr>
            <p:cNvSpPr/>
            <p:nvPr/>
          </p:nvSpPr>
          <p:spPr>
            <a:xfrm>
              <a:off x="-3541246" y="2609288"/>
              <a:ext cx="1176265" cy="1176265"/>
            </a:xfrm>
            <a:custGeom>
              <a:avLst/>
              <a:gdLst>
                <a:gd name="connsiteX0" fmla="*/ 1176266 w 1176265"/>
                <a:gd name="connsiteY0" fmla="*/ 588133 h 1176265"/>
                <a:gd name="connsiteX1" fmla="*/ 588133 w 1176265"/>
                <a:gd name="connsiteY1" fmla="*/ 1176266 h 1176265"/>
                <a:gd name="connsiteX2" fmla="*/ 0 w 1176265"/>
                <a:gd name="connsiteY2" fmla="*/ 588133 h 1176265"/>
                <a:gd name="connsiteX3" fmla="*/ 588133 w 1176265"/>
                <a:gd name="connsiteY3" fmla="*/ 0 h 1176265"/>
                <a:gd name="connsiteX4" fmla="*/ 1176266 w 1176265"/>
                <a:gd name="connsiteY4" fmla="*/ 588133 h 117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6265" h="1176265">
                  <a:moveTo>
                    <a:pt x="1176266" y="588133"/>
                  </a:moveTo>
                  <a:cubicBezTo>
                    <a:pt x="1176266" y="912950"/>
                    <a:pt x="912950" y="1176266"/>
                    <a:pt x="588133" y="1176266"/>
                  </a:cubicBezTo>
                  <a:cubicBezTo>
                    <a:pt x="263316" y="1176266"/>
                    <a:pt x="0" y="912950"/>
                    <a:pt x="0" y="588133"/>
                  </a:cubicBezTo>
                  <a:cubicBezTo>
                    <a:pt x="0" y="263316"/>
                    <a:pt x="263316" y="0"/>
                    <a:pt x="588133" y="0"/>
                  </a:cubicBezTo>
                  <a:cubicBezTo>
                    <a:pt x="912950" y="0"/>
                    <a:pt x="1176266" y="263316"/>
                    <a:pt x="1176266" y="5881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234503FE-F435-440A-ACF0-8A2C8FD6EF0E}"/>
                </a:ext>
              </a:extLst>
            </p:cNvPr>
            <p:cNvSpPr/>
            <p:nvPr/>
          </p:nvSpPr>
          <p:spPr>
            <a:xfrm>
              <a:off x="-1697617" y="2605328"/>
              <a:ext cx="956528" cy="4223685"/>
            </a:xfrm>
            <a:custGeom>
              <a:avLst/>
              <a:gdLst>
                <a:gd name="connsiteX0" fmla="*/ 956528 w 956528"/>
                <a:gd name="connsiteY0" fmla="*/ 4223686 h 4223685"/>
                <a:gd name="connsiteX1" fmla="*/ 956528 w 956528"/>
                <a:gd name="connsiteY1" fmla="*/ 0 h 4223685"/>
                <a:gd name="connsiteX2" fmla="*/ 900248 w 956528"/>
                <a:gd name="connsiteY2" fmla="*/ 0 h 4223685"/>
                <a:gd name="connsiteX3" fmla="*/ 900248 w 956528"/>
                <a:gd name="connsiteY3" fmla="*/ 4167445 h 4223685"/>
                <a:gd name="connsiteX4" fmla="*/ 56280 w 956528"/>
                <a:gd name="connsiteY4" fmla="*/ 4167445 h 4223685"/>
                <a:gd name="connsiteX5" fmla="*/ 56280 w 956528"/>
                <a:gd name="connsiteY5" fmla="*/ 3998643 h 4223685"/>
                <a:gd name="connsiteX6" fmla="*/ 337603 w 956528"/>
                <a:gd name="connsiteY6" fmla="*/ 3998643 h 4223685"/>
                <a:gd name="connsiteX7" fmla="*/ 337603 w 956528"/>
                <a:gd name="connsiteY7" fmla="*/ 3942363 h 4223685"/>
                <a:gd name="connsiteX8" fmla="*/ 56280 w 956528"/>
                <a:gd name="connsiteY8" fmla="*/ 3942363 h 4223685"/>
                <a:gd name="connsiteX9" fmla="*/ 56280 w 956528"/>
                <a:gd name="connsiteY9" fmla="*/ 3773562 h 4223685"/>
                <a:gd name="connsiteX10" fmla="*/ 337603 w 956528"/>
                <a:gd name="connsiteY10" fmla="*/ 3773562 h 4223685"/>
                <a:gd name="connsiteX11" fmla="*/ 337603 w 956528"/>
                <a:gd name="connsiteY11" fmla="*/ 3717321 h 4223685"/>
                <a:gd name="connsiteX12" fmla="*/ 56280 w 956528"/>
                <a:gd name="connsiteY12" fmla="*/ 3717321 h 4223685"/>
                <a:gd name="connsiteX13" fmla="*/ 56280 w 956528"/>
                <a:gd name="connsiteY13" fmla="*/ 3548519 h 4223685"/>
                <a:gd name="connsiteX14" fmla="*/ 337603 w 956528"/>
                <a:gd name="connsiteY14" fmla="*/ 3548519 h 4223685"/>
                <a:gd name="connsiteX15" fmla="*/ 337603 w 956528"/>
                <a:gd name="connsiteY15" fmla="*/ 3492239 h 4223685"/>
                <a:gd name="connsiteX16" fmla="*/ 56280 w 956528"/>
                <a:gd name="connsiteY16" fmla="*/ 3492239 h 4223685"/>
                <a:gd name="connsiteX17" fmla="*/ 56280 w 956528"/>
                <a:gd name="connsiteY17" fmla="*/ 3323438 h 4223685"/>
                <a:gd name="connsiteX18" fmla="*/ 675205 w 956528"/>
                <a:gd name="connsiteY18" fmla="*/ 3323438 h 4223685"/>
                <a:gd name="connsiteX19" fmla="*/ 675205 w 956528"/>
                <a:gd name="connsiteY19" fmla="*/ 3267158 h 4223685"/>
                <a:gd name="connsiteX20" fmla="*/ 56280 w 956528"/>
                <a:gd name="connsiteY20" fmla="*/ 3267158 h 4223685"/>
                <a:gd name="connsiteX21" fmla="*/ 56280 w 956528"/>
                <a:gd name="connsiteY21" fmla="*/ 3098395 h 4223685"/>
                <a:gd name="connsiteX22" fmla="*/ 337603 w 956528"/>
                <a:gd name="connsiteY22" fmla="*/ 3098395 h 4223685"/>
                <a:gd name="connsiteX23" fmla="*/ 337603 w 956528"/>
                <a:gd name="connsiteY23" fmla="*/ 3042115 h 4223685"/>
                <a:gd name="connsiteX24" fmla="*/ 56280 w 956528"/>
                <a:gd name="connsiteY24" fmla="*/ 3042115 h 4223685"/>
                <a:gd name="connsiteX25" fmla="*/ 56280 w 956528"/>
                <a:gd name="connsiteY25" fmla="*/ 2873314 h 4223685"/>
                <a:gd name="connsiteX26" fmla="*/ 337603 w 956528"/>
                <a:gd name="connsiteY26" fmla="*/ 2873314 h 4223685"/>
                <a:gd name="connsiteX27" fmla="*/ 337603 w 956528"/>
                <a:gd name="connsiteY27" fmla="*/ 2817034 h 4223685"/>
                <a:gd name="connsiteX28" fmla="*/ 56280 w 956528"/>
                <a:gd name="connsiteY28" fmla="*/ 2817034 h 4223685"/>
                <a:gd name="connsiteX29" fmla="*/ 56280 w 956528"/>
                <a:gd name="connsiteY29" fmla="*/ 2648233 h 4223685"/>
                <a:gd name="connsiteX30" fmla="*/ 337603 w 956528"/>
                <a:gd name="connsiteY30" fmla="*/ 2648233 h 4223685"/>
                <a:gd name="connsiteX31" fmla="*/ 337603 w 956528"/>
                <a:gd name="connsiteY31" fmla="*/ 2591991 h 4223685"/>
                <a:gd name="connsiteX32" fmla="*/ 56280 w 956528"/>
                <a:gd name="connsiteY32" fmla="*/ 2591991 h 4223685"/>
                <a:gd name="connsiteX33" fmla="*/ 56280 w 956528"/>
                <a:gd name="connsiteY33" fmla="*/ 2423190 h 4223685"/>
                <a:gd name="connsiteX34" fmla="*/ 675205 w 956528"/>
                <a:gd name="connsiteY34" fmla="*/ 2423190 h 4223685"/>
                <a:gd name="connsiteX35" fmla="*/ 675205 w 956528"/>
                <a:gd name="connsiteY35" fmla="*/ 2366909 h 4223685"/>
                <a:gd name="connsiteX36" fmla="*/ 56280 w 956528"/>
                <a:gd name="connsiteY36" fmla="*/ 2366909 h 4223685"/>
                <a:gd name="connsiteX37" fmla="*/ 56280 w 956528"/>
                <a:gd name="connsiteY37" fmla="*/ 2198108 h 4223685"/>
                <a:gd name="connsiteX38" fmla="*/ 337603 w 956528"/>
                <a:gd name="connsiteY38" fmla="*/ 2198108 h 4223685"/>
                <a:gd name="connsiteX39" fmla="*/ 337603 w 956528"/>
                <a:gd name="connsiteY39" fmla="*/ 2141867 h 4223685"/>
                <a:gd name="connsiteX40" fmla="*/ 56280 w 956528"/>
                <a:gd name="connsiteY40" fmla="*/ 2141867 h 4223685"/>
                <a:gd name="connsiteX41" fmla="*/ 56280 w 956528"/>
                <a:gd name="connsiteY41" fmla="*/ 1973065 h 4223685"/>
                <a:gd name="connsiteX42" fmla="*/ 337603 w 956528"/>
                <a:gd name="connsiteY42" fmla="*/ 1973065 h 4223685"/>
                <a:gd name="connsiteX43" fmla="*/ 337603 w 956528"/>
                <a:gd name="connsiteY43" fmla="*/ 1916785 h 4223685"/>
                <a:gd name="connsiteX44" fmla="*/ 56280 w 956528"/>
                <a:gd name="connsiteY44" fmla="*/ 1916785 h 4223685"/>
                <a:gd name="connsiteX45" fmla="*/ 56280 w 956528"/>
                <a:gd name="connsiteY45" fmla="*/ 1747984 h 4223685"/>
                <a:gd name="connsiteX46" fmla="*/ 337603 w 956528"/>
                <a:gd name="connsiteY46" fmla="*/ 1747984 h 4223685"/>
                <a:gd name="connsiteX47" fmla="*/ 337603 w 956528"/>
                <a:gd name="connsiteY47" fmla="*/ 1691704 h 4223685"/>
                <a:gd name="connsiteX48" fmla="*/ 56280 w 956528"/>
                <a:gd name="connsiteY48" fmla="*/ 1691704 h 4223685"/>
                <a:gd name="connsiteX49" fmla="*/ 56280 w 956528"/>
                <a:gd name="connsiteY49" fmla="*/ 1522941 h 4223685"/>
                <a:gd name="connsiteX50" fmla="*/ 675205 w 956528"/>
                <a:gd name="connsiteY50" fmla="*/ 1522941 h 4223685"/>
                <a:gd name="connsiteX51" fmla="*/ 675205 w 956528"/>
                <a:gd name="connsiteY51" fmla="*/ 1466661 h 4223685"/>
                <a:gd name="connsiteX52" fmla="*/ 56280 w 956528"/>
                <a:gd name="connsiteY52" fmla="*/ 1466661 h 4223685"/>
                <a:gd name="connsiteX53" fmla="*/ 56280 w 956528"/>
                <a:gd name="connsiteY53" fmla="*/ 1297860 h 4223685"/>
                <a:gd name="connsiteX54" fmla="*/ 337603 w 956528"/>
                <a:gd name="connsiteY54" fmla="*/ 1297860 h 4223685"/>
                <a:gd name="connsiteX55" fmla="*/ 337603 w 956528"/>
                <a:gd name="connsiteY55" fmla="*/ 1241580 h 4223685"/>
                <a:gd name="connsiteX56" fmla="*/ 56280 w 956528"/>
                <a:gd name="connsiteY56" fmla="*/ 1241580 h 4223685"/>
                <a:gd name="connsiteX57" fmla="*/ 56280 w 956528"/>
                <a:gd name="connsiteY57" fmla="*/ 1072779 h 4223685"/>
                <a:gd name="connsiteX58" fmla="*/ 337603 w 956528"/>
                <a:gd name="connsiteY58" fmla="*/ 1072779 h 4223685"/>
                <a:gd name="connsiteX59" fmla="*/ 337603 w 956528"/>
                <a:gd name="connsiteY59" fmla="*/ 1016537 h 4223685"/>
                <a:gd name="connsiteX60" fmla="*/ 56280 w 956528"/>
                <a:gd name="connsiteY60" fmla="*/ 1016537 h 4223685"/>
                <a:gd name="connsiteX61" fmla="*/ 56280 w 956528"/>
                <a:gd name="connsiteY61" fmla="*/ 847736 h 4223685"/>
                <a:gd name="connsiteX62" fmla="*/ 337603 w 956528"/>
                <a:gd name="connsiteY62" fmla="*/ 847736 h 4223685"/>
                <a:gd name="connsiteX63" fmla="*/ 337603 w 956528"/>
                <a:gd name="connsiteY63" fmla="*/ 791456 h 4223685"/>
                <a:gd name="connsiteX64" fmla="*/ 56280 w 956528"/>
                <a:gd name="connsiteY64" fmla="*/ 791456 h 4223685"/>
                <a:gd name="connsiteX65" fmla="*/ 56280 w 956528"/>
                <a:gd name="connsiteY65" fmla="*/ 622654 h 4223685"/>
                <a:gd name="connsiteX66" fmla="*/ 675205 w 956528"/>
                <a:gd name="connsiteY66" fmla="*/ 622654 h 4223685"/>
                <a:gd name="connsiteX67" fmla="*/ 675205 w 956528"/>
                <a:gd name="connsiteY67" fmla="*/ 566413 h 4223685"/>
                <a:gd name="connsiteX68" fmla="*/ 56280 w 956528"/>
                <a:gd name="connsiteY68" fmla="*/ 566413 h 4223685"/>
                <a:gd name="connsiteX69" fmla="*/ 56280 w 956528"/>
                <a:gd name="connsiteY69" fmla="*/ 397612 h 4223685"/>
                <a:gd name="connsiteX70" fmla="*/ 337603 w 956528"/>
                <a:gd name="connsiteY70" fmla="*/ 397612 h 4223685"/>
                <a:gd name="connsiteX71" fmla="*/ 337603 w 956528"/>
                <a:gd name="connsiteY71" fmla="*/ 341332 h 4223685"/>
                <a:gd name="connsiteX72" fmla="*/ 56280 w 956528"/>
                <a:gd name="connsiteY72" fmla="*/ 341332 h 4223685"/>
                <a:gd name="connsiteX73" fmla="*/ 56280 w 956528"/>
                <a:gd name="connsiteY73" fmla="*/ 172530 h 4223685"/>
                <a:gd name="connsiteX74" fmla="*/ 337603 w 956528"/>
                <a:gd name="connsiteY74" fmla="*/ 172530 h 4223685"/>
                <a:gd name="connsiteX75" fmla="*/ 337603 w 956528"/>
                <a:gd name="connsiteY75" fmla="*/ 116250 h 4223685"/>
                <a:gd name="connsiteX76" fmla="*/ 56280 w 956528"/>
                <a:gd name="connsiteY76" fmla="*/ 116250 h 4223685"/>
                <a:gd name="connsiteX77" fmla="*/ 56280 w 956528"/>
                <a:gd name="connsiteY77" fmla="*/ 0 h 4223685"/>
                <a:gd name="connsiteX78" fmla="*/ 0 w 956528"/>
                <a:gd name="connsiteY78" fmla="*/ 0 h 4223685"/>
                <a:gd name="connsiteX79" fmla="*/ 0 w 956528"/>
                <a:gd name="connsiteY79" fmla="*/ 4223686 h 4223685"/>
                <a:gd name="connsiteX80" fmla="*/ 56280 w 956528"/>
                <a:gd name="connsiteY80" fmla="*/ 4223686 h 4223685"/>
                <a:gd name="connsiteX81" fmla="*/ 900248 w 956528"/>
                <a:gd name="connsiteY81" fmla="*/ 4223686 h 422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956528" h="4223685">
                  <a:moveTo>
                    <a:pt x="956528" y="4223686"/>
                  </a:moveTo>
                  <a:lnTo>
                    <a:pt x="956528" y="0"/>
                  </a:lnTo>
                  <a:lnTo>
                    <a:pt x="900248" y="0"/>
                  </a:lnTo>
                  <a:lnTo>
                    <a:pt x="900248" y="4167445"/>
                  </a:lnTo>
                  <a:lnTo>
                    <a:pt x="56280" y="4167445"/>
                  </a:lnTo>
                  <a:lnTo>
                    <a:pt x="56280" y="3998643"/>
                  </a:lnTo>
                  <a:lnTo>
                    <a:pt x="337603" y="3998643"/>
                  </a:lnTo>
                  <a:lnTo>
                    <a:pt x="337603" y="3942363"/>
                  </a:lnTo>
                  <a:lnTo>
                    <a:pt x="56280" y="3942363"/>
                  </a:lnTo>
                  <a:lnTo>
                    <a:pt x="56280" y="3773562"/>
                  </a:lnTo>
                  <a:lnTo>
                    <a:pt x="337603" y="3773562"/>
                  </a:lnTo>
                  <a:lnTo>
                    <a:pt x="337603" y="3717321"/>
                  </a:lnTo>
                  <a:lnTo>
                    <a:pt x="56280" y="3717321"/>
                  </a:lnTo>
                  <a:lnTo>
                    <a:pt x="56280" y="3548519"/>
                  </a:lnTo>
                  <a:lnTo>
                    <a:pt x="337603" y="3548519"/>
                  </a:lnTo>
                  <a:lnTo>
                    <a:pt x="337603" y="3492239"/>
                  </a:lnTo>
                  <a:lnTo>
                    <a:pt x="56280" y="3492239"/>
                  </a:lnTo>
                  <a:lnTo>
                    <a:pt x="56280" y="3323438"/>
                  </a:lnTo>
                  <a:lnTo>
                    <a:pt x="675205" y="3323438"/>
                  </a:lnTo>
                  <a:lnTo>
                    <a:pt x="675205" y="3267158"/>
                  </a:lnTo>
                  <a:lnTo>
                    <a:pt x="56280" y="3267158"/>
                  </a:lnTo>
                  <a:lnTo>
                    <a:pt x="56280" y="3098395"/>
                  </a:lnTo>
                  <a:lnTo>
                    <a:pt x="337603" y="3098395"/>
                  </a:lnTo>
                  <a:lnTo>
                    <a:pt x="337603" y="3042115"/>
                  </a:lnTo>
                  <a:lnTo>
                    <a:pt x="56280" y="3042115"/>
                  </a:lnTo>
                  <a:lnTo>
                    <a:pt x="56280" y="2873314"/>
                  </a:lnTo>
                  <a:lnTo>
                    <a:pt x="337603" y="2873314"/>
                  </a:lnTo>
                  <a:lnTo>
                    <a:pt x="337603" y="2817034"/>
                  </a:lnTo>
                  <a:lnTo>
                    <a:pt x="56280" y="2817034"/>
                  </a:lnTo>
                  <a:lnTo>
                    <a:pt x="56280" y="2648233"/>
                  </a:lnTo>
                  <a:lnTo>
                    <a:pt x="337603" y="2648233"/>
                  </a:lnTo>
                  <a:lnTo>
                    <a:pt x="337603" y="2591991"/>
                  </a:lnTo>
                  <a:lnTo>
                    <a:pt x="56280" y="2591991"/>
                  </a:lnTo>
                  <a:lnTo>
                    <a:pt x="56280" y="2423190"/>
                  </a:lnTo>
                  <a:lnTo>
                    <a:pt x="675205" y="2423190"/>
                  </a:lnTo>
                  <a:lnTo>
                    <a:pt x="675205" y="2366909"/>
                  </a:lnTo>
                  <a:lnTo>
                    <a:pt x="56280" y="2366909"/>
                  </a:lnTo>
                  <a:lnTo>
                    <a:pt x="56280" y="2198108"/>
                  </a:lnTo>
                  <a:lnTo>
                    <a:pt x="337603" y="2198108"/>
                  </a:lnTo>
                  <a:lnTo>
                    <a:pt x="337603" y="2141867"/>
                  </a:lnTo>
                  <a:lnTo>
                    <a:pt x="56280" y="2141867"/>
                  </a:lnTo>
                  <a:lnTo>
                    <a:pt x="56280" y="1973065"/>
                  </a:lnTo>
                  <a:lnTo>
                    <a:pt x="337603" y="1973065"/>
                  </a:lnTo>
                  <a:lnTo>
                    <a:pt x="337603" y="1916785"/>
                  </a:lnTo>
                  <a:lnTo>
                    <a:pt x="56280" y="1916785"/>
                  </a:lnTo>
                  <a:lnTo>
                    <a:pt x="56280" y="1747984"/>
                  </a:lnTo>
                  <a:lnTo>
                    <a:pt x="337603" y="1747984"/>
                  </a:lnTo>
                  <a:lnTo>
                    <a:pt x="337603" y="1691704"/>
                  </a:lnTo>
                  <a:lnTo>
                    <a:pt x="56280" y="1691704"/>
                  </a:lnTo>
                  <a:lnTo>
                    <a:pt x="56280" y="1522941"/>
                  </a:lnTo>
                  <a:lnTo>
                    <a:pt x="675205" y="1522941"/>
                  </a:lnTo>
                  <a:lnTo>
                    <a:pt x="675205" y="1466661"/>
                  </a:lnTo>
                  <a:lnTo>
                    <a:pt x="56280" y="1466661"/>
                  </a:lnTo>
                  <a:lnTo>
                    <a:pt x="56280" y="1297860"/>
                  </a:lnTo>
                  <a:lnTo>
                    <a:pt x="337603" y="1297860"/>
                  </a:lnTo>
                  <a:lnTo>
                    <a:pt x="337603" y="1241580"/>
                  </a:lnTo>
                  <a:lnTo>
                    <a:pt x="56280" y="1241580"/>
                  </a:lnTo>
                  <a:lnTo>
                    <a:pt x="56280" y="1072779"/>
                  </a:lnTo>
                  <a:lnTo>
                    <a:pt x="337603" y="1072779"/>
                  </a:lnTo>
                  <a:lnTo>
                    <a:pt x="337603" y="1016537"/>
                  </a:lnTo>
                  <a:lnTo>
                    <a:pt x="56280" y="1016537"/>
                  </a:lnTo>
                  <a:lnTo>
                    <a:pt x="56280" y="847736"/>
                  </a:lnTo>
                  <a:lnTo>
                    <a:pt x="337603" y="847736"/>
                  </a:lnTo>
                  <a:lnTo>
                    <a:pt x="337603" y="791456"/>
                  </a:lnTo>
                  <a:lnTo>
                    <a:pt x="56280" y="791456"/>
                  </a:lnTo>
                  <a:lnTo>
                    <a:pt x="56280" y="622654"/>
                  </a:lnTo>
                  <a:lnTo>
                    <a:pt x="675205" y="622654"/>
                  </a:lnTo>
                  <a:lnTo>
                    <a:pt x="675205" y="566413"/>
                  </a:lnTo>
                  <a:lnTo>
                    <a:pt x="56280" y="566413"/>
                  </a:lnTo>
                  <a:lnTo>
                    <a:pt x="56280" y="397612"/>
                  </a:lnTo>
                  <a:lnTo>
                    <a:pt x="337603" y="397612"/>
                  </a:lnTo>
                  <a:lnTo>
                    <a:pt x="337603" y="341332"/>
                  </a:lnTo>
                  <a:lnTo>
                    <a:pt x="56280" y="341332"/>
                  </a:lnTo>
                  <a:lnTo>
                    <a:pt x="56280" y="172530"/>
                  </a:lnTo>
                  <a:lnTo>
                    <a:pt x="337603" y="172530"/>
                  </a:lnTo>
                  <a:lnTo>
                    <a:pt x="337603" y="116250"/>
                  </a:lnTo>
                  <a:lnTo>
                    <a:pt x="56280" y="116250"/>
                  </a:lnTo>
                  <a:lnTo>
                    <a:pt x="56280" y="0"/>
                  </a:lnTo>
                  <a:lnTo>
                    <a:pt x="0" y="0"/>
                  </a:lnTo>
                  <a:lnTo>
                    <a:pt x="0" y="4223686"/>
                  </a:lnTo>
                  <a:lnTo>
                    <a:pt x="56280" y="4223686"/>
                  </a:lnTo>
                  <a:lnTo>
                    <a:pt x="900248" y="42236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6652EC29-83CC-46B7-ABFB-6512789119ED}"/>
                </a:ext>
              </a:extLst>
            </p:cNvPr>
            <p:cNvSpPr/>
            <p:nvPr/>
          </p:nvSpPr>
          <p:spPr>
            <a:xfrm>
              <a:off x="-1697617" y="1719597"/>
              <a:ext cx="337603" cy="538326"/>
            </a:xfrm>
            <a:custGeom>
              <a:avLst/>
              <a:gdLst>
                <a:gd name="connsiteX0" fmla="*/ 0 w 337603"/>
                <a:gd name="connsiteY0" fmla="*/ 0 h 538326"/>
                <a:gd name="connsiteX1" fmla="*/ 56280 w 337603"/>
                <a:gd name="connsiteY1" fmla="*/ 0 h 538326"/>
                <a:gd name="connsiteX2" fmla="*/ 56280 w 337603"/>
                <a:gd name="connsiteY2" fmla="*/ 101734 h 538326"/>
                <a:gd name="connsiteX3" fmla="*/ 337603 w 337603"/>
                <a:gd name="connsiteY3" fmla="*/ 101734 h 538326"/>
                <a:gd name="connsiteX4" fmla="*/ 337603 w 337603"/>
                <a:gd name="connsiteY4" fmla="*/ 158014 h 538326"/>
                <a:gd name="connsiteX5" fmla="*/ 56280 w 337603"/>
                <a:gd name="connsiteY5" fmla="*/ 158014 h 538326"/>
                <a:gd name="connsiteX6" fmla="*/ 56280 w 337603"/>
                <a:gd name="connsiteY6" fmla="*/ 326815 h 538326"/>
                <a:gd name="connsiteX7" fmla="*/ 337603 w 337603"/>
                <a:gd name="connsiteY7" fmla="*/ 326815 h 538326"/>
                <a:gd name="connsiteX8" fmla="*/ 337603 w 337603"/>
                <a:gd name="connsiteY8" fmla="*/ 383056 h 538326"/>
                <a:gd name="connsiteX9" fmla="*/ 56280 w 337603"/>
                <a:gd name="connsiteY9" fmla="*/ 383056 h 538326"/>
                <a:gd name="connsiteX10" fmla="*/ 56280 w 337603"/>
                <a:gd name="connsiteY10" fmla="*/ 538326 h 538326"/>
                <a:gd name="connsiteX11" fmla="*/ 0 w 337603"/>
                <a:gd name="connsiteY11" fmla="*/ 538326 h 538326"/>
                <a:gd name="connsiteX12" fmla="*/ 0 w 337603"/>
                <a:gd name="connsiteY12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7603" h="538326">
                  <a:moveTo>
                    <a:pt x="0" y="0"/>
                  </a:moveTo>
                  <a:lnTo>
                    <a:pt x="56280" y="0"/>
                  </a:lnTo>
                  <a:lnTo>
                    <a:pt x="56280" y="101734"/>
                  </a:lnTo>
                  <a:lnTo>
                    <a:pt x="337603" y="101734"/>
                  </a:lnTo>
                  <a:lnTo>
                    <a:pt x="337603" y="158014"/>
                  </a:lnTo>
                  <a:lnTo>
                    <a:pt x="56280" y="158014"/>
                  </a:lnTo>
                  <a:lnTo>
                    <a:pt x="56280" y="326815"/>
                  </a:lnTo>
                  <a:lnTo>
                    <a:pt x="337603" y="326815"/>
                  </a:lnTo>
                  <a:lnTo>
                    <a:pt x="337603" y="383056"/>
                  </a:lnTo>
                  <a:lnTo>
                    <a:pt x="56280" y="383056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2A464E85-F5E5-4421-A180-E4F79239014F}"/>
                </a:ext>
              </a:extLst>
            </p:cNvPr>
            <p:cNvSpPr/>
            <p:nvPr/>
          </p:nvSpPr>
          <p:spPr>
            <a:xfrm>
              <a:off x="-797368" y="1719597"/>
              <a:ext cx="56280" cy="538326"/>
            </a:xfrm>
            <a:custGeom>
              <a:avLst/>
              <a:gdLst>
                <a:gd name="connsiteX0" fmla="*/ 0 w 56280"/>
                <a:gd name="connsiteY0" fmla="*/ 0 h 538326"/>
                <a:gd name="connsiteX1" fmla="*/ 56280 w 56280"/>
                <a:gd name="connsiteY1" fmla="*/ 0 h 538326"/>
                <a:gd name="connsiteX2" fmla="*/ 56280 w 56280"/>
                <a:gd name="connsiteY2" fmla="*/ 538326 h 538326"/>
                <a:gd name="connsiteX3" fmla="*/ 0 w 56280"/>
                <a:gd name="connsiteY3" fmla="*/ 538326 h 538326"/>
                <a:gd name="connsiteX4" fmla="*/ 0 w 56280"/>
                <a:gd name="connsiteY4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80" h="538326">
                  <a:moveTo>
                    <a:pt x="0" y="0"/>
                  </a:moveTo>
                  <a:lnTo>
                    <a:pt x="56280" y="0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</p:grpSp>
      <p:sp>
        <p:nvSpPr>
          <p:cNvPr id="59" name="Round Same-side Corner of Rectangle 79">
            <a:extLst>
              <a:ext uri="{FF2B5EF4-FFF2-40B4-BE49-F238E27FC236}">
                <a16:creationId xmlns:a16="http://schemas.microsoft.com/office/drawing/2014/main" id="{F2AC887C-6D55-4105-97D8-EBE9DBC7A6A3}"/>
              </a:ext>
            </a:extLst>
          </p:cNvPr>
          <p:cNvSpPr/>
          <p:nvPr userDrawn="1"/>
        </p:nvSpPr>
        <p:spPr>
          <a:xfrm rot="5400000">
            <a:off x="10613117" y="550943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0" name="TextBox 59">
            <a:hlinkClick r:id="" action="ppaction://noaction"/>
            <a:extLst>
              <a:ext uri="{FF2B5EF4-FFF2-40B4-BE49-F238E27FC236}">
                <a16:creationId xmlns:a16="http://schemas.microsoft.com/office/drawing/2014/main" id="{6C6BDEC3-98A8-4C7A-A01F-89A427F9AECF}"/>
              </a:ext>
            </a:extLst>
          </p:cNvPr>
          <p:cNvSpPr txBox="1"/>
          <p:nvPr userDrawn="1"/>
        </p:nvSpPr>
        <p:spPr>
          <a:xfrm>
            <a:off x="10870644" y="555078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61" name="Round Same-side Corner of Rectangle 79">
            <a:extLst>
              <a:ext uri="{FF2B5EF4-FFF2-40B4-BE49-F238E27FC236}">
                <a16:creationId xmlns:a16="http://schemas.microsoft.com/office/drawing/2014/main" id="{1F9359E6-FB68-4A9E-BC78-FA6CC7376C4E}"/>
              </a:ext>
            </a:extLst>
          </p:cNvPr>
          <p:cNvSpPr/>
          <p:nvPr userDrawn="1"/>
        </p:nvSpPr>
        <p:spPr>
          <a:xfrm rot="5400000">
            <a:off x="10613117" y="5784862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2" name="TextBox 61">
            <a:hlinkClick r:id="" action="ppaction://noaction"/>
            <a:extLst>
              <a:ext uri="{FF2B5EF4-FFF2-40B4-BE49-F238E27FC236}">
                <a16:creationId xmlns:a16="http://schemas.microsoft.com/office/drawing/2014/main" id="{358CF7EC-0809-43A5-8D5D-2F00677BF841}"/>
              </a:ext>
            </a:extLst>
          </p:cNvPr>
          <p:cNvSpPr txBox="1"/>
          <p:nvPr userDrawn="1"/>
        </p:nvSpPr>
        <p:spPr>
          <a:xfrm>
            <a:off x="10870644" y="5826211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73" name="Freeform 25">
            <a:extLst>
              <a:ext uri="{FF2B5EF4-FFF2-40B4-BE49-F238E27FC236}">
                <a16:creationId xmlns:a16="http://schemas.microsoft.com/office/drawing/2014/main" id="{6E6EF5CA-1733-4049-837C-6B459F5FD22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5549100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74" name="Round Same-side Corner of Rectangle 79">
            <a:extLst>
              <a:ext uri="{FF2B5EF4-FFF2-40B4-BE49-F238E27FC236}">
                <a16:creationId xmlns:a16="http://schemas.microsoft.com/office/drawing/2014/main" id="{205F382D-61BD-4DD7-99B8-6F310C36DDA4}"/>
              </a:ext>
            </a:extLst>
          </p:cNvPr>
          <p:cNvSpPr/>
          <p:nvPr userDrawn="1"/>
        </p:nvSpPr>
        <p:spPr>
          <a:xfrm rot="5400000">
            <a:off x="10615976" y="606635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75" name="TextBox 74">
            <a:hlinkClick r:id="" action="ppaction://noaction"/>
            <a:extLst>
              <a:ext uri="{FF2B5EF4-FFF2-40B4-BE49-F238E27FC236}">
                <a16:creationId xmlns:a16="http://schemas.microsoft.com/office/drawing/2014/main" id="{B2CCD14F-CD14-492E-8F91-2D31799C3F76}"/>
              </a:ext>
            </a:extLst>
          </p:cNvPr>
          <p:cNvSpPr txBox="1"/>
          <p:nvPr userDrawn="1"/>
        </p:nvSpPr>
        <p:spPr>
          <a:xfrm>
            <a:off x="10873503" y="6107704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76" name="Freeform 21">
            <a:extLst>
              <a:ext uri="{FF2B5EF4-FFF2-40B4-BE49-F238E27FC236}">
                <a16:creationId xmlns:a16="http://schemas.microsoft.com/office/drawing/2014/main" id="{ED35CB87-8D5B-4C5E-BDF3-52799907EEA5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6115929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77" name="Graphic 28" descr="List">
            <a:extLst>
              <a:ext uri="{FF2B5EF4-FFF2-40B4-BE49-F238E27FC236}">
                <a16:creationId xmlns:a16="http://schemas.microsoft.com/office/drawing/2014/main" id="{43944469-9E25-4E56-BAC1-1D9B70410446}"/>
              </a:ext>
            </a:extLst>
          </p:cNvPr>
          <p:cNvGrpSpPr/>
          <p:nvPr userDrawn="1"/>
        </p:nvGrpSpPr>
        <p:grpSpPr>
          <a:xfrm>
            <a:off x="10657446" y="5818069"/>
            <a:ext cx="103548" cy="146640"/>
            <a:chOff x="981871" y="1231905"/>
            <a:chExt cx="246063" cy="317501"/>
          </a:xfrm>
        </p:grpSpPr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08C29916-0007-4147-B871-A8906F4CDD39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0D4A82E1-2DD2-4711-A4E9-0889F06DC009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49F2AF43-5CA9-4601-A907-6C7AE787E3AB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7DCAA823-47C2-4506-93DD-E6749A8F0F06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19A1D074-64C0-416D-8F0C-C39DBFA97134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850C3FFC-FB35-4EA0-AAF1-5E003CADE28E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90778269-B000-4836-BE7D-7E39EB10DFBB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0862080C-60A9-44F9-ADD1-1A93A837AF70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4A7075E9-C870-4D75-9311-1753F5E00E66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80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C6D87FD0-571C-4EE7-93FF-4228ACB147D2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501C3BFA-EAB9-4974-9C69-65FE216A8069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A1FBFFD2-A002-4AF0-B486-940527867AFF}"/>
              </a:ext>
            </a:extLst>
          </p:cNvPr>
          <p:cNvSpPr/>
          <p:nvPr userDrawn="1"/>
        </p:nvSpPr>
        <p:spPr>
          <a:xfrm rot="5400000">
            <a:off x="11280167" y="4840571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0CC96846-6250-4C2F-8434-EE23121AB31F}"/>
              </a:ext>
            </a:extLst>
          </p:cNvPr>
          <p:cNvSpPr/>
          <p:nvPr userDrawn="1"/>
        </p:nvSpPr>
        <p:spPr>
          <a:xfrm rot="5400000">
            <a:off x="11280167" y="5116475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7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3B194BE6-5AAB-4BC0-ACB4-B8282A1AFE81}"/>
              </a:ext>
            </a:extLst>
          </p:cNvPr>
          <p:cNvSpPr/>
          <p:nvPr userDrawn="1"/>
        </p:nvSpPr>
        <p:spPr>
          <a:xfrm rot="5400000">
            <a:off x="11280167" y="5392379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9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AE9E3224-53A5-4800-8D6C-B5DCACB368F2}"/>
              </a:ext>
            </a:extLst>
          </p:cNvPr>
          <p:cNvSpPr/>
          <p:nvPr userDrawn="1"/>
        </p:nvSpPr>
        <p:spPr>
          <a:xfrm rot="5400000">
            <a:off x="11473096" y="1472755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0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5DC4879B-094A-4655-B333-B8CB7E5594CF}"/>
              </a:ext>
            </a:extLst>
          </p:cNvPr>
          <p:cNvSpPr/>
          <p:nvPr userDrawn="1"/>
        </p:nvSpPr>
        <p:spPr>
          <a:xfrm rot="5400000">
            <a:off x="11473096" y="192820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1" name="Round Same-side Corner of Rectangle 79">
            <a:hlinkClick r:id="rId5" action="ppaction://hlinksldjump"/>
            <a:extLst>
              <a:ext uri="{FF2B5EF4-FFF2-40B4-BE49-F238E27FC236}">
                <a16:creationId xmlns:a16="http://schemas.microsoft.com/office/drawing/2014/main" id="{FF457C6F-4B2A-43C2-BDD3-D04F8D19DB0C}"/>
              </a:ext>
            </a:extLst>
          </p:cNvPr>
          <p:cNvSpPr/>
          <p:nvPr userDrawn="1"/>
        </p:nvSpPr>
        <p:spPr>
          <a:xfrm rot="5400000">
            <a:off x="11473096" y="2380734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2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BF2274DE-336C-4C50-AC9C-C0DBAA2086DF}"/>
              </a:ext>
            </a:extLst>
          </p:cNvPr>
          <p:cNvSpPr/>
          <p:nvPr userDrawn="1"/>
        </p:nvSpPr>
        <p:spPr>
          <a:xfrm rot="5400000">
            <a:off x="11473096" y="2833262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7D3E8DAE-8578-4AF8-97A8-04D7532EB2AF}"/>
              </a:ext>
            </a:extLst>
          </p:cNvPr>
          <p:cNvSpPr/>
          <p:nvPr userDrawn="1"/>
        </p:nvSpPr>
        <p:spPr>
          <a:xfrm rot="5400000">
            <a:off x="11473096" y="3285790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783BA67D-C992-4048-98F1-F5DB326A9A19}"/>
              </a:ext>
            </a:extLst>
          </p:cNvPr>
          <p:cNvSpPr/>
          <p:nvPr userDrawn="1"/>
        </p:nvSpPr>
        <p:spPr>
          <a:xfrm rot="5400000">
            <a:off x="11473096" y="3738318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A5564DC2-385B-4C62-A426-71CFD6254B4F}"/>
              </a:ext>
            </a:extLst>
          </p:cNvPr>
          <p:cNvSpPr/>
          <p:nvPr userDrawn="1"/>
        </p:nvSpPr>
        <p:spPr>
          <a:xfrm rot="5400000">
            <a:off x="11473096" y="419084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6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C0678141-AD2D-4C91-AEDF-9DB503E9F577}"/>
              </a:ext>
            </a:extLst>
          </p:cNvPr>
          <p:cNvSpPr/>
          <p:nvPr userDrawn="1"/>
        </p:nvSpPr>
        <p:spPr>
          <a:xfrm rot="5400000">
            <a:off x="11283961" y="4454241"/>
            <a:ext cx="349171" cy="1460557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5790655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llar 8 - Let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4" name="Round Same-side Corner of Rectangle 79">
            <a:extLst>
              <a:ext uri="{FF2B5EF4-FFF2-40B4-BE49-F238E27FC236}">
                <a16:creationId xmlns:a16="http://schemas.microsoft.com/office/drawing/2014/main" id="{429E155D-7E57-4822-8852-F94F1A49D6FC}"/>
              </a:ext>
            </a:extLst>
          </p:cNvPr>
          <p:cNvSpPr/>
          <p:nvPr userDrawn="1"/>
        </p:nvSpPr>
        <p:spPr>
          <a:xfrm rot="16200000">
            <a:off x="11219847" y="4496226"/>
            <a:ext cx="388777" cy="137124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2102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 b="1"/>
              <a:t>Pillar  </a:t>
            </a:r>
            <a:r>
              <a:rPr lang="en-US" sz="1600" b="1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70" name="Round Same-side Corner of Rectangle 79">
            <a:extLst>
              <a:ext uri="{FF2B5EF4-FFF2-40B4-BE49-F238E27FC236}">
                <a16:creationId xmlns:a16="http://schemas.microsoft.com/office/drawing/2014/main" id="{DA632258-7E89-4C63-86BD-EA679E94BCAB}"/>
              </a:ext>
            </a:extLst>
          </p:cNvPr>
          <p:cNvSpPr/>
          <p:nvPr userDrawn="1"/>
        </p:nvSpPr>
        <p:spPr>
          <a:xfrm rot="16200000">
            <a:off x="11384854" y="4208631"/>
            <a:ext cx="388777" cy="104122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7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1" name="Round Same-side Corner of Rectangle 79">
            <a:extLst>
              <a:ext uri="{FF2B5EF4-FFF2-40B4-BE49-F238E27FC236}">
                <a16:creationId xmlns:a16="http://schemas.microsoft.com/office/drawing/2014/main" id="{D4B93879-3513-4875-A1C4-5980915623CE}"/>
              </a:ext>
            </a:extLst>
          </p:cNvPr>
          <p:cNvSpPr/>
          <p:nvPr userDrawn="1"/>
        </p:nvSpPr>
        <p:spPr>
          <a:xfrm rot="16200000">
            <a:off x="11384854" y="3756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6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8" name="Round Same-side Corner of Rectangle 79">
            <a:extLst>
              <a:ext uri="{FF2B5EF4-FFF2-40B4-BE49-F238E27FC236}">
                <a16:creationId xmlns:a16="http://schemas.microsoft.com/office/drawing/2014/main" id="{312255C5-65A9-47AB-B67B-8924547FF7C2}"/>
              </a:ext>
            </a:extLst>
          </p:cNvPr>
          <p:cNvSpPr/>
          <p:nvPr userDrawn="1"/>
        </p:nvSpPr>
        <p:spPr>
          <a:xfrm rot="16200000">
            <a:off x="11384854" y="33034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5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9" name="Round Same-side Corner of Rectangle 79">
            <a:extLst>
              <a:ext uri="{FF2B5EF4-FFF2-40B4-BE49-F238E27FC236}">
                <a16:creationId xmlns:a16="http://schemas.microsoft.com/office/drawing/2014/main" id="{F23596D5-FD36-49E3-B746-F3D7A290DF3D}"/>
              </a:ext>
            </a:extLst>
          </p:cNvPr>
          <p:cNvSpPr/>
          <p:nvPr userDrawn="1"/>
        </p:nvSpPr>
        <p:spPr>
          <a:xfrm rot="16200000">
            <a:off x="11384853" y="28508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4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7" name="Round Same-side Corner of Rectangle 79">
            <a:extLst>
              <a:ext uri="{FF2B5EF4-FFF2-40B4-BE49-F238E27FC236}">
                <a16:creationId xmlns:a16="http://schemas.microsoft.com/office/drawing/2014/main" id="{059574F1-9FE9-480C-B4ED-14EFB4169B0E}"/>
              </a:ext>
            </a:extLst>
          </p:cNvPr>
          <p:cNvSpPr/>
          <p:nvPr userDrawn="1"/>
        </p:nvSpPr>
        <p:spPr>
          <a:xfrm rot="16200000">
            <a:off x="11384854" y="23982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3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8" name="Round Same-side Corner of Rectangle 79">
            <a:extLst>
              <a:ext uri="{FF2B5EF4-FFF2-40B4-BE49-F238E27FC236}">
                <a16:creationId xmlns:a16="http://schemas.microsoft.com/office/drawing/2014/main" id="{82236BCB-3538-4E87-B0C9-CACC40793A57}"/>
              </a:ext>
            </a:extLst>
          </p:cNvPr>
          <p:cNvSpPr/>
          <p:nvPr userDrawn="1"/>
        </p:nvSpPr>
        <p:spPr>
          <a:xfrm rot="16200000">
            <a:off x="11384854" y="19456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2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9" name="Round Same-side Corner of Rectangle 79">
            <a:extLst>
              <a:ext uri="{FF2B5EF4-FFF2-40B4-BE49-F238E27FC236}">
                <a16:creationId xmlns:a16="http://schemas.microsoft.com/office/drawing/2014/main" id="{61090AD0-0469-4342-901A-FC4BE401662F}"/>
              </a:ext>
            </a:extLst>
          </p:cNvPr>
          <p:cNvSpPr/>
          <p:nvPr userDrawn="1"/>
        </p:nvSpPr>
        <p:spPr>
          <a:xfrm rot="16200000">
            <a:off x="11384854" y="1493030"/>
            <a:ext cx="388777" cy="10412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/>
              <a:t>Pillar  </a:t>
            </a:r>
            <a:r>
              <a:rPr lang="en-US" sz="1200" b="1">
                <a:solidFill>
                  <a:schemeClr val="bg1"/>
                </a:solidFill>
              </a:rPr>
              <a:t>1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96" name="Round Same-side Corner of Rectangle 79">
            <a:extLst>
              <a:ext uri="{FF2B5EF4-FFF2-40B4-BE49-F238E27FC236}">
                <a16:creationId xmlns:a16="http://schemas.microsoft.com/office/drawing/2014/main" id="{75C801CE-9FCA-486D-96A7-6973FA449CCA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8" name="Round Same-side Corner of Rectangle 79">
            <a:extLst>
              <a:ext uri="{FF2B5EF4-FFF2-40B4-BE49-F238E27FC236}">
                <a16:creationId xmlns:a16="http://schemas.microsoft.com/office/drawing/2014/main" id="{B358AAFE-318C-4629-9F49-D9DBA46F85EC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06C69787-3D0D-4B22-B634-F358FE797E4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6706" y="918349"/>
            <a:ext cx="9963591" cy="5673283"/>
          </a:xfrm>
        </p:spPr>
        <p:txBody>
          <a:bodyPr/>
          <a:lstStyle>
            <a:lvl1pPr marL="0" indent="0">
              <a:spcBef>
                <a:spcPts val="1200"/>
              </a:spcBef>
              <a:buFontTx/>
              <a:buNone/>
              <a:defRPr sz="1799" b="1">
                <a:solidFill>
                  <a:schemeClr val="accent1">
                    <a:lumMod val="75000"/>
                  </a:schemeClr>
                </a:solidFill>
              </a:defRPr>
            </a:lvl1pPr>
            <a:lvl2pPr marL="230119" indent="-230119">
              <a:spcBef>
                <a:spcPts val="1200"/>
              </a:spcBef>
              <a:buFont typeface="+mj-lt"/>
              <a:buAutoNum type="alphaUcPeriod"/>
              <a:defRPr/>
            </a:lvl2pPr>
            <a:lvl3pPr marL="512609" indent="-171399">
              <a:spcBef>
                <a:spcPts val="600"/>
              </a:spcBef>
              <a:buFont typeface="+mj-lt"/>
              <a:buAutoNum type="romanLcPeriod"/>
              <a:defRPr sz="1300"/>
            </a:lvl3pPr>
            <a:lvl4pPr marL="798273" indent="-169812">
              <a:spcBef>
                <a:spcPts val="400"/>
              </a:spcBef>
              <a:buFont typeface="+mj-lt"/>
              <a:buAutoNum type="alphaLcPeriod"/>
              <a:defRPr sz="1300"/>
            </a:lvl4pPr>
            <a:lvl5pPr marL="1144245" indent="-115853">
              <a:spcBef>
                <a:spcPts val="2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2AA29EF-1A83-4920-8837-4ADB789F9454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795CF7A-A928-4BA8-8F3A-421AD587EC5F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4" name="Round Same-side Corner of Rectangle 79">
            <a:extLst>
              <a:ext uri="{FF2B5EF4-FFF2-40B4-BE49-F238E27FC236}">
                <a16:creationId xmlns:a16="http://schemas.microsoft.com/office/drawing/2014/main" id="{13CD620F-9E71-4D9D-BE7B-C381B93FC517}"/>
              </a:ext>
            </a:extLst>
          </p:cNvPr>
          <p:cNvSpPr/>
          <p:nvPr userDrawn="1"/>
        </p:nvSpPr>
        <p:spPr>
          <a:xfrm rot="16200000">
            <a:off x="11900597" y="5088007"/>
            <a:ext cx="388777" cy="18768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>
              <a:lumMod val="75000"/>
              <a:alpha val="59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16" tIns="45708" rIns="91416" bIns="1371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17" name="TextBox 16">
            <a:hlinkClick r:id="" action="ppaction://noaction"/>
            <a:extLst>
              <a:ext uri="{FF2B5EF4-FFF2-40B4-BE49-F238E27FC236}">
                <a16:creationId xmlns:a16="http://schemas.microsoft.com/office/drawing/2014/main" id="{06046C7F-3D34-407F-A063-EE1B54B39E0D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18" name="TextBox 17">
            <a:hlinkClick r:id="" action="ppaction://noaction"/>
            <a:extLst>
              <a:ext uri="{FF2B5EF4-FFF2-40B4-BE49-F238E27FC236}">
                <a16:creationId xmlns:a16="http://schemas.microsoft.com/office/drawing/2014/main" id="{CA45D622-71B7-4E13-8ED2-2A4AFD97AAA9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DF7DCE60-60E8-492F-9BC3-393A93D6A4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432FE4A5-A739-47EA-81E0-3D22CEE29C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B5073D68-B7A1-4FBB-9A72-6F75E5D5AE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45" name="Freeform 9">
            <a:extLst>
              <a:ext uri="{FF2B5EF4-FFF2-40B4-BE49-F238E27FC236}">
                <a16:creationId xmlns:a16="http://schemas.microsoft.com/office/drawing/2014/main" id="{A9C993CA-B5B7-47F3-BE52-1162D746BA90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95767" y="4176118"/>
            <a:ext cx="181694" cy="212254"/>
          </a:xfrm>
          <a:custGeom>
            <a:avLst/>
            <a:gdLst>
              <a:gd name="T0" fmla="*/ 708 w 809"/>
              <a:gd name="T1" fmla="*/ 509 h 945"/>
              <a:gd name="T2" fmla="*/ 405 w 809"/>
              <a:gd name="T3" fmla="*/ 838 h 945"/>
              <a:gd name="T4" fmla="*/ 404 w 809"/>
              <a:gd name="T5" fmla="*/ 838 h 945"/>
              <a:gd name="T6" fmla="*/ 404 w 809"/>
              <a:gd name="T7" fmla="*/ 473 h 945"/>
              <a:gd name="T8" fmla="*/ 101 w 809"/>
              <a:gd name="T9" fmla="*/ 473 h 945"/>
              <a:gd name="T10" fmla="*/ 101 w 809"/>
              <a:gd name="T11" fmla="*/ 245 h 945"/>
              <a:gd name="T12" fmla="*/ 404 w 809"/>
              <a:gd name="T13" fmla="*/ 123 h 945"/>
              <a:gd name="T14" fmla="*/ 404 w 809"/>
              <a:gd name="T15" fmla="*/ 473 h 945"/>
              <a:gd name="T16" fmla="*/ 708 w 809"/>
              <a:gd name="T17" fmla="*/ 473 h 945"/>
              <a:gd name="T18" fmla="*/ 708 w 809"/>
              <a:gd name="T19" fmla="*/ 509 h 945"/>
              <a:gd name="T20" fmla="*/ 792 w 809"/>
              <a:gd name="T21" fmla="*/ 150 h 945"/>
              <a:gd name="T22" fmla="*/ 415 w 809"/>
              <a:gd name="T23" fmla="*/ 4 h 945"/>
              <a:gd name="T24" fmla="*/ 394 w 809"/>
              <a:gd name="T25" fmla="*/ 4 h 945"/>
              <a:gd name="T26" fmla="*/ 17 w 809"/>
              <a:gd name="T27" fmla="*/ 150 h 945"/>
              <a:gd name="T28" fmla="*/ 0 w 809"/>
              <a:gd name="T29" fmla="*/ 168 h 945"/>
              <a:gd name="T30" fmla="*/ 0 w 809"/>
              <a:gd name="T31" fmla="*/ 508 h 945"/>
              <a:gd name="T32" fmla="*/ 398 w 809"/>
              <a:gd name="T33" fmla="*/ 944 h 945"/>
              <a:gd name="T34" fmla="*/ 410 w 809"/>
              <a:gd name="T35" fmla="*/ 944 h 945"/>
              <a:gd name="T36" fmla="*/ 809 w 809"/>
              <a:gd name="T37" fmla="*/ 508 h 945"/>
              <a:gd name="T38" fmla="*/ 809 w 809"/>
              <a:gd name="T39" fmla="*/ 168 h 945"/>
              <a:gd name="T40" fmla="*/ 792 w 809"/>
              <a:gd name="T41" fmla="*/ 150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9" h="945">
                <a:moveTo>
                  <a:pt x="708" y="509"/>
                </a:moveTo>
                <a:cubicBezTo>
                  <a:pt x="708" y="713"/>
                  <a:pt x="483" y="811"/>
                  <a:pt x="405" y="838"/>
                </a:cubicBezTo>
                <a:cubicBezTo>
                  <a:pt x="405" y="838"/>
                  <a:pt x="404" y="838"/>
                  <a:pt x="404" y="838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101" y="473"/>
                  <a:pt x="101" y="473"/>
                  <a:pt x="101" y="473"/>
                </a:cubicBezTo>
                <a:cubicBezTo>
                  <a:pt x="101" y="245"/>
                  <a:pt x="101" y="245"/>
                  <a:pt x="101" y="245"/>
                </a:cubicBezTo>
                <a:cubicBezTo>
                  <a:pt x="185" y="231"/>
                  <a:pt x="288" y="197"/>
                  <a:pt x="404" y="123"/>
                </a:cubicBezTo>
                <a:cubicBezTo>
                  <a:pt x="404" y="473"/>
                  <a:pt x="404" y="473"/>
                  <a:pt x="404" y="473"/>
                </a:cubicBezTo>
                <a:cubicBezTo>
                  <a:pt x="708" y="473"/>
                  <a:pt x="708" y="473"/>
                  <a:pt x="708" y="473"/>
                </a:cubicBezTo>
                <a:lnTo>
                  <a:pt x="708" y="509"/>
                </a:lnTo>
                <a:close/>
                <a:moveTo>
                  <a:pt x="792" y="150"/>
                </a:moveTo>
                <a:cubicBezTo>
                  <a:pt x="691" y="146"/>
                  <a:pt x="562" y="109"/>
                  <a:pt x="415" y="4"/>
                </a:cubicBezTo>
                <a:cubicBezTo>
                  <a:pt x="409" y="0"/>
                  <a:pt x="400" y="0"/>
                  <a:pt x="394" y="4"/>
                </a:cubicBezTo>
                <a:cubicBezTo>
                  <a:pt x="247" y="109"/>
                  <a:pt x="118" y="146"/>
                  <a:pt x="17" y="150"/>
                </a:cubicBezTo>
                <a:cubicBezTo>
                  <a:pt x="7" y="150"/>
                  <a:pt x="0" y="158"/>
                  <a:pt x="0" y="168"/>
                </a:cubicBezTo>
                <a:cubicBezTo>
                  <a:pt x="0" y="209"/>
                  <a:pt x="0" y="325"/>
                  <a:pt x="0" y="508"/>
                </a:cubicBezTo>
                <a:cubicBezTo>
                  <a:pt x="0" y="792"/>
                  <a:pt x="348" y="926"/>
                  <a:pt x="398" y="944"/>
                </a:cubicBezTo>
                <a:cubicBezTo>
                  <a:pt x="402" y="945"/>
                  <a:pt x="406" y="945"/>
                  <a:pt x="410" y="944"/>
                </a:cubicBezTo>
                <a:cubicBezTo>
                  <a:pt x="460" y="926"/>
                  <a:pt x="809" y="792"/>
                  <a:pt x="809" y="508"/>
                </a:cubicBezTo>
                <a:cubicBezTo>
                  <a:pt x="809" y="325"/>
                  <a:pt x="809" y="209"/>
                  <a:pt x="809" y="168"/>
                </a:cubicBezTo>
                <a:cubicBezTo>
                  <a:pt x="809" y="158"/>
                  <a:pt x="801" y="150"/>
                  <a:pt x="792" y="15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46" name="Freeform 13">
            <a:extLst>
              <a:ext uri="{FF2B5EF4-FFF2-40B4-BE49-F238E27FC236}">
                <a16:creationId xmlns:a16="http://schemas.microsoft.com/office/drawing/2014/main" id="{05335764-8AF5-429B-8265-73AEFA29D9F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840588" y="5097137"/>
            <a:ext cx="218911" cy="197141"/>
          </a:xfrm>
          <a:custGeom>
            <a:avLst/>
            <a:gdLst>
              <a:gd name="T0" fmla="*/ 757 w 1043"/>
              <a:gd name="T1" fmla="*/ 313 h 939"/>
              <a:gd name="T2" fmla="*/ 313 w 1043"/>
              <a:gd name="T3" fmla="*/ 321 h 939"/>
              <a:gd name="T4" fmla="*/ 321 w 1043"/>
              <a:gd name="T5" fmla="*/ 348 h 939"/>
              <a:gd name="T6" fmla="*/ 765 w 1043"/>
              <a:gd name="T7" fmla="*/ 340 h 939"/>
              <a:gd name="T8" fmla="*/ 765 w 1043"/>
              <a:gd name="T9" fmla="*/ 251 h 939"/>
              <a:gd name="T10" fmla="*/ 321 w 1043"/>
              <a:gd name="T11" fmla="*/ 243 h 939"/>
              <a:gd name="T12" fmla="*/ 313 w 1043"/>
              <a:gd name="T13" fmla="*/ 270 h 939"/>
              <a:gd name="T14" fmla="*/ 757 w 1043"/>
              <a:gd name="T15" fmla="*/ 278 h 939"/>
              <a:gd name="T16" fmla="*/ 765 w 1043"/>
              <a:gd name="T17" fmla="*/ 251 h 939"/>
              <a:gd name="T18" fmla="*/ 757 w 1043"/>
              <a:gd name="T19" fmla="*/ 382 h 939"/>
              <a:gd name="T20" fmla="*/ 313 w 1043"/>
              <a:gd name="T21" fmla="*/ 390 h 939"/>
              <a:gd name="T22" fmla="*/ 321 w 1043"/>
              <a:gd name="T23" fmla="*/ 417 h 939"/>
              <a:gd name="T24" fmla="*/ 765 w 1043"/>
              <a:gd name="T25" fmla="*/ 409 h 939"/>
              <a:gd name="T26" fmla="*/ 765 w 1043"/>
              <a:gd name="T27" fmla="*/ 182 h 939"/>
              <a:gd name="T28" fmla="*/ 321 w 1043"/>
              <a:gd name="T29" fmla="*/ 174 h 939"/>
              <a:gd name="T30" fmla="*/ 313 w 1043"/>
              <a:gd name="T31" fmla="*/ 201 h 939"/>
              <a:gd name="T32" fmla="*/ 757 w 1043"/>
              <a:gd name="T33" fmla="*/ 209 h 939"/>
              <a:gd name="T34" fmla="*/ 765 w 1043"/>
              <a:gd name="T35" fmla="*/ 182 h 939"/>
              <a:gd name="T36" fmla="*/ 1027 w 1043"/>
              <a:gd name="T37" fmla="*/ 730 h 939"/>
              <a:gd name="T38" fmla="*/ 491 w 1043"/>
              <a:gd name="T39" fmla="*/ 735 h 939"/>
              <a:gd name="T40" fmla="*/ 487 w 1043"/>
              <a:gd name="T41" fmla="*/ 747 h 939"/>
              <a:gd name="T42" fmla="*/ 358 w 1043"/>
              <a:gd name="T43" fmla="*/ 869 h 939"/>
              <a:gd name="T44" fmla="*/ 243 w 1043"/>
              <a:gd name="T45" fmla="*/ 757 h 939"/>
              <a:gd name="T46" fmla="*/ 243 w 1043"/>
              <a:gd name="T47" fmla="*/ 139 h 939"/>
              <a:gd name="T48" fmla="*/ 742 w 1043"/>
              <a:gd name="T49" fmla="*/ 69 h 939"/>
              <a:gd name="T50" fmla="*/ 834 w 1043"/>
              <a:gd name="T51" fmla="*/ 695 h 939"/>
              <a:gd name="T52" fmla="*/ 904 w 1043"/>
              <a:gd name="T53" fmla="*/ 161 h 939"/>
              <a:gd name="T54" fmla="*/ 685 w 1043"/>
              <a:gd name="T55" fmla="*/ 0 h 939"/>
              <a:gd name="T56" fmla="*/ 0 w 1043"/>
              <a:gd name="T57" fmla="*/ 174 h 939"/>
              <a:gd name="T58" fmla="*/ 16 w 1043"/>
              <a:gd name="T59" fmla="*/ 209 h 939"/>
              <a:gd name="T60" fmla="*/ 174 w 1043"/>
              <a:gd name="T61" fmla="*/ 757 h 939"/>
              <a:gd name="T62" fmla="*/ 820 w 1043"/>
              <a:gd name="T63" fmla="*/ 939 h 939"/>
              <a:gd name="T64" fmla="*/ 1043 w 1043"/>
              <a:gd name="T65" fmla="*/ 765 h 939"/>
              <a:gd name="T66" fmla="*/ 765 w 1043"/>
              <a:gd name="T67" fmla="*/ 529 h 939"/>
              <a:gd name="T68" fmla="*/ 321 w 1043"/>
              <a:gd name="T69" fmla="*/ 522 h 939"/>
              <a:gd name="T70" fmla="*/ 313 w 1043"/>
              <a:gd name="T71" fmla="*/ 548 h 939"/>
              <a:gd name="T72" fmla="*/ 757 w 1043"/>
              <a:gd name="T73" fmla="*/ 556 h 939"/>
              <a:gd name="T74" fmla="*/ 765 w 1043"/>
              <a:gd name="T75" fmla="*/ 529 h 939"/>
              <a:gd name="T76" fmla="*/ 757 w 1043"/>
              <a:gd name="T77" fmla="*/ 452 h 939"/>
              <a:gd name="T78" fmla="*/ 313 w 1043"/>
              <a:gd name="T79" fmla="*/ 460 h 939"/>
              <a:gd name="T80" fmla="*/ 321 w 1043"/>
              <a:gd name="T81" fmla="*/ 487 h 939"/>
              <a:gd name="T82" fmla="*/ 765 w 1043"/>
              <a:gd name="T83" fmla="*/ 479 h 939"/>
              <a:gd name="T84" fmla="*/ 765 w 1043"/>
              <a:gd name="T85" fmla="*/ 599 h 939"/>
              <a:gd name="T86" fmla="*/ 757 w 1043"/>
              <a:gd name="T87" fmla="*/ 626 h 939"/>
              <a:gd name="T88" fmla="*/ 313 w 1043"/>
              <a:gd name="T89" fmla="*/ 618 h 939"/>
              <a:gd name="T90" fmla="*/ 321 w 1043"/>
              <a:gd name="T91" fmla="*/ 591 h 939"/>
              <a:gd name="T92" fmla="*/ 765 w 1043"/>
              <a:gd name="T93" fmla="*/ 59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43" h="939">
                <a:moveTo>
                  <a:pt x="765" y="321"/>
                </a:moveTo>
                <a:cubicBezTo>
                  <a:pt x="765" y="316"/>
                  <a:pt x="761" y="313"/>
                  <a:pt x="757" y="313"/>
                </a:cubicBezTo>
                <a:cubicBezTo>
                  <a:pt x="321" y="313"/>
                  <a:pt x="321" y="313"/>
                  <a:pt x="321" y="313"/>
                </a:cubicBezTo>
                <a:cubicBezTo>
                  <a:pt x="316" y="313"/>
                  <a:pt x="313" y="316"/>
                  <a:pt x="313" y="321"/>
                </a:cubicBezTo>
                <a:cubicBezTo>
                  <a:pt x="313" y="340"/>
                  <a:pt x="313" y="340"/>
                  <a:pt x="313" y="340"/>
                </a:cubicBezTo>
                <a:cubicBezTo>
                  <a:pt x="313" y="344"/>
                  <a:pt x="316" y="348"/>
                  <a:pt x="321" y="348"/>
                </a:cubicBezTo>
                <a:cubicBezTo>
                  <a:pt x="757" y="348"/>
                  <a:pt x="757" y="348"/>
                  <a:pt x="757" y="348"/>
                </a:cubicBezTo>
                <a:cubicBezTo>
                  <a:pt x="761" y="348"/>
                  <a:pt x="765" y="344"/>
                  <a:pt x="765" y="340"/>
                </a:cubicBezTo>
                <a:lnTo>
                  <a:pt x="765" y="321"/>
                </a:lnTo>
                <a:close/>
                <a:moveTo>
                  <a:pt x="765" y="251"/>
                </a:moveTo>
                <a:cubicBezTo>
                  <a:pt x="765" y="247"/>
                  <a:pt x="761" y="243"/>
                  <a:pt x="757" y="243"/>
                </a:cubicBezTo>
                <a:cubicBezTo>
                  <a:pt x="321" y="243"/>
                  <a:pt x="321" y="243"/>
                  <a:pt x="321" y="243"/>
                </a:cubicBezTo>
                <a:cubicBezTo>
                  <a:pt x="316" y="243"/>
                  <a:pt x="313" y="247"/>
                  <a:pt x="313" y="251"/>
                </a:cubicBezTo>
                <a:cubicBezTo>
                  <a:pt x="313" y="270"/>
                  <a:pt x="313" y="270"/>
                  <a:pt x="313" y="270"/>
                </a:cubicBezTo>
                <a:cubicBezTo>
                  <a:pt x="313" y="275"/>
                  <a:pt x="316" y="278"/>
                  <a:pt x="321" y="278"/>
                </a:cubicBezTo>
                <a:cubicBezTo>
                  <a:pt x="757" y="278"/>
                  <a:pt x="757" y="278"/>
                  <a:pt x="757" y="278"/>
                </a:cubicBezTo>
                <a:cubicBezTo>
                  <a:pt x="761" y="278"/>
                  <a:pt x="765" y="275"/>
                  <a:pt x="765" y="270"/>
                </a:cubicBezTo>
                <a:lnTo>
                  <a:pt x="765" y="251"/>
                </a:lnTo>
                <a:close/>
                <a:moveTo>
                  <a:pt x="765" y="390"/>
                </a:moveTo>
                <a:cubicBezTo>
                  <a:pt x="765" y="386"/>
                  <a:pt x="761" y="382"/>
                  <a:pt x="757" y="382"/>
                </a:cubicBezTo>
                <a:cubicBezTo>
                  <a:pt x="321" y="382"/>
                  <a:pt x="321" y="382"/>
                  <a:pt x="321" y="382"/>
                </a:cubicBezTo>
                <a:cubicBezTo>
                  <a:pt x="316" y="382"/>
                  <a:pt x="313" y="386"/>
                  <a:pt x="313" y="390"/>
                </a:cubicBezTo>
                <a:cubicBezTo>
                  <a:pt x="313" y="409"/>
                  <a:pt x="313" y="409"/>
                  <a:pt x="313" y="409"/>
                </a:cubicBezTo>
                <a:cubicBezTo>
                  <a:pt x="313" y="414"/>
                  <a:pt x="316" y="417"/>
                  <a:pt x="321" y="417"/>
                </a:cubicBezTo>
                <a:cubicBezTo>
                  <a:pt x="757" y="417"/>
                  <a:pt x="757" y="417"/>
                  <a:pt x="757" y="417"/>
                </a:cubicBezTo>
                <a:cubicBezTo>
                  <a:pt x="761" y="417"/>
                  <a:pt x="765" y="414"/>
                  <a:pt x="765" y="409"/>
                </a:cubicBezTo>
                <a:lnTo>
                  <a:pt x="765" y="390"/>
                </a:lnTo>
                <a:close/>
                <a:moveTo>
                  <a:pt x="765" y="182"/>
                </a:moveTo>
                <a:cubicBezTo>
                  <a:pt x="765" y="177"/>
                  <a:pt x="761" y="174"/>
                  <a:pt x="757" y="174"/>
                </a:cubicBezTo>
                <a:cubicBezTo>
                  <a:pt x="321" y="174"/>
                  <a:pt x="321" y="174"/>
                  <a:pt x="321" y="174"/>
                </a:cubicBezTo>
                <a:cubicBezTo>
                  <a:pt x="316" y="174"/>
                  <a:pt x="313" y="177"/>
                  <a:pt x="313" y="182"/>
                </a:cubicBezTo>
                <a:cubicBezTo>
                  <a:pt x="313" y="201"/>
                  <a:pt x="313" y="201"/>
                  <a:pt x="313" y="201"/>
                </a:cubicBezTo>
                <a:cubicBezTo>
                  <a:pt x="313" y="205"/>
                  <a:pt x="316" y="209"/>
                  <a:pt x="321" y="209"/>
                </a:cubicBezTo>
                <a:cubicBezTo>
                  <a:pt x="757" y="209"/>
                  <a:pt x="757" y="209"/>
                  <a:pt x="757" y="209"/>
                </a:cubicBezTo>
                <a:cubicBezTo>
                  <a:pt x="761" y="209"/>
                  <a:pt x="765" y="205"/>
                  <a:pt x="765" y="201"/>
                </a:cubicBezTo>
                <a:lnTo>
                  <a:pt x="765" y="182"/>
                </a:lnTo>
                <a:close/>
                <a:moveTo>
                  <a:pt x="1041" y="743"/>
                </a:moveTo>
                <a:cubicBezTo>
                  <a:pt x="1041" y="736"/>
                  <a:pt x="1034" y="730"/>
                  <a:pt x="1027" y="730"/>
                </a:cubicBezTo>
                <a:cubicBezTo>
                  <a:pt x="501" y="730"/>
                  <a:pt x="501" y="730"/>
                  <a:pt x="501" y="730"/>
                </a:cubicBezTo>
                <a:cubicBezTo>
                  <a:pt x="497" y="730"/>
                  <a:pt x="494" y="732"/>
                  <a:pt x="491" y="735"/>
                </a:cubicBezTo>
                <a:cubicBezTo>
                  <a:pt x="488" y="737"/>
                  <a:pt x="486" y="741"/>
                  <a:pt x="487" y="745"/>
                </a:cubicBezTo>
                <a:cubicBezTo>
                  <a:pt x="487" y="746"/>
                  <a:pt x="487" y="747"/>
                  <a:pt x="487" y="747"/>
                </a:cubicBezTo>
                <a:cubicBezTo>
                  <a:pt x="487" y="815"/>
                  <a:pt x="432" y="869"/>
                  <a:pt x="365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358" y="869"/>
                  <a:pt x="358" y="869"/>
                  <a:pt x="358" y="869"/>
                </a:cubicBezTo>
                <a:cubicBezTo>
                  <a:pt x="295" y="869"/>
                  <a:pt x="243" y="819"/>
                  <a:pt x="243" y="757"/>
                </a:cubicBezTo>
                <a:cubicBezTo>
                  <a:pt x="243" y="757"/>
                  <a:pt x="243" y="243"/>
                  <a:pt x="243" y="174"/>
                </a:cubicBezTo>
                <a:cubicBezTo>
                  <a:pt x="243" y="139"/>
                  <a:pt x="243" y="139"/>
                  <a:pt x="243" y="139"/>
                </a:cubicBezTo>
                <a:cubicBezTo>
                  <a:pt x="243" y="100"/>
                  <a:pt x="212" y="69"/>
                  <a:pt x="174" y="69"/>
                </a:cubicBezTo>
                <a:cubicBezTo>
                  <a:pt x="742" y="69"/>
                  <a:pt x="742" y="69"/>
                  <a:pt x="742" y="69"/>
                </a:cubicBezTo>
                <a:cubicBezTo>
                  <a:pt x="793" y="69"/>
                  <a:pt x="834" y="111"/>
                  <a:pt x="834" y="161"/>
                </a:cubicBezTo>
                <a:cubicBezTo>
                  <a:pt x="834" y="695"/>
                  <a:pt x="834" y="695"/>
                  <a:pt x="834" y="695"/>
                </a:cubicBezTo>
                <a:cubicBezTo>
                  <a:pt x="904" y="695"/>
                  <a:pt x="904" y="695"/>
                  <a:pt x="904" y="695"/>
                </a:cubicBezTo>
                <a:cubicBezTo>
                  <a:pt x="904" y="573"/>
                  <a:pt x="904" y="326"/>
                  <a:pt x="904" y="161"/>
                </a:cubicBezTo>
                <a:cubicBezTo>
                  <a:pt x="904" y="72"/>
                  <a:pt x="832" y="0"/>
                  <a:pt x="742" y="0"/>
                </a:cubicBezTo>
                <a:cubicBezTo>
                  <a:pt x="685" y="0"/>
                  <a:pt x="685" y="0"/>
                  <a:pt x="685" y="0"/>
                </a:cubicBezTo>
                <a:cubicBezTo>
                  <a:pt x="174" y="0"/>
                  <a:pt x="174" y="0"/>
                  <a:pt x="174" y="0"/>
                </a:cubicBezTo>
                <a:cubicBezTo>
                  <a:pt x="78" y="0"/>
                  <a:pt x="0" y="78"/>
                  <a:pt x="0" y="174"/>
                </a:cubicBezTo>
                <a:cubicBezTo>
                  <a:pt x="0" y="181"/>
                  <a:pt x="0" y="188"/>
                  <a:pt x="1" y="196"/>
                </a:cubicBezTo>
                <a:cubicBezTo>
                  <a:pt x="2" y="203"/>
                  <a:pt x="8" y="209"/>
                  <a:pt x="16" y="209"/>
                </a:cubicBezTo>
                <a:cubicBezTo>
                  <a:pt x="174" y="209"/>
                  <a:pt x="174" y="209"/>
                  <a:pt x="174" y="209"/>
                </a:cubicBezTo>
                <a:cubicBezTo>
                  <a:pt x="174" y="410"/>
                  <a:pt x="174" y="694"/>
                  <a:pt x="174" y="757"/>
                </a:cubicBezTo>
                <a:cubicBezTo>
                  <a:pt x="174" y="857"/>
                  <a:pt x="256" y="939"/>
                  <a:pt x="358" y="939"/>
                </a:cubicBezTo>
                <a:cubicBezTo>
                  <a:pt x="820" y="939"/>
                  <a:pt x="820" y="939"/>
                  <a:pt x="820" y="939"/>
                </a:cubicBezTo>
                <a:cubicBezTo>
                  <a:pt x="869" y="939"/>
                  <a:pt x="869" y="939"/>
                  <a:pt x="869" y="939"/>
                </a:cubicBezTo>
                <a:cubicBezTo>
                  <a:pt x="965" y="939"/>
                  <a:pt x="1043" y="861"/>
                  <a:pt x="1043" y="765"/>
                </a:cubicBezTo>
                <a:cubicBezTo>
                  <a:pt x="1043" y="757"/>
                  <a:pt x="1042" y="750"/>
                  <a:pt x="1041" y="743"/>
                </a:cubicBezTo>
                <a:close/>
                <a:moveTo>
                  <a:pt x="765" y="529"/>
                </a:moveTo>
                <a:cubicBezTo>
                  <a:pt x="765" y="525"/>
                  <a:pt x="761" y="522"/>
                  <a:pt x="757" y="522"/>
                </a:cubicBezTo>
                <a:cubicBezTo>
                  <a:pt x="321" y="522"/>
                  <a:pt x="321" y="522"/>
                  <a:pt x="321" y="522"/>
                </a:cubicBezTo>
                <a:cubicBezTo>
                  <a:pt x="316" y="522"/>
                  <a:pt x="313" y="525"/>
                  <a:pt x="313" y="529"/>
                </a:cubicBezTo>
                <a:cubicBezTo>
                  <a:pt x="313" y="548"/>
                  <a:pt x="313" y="548"/>
                  <a:pt x="313" y="548"/>
                </a:cubicBezTo>
                <a:cubicBezTo>
                  <a:pt x="313" y="553"/>
                  <a:pt x="316" y="556"/>
                  <a:pt x="321" y="556"/>
                </a:cubicBezTo>
                <a:cubicBezTo>
                  <a:pt x="757" y="556"/>
                  <a:pt x="757" y="556"/>
                  <a:pt x="757" y="556"/>
                </a:cubicBezTo>
                <a:cubicBezTo>
                  <a:pt x="761" y="556"/>
                  <a:pt x="765" y="553"/>
                  <a:pt x="765" y="548"/>
                </a:cubicBezTo>
                <a:lnTo>
                  <a:pt x="765" y="529"/>
                </a:lnTo>
                <a:close/>
                <a:moveTo>
                  <a:pt x="765" y="460"/>
                </a:moveTo>
                <a:cubicBezTo>
                  <a:pt x="765" y="456"/>
                  <a:pt x="761" y="452"/>
                  <a:pt x="757" y="452"/>
                </a:cubicBezTo>
                <a:cubicBezTo>
                  <a:pt x="321" y="452"/>
                  <a:pt x="321" y="452"/>
                  <a:pt x="321" y="452"/>
                </a:cubicBezTo>
                <a:cubicBezTo>
                  <a:pt x="316" y="452"/>
                  <a:pt x="313" y="456"/>
                  <a:pt x="313" y="460"/>
                </a:cubicBezTo>
                <a:cubicBezTo>
                  <a:pt x="313" y="479"/>
                  <a:pt x="313" y="479"/>
                  <a:pt x="313" y="479"/>
                </a:cubicBezTo>
                <a:cubicBezTo>
                  <a:pt x="313" y="483"/>
                  <a:pt x="316" y="487"/>
                  <a:pt x="321" y="487"/>
                </a:cubicBezTo>
                <a:cubicBezTo>
                  <a:pt x="757" y="487"/>
                  <a:pt x="757" y="487"/>
                  <a:pt x="757" y="487"/>
                </a:cubicBezTo>
                <a:cubicBezTo>
                  <a:pt x="761" y="487"/>
                  <a:pt x="765" y="483"/>
                  <a:pt x="765" y="479"/>
                </a:cubicBezTo>
                <a:lnTo>
                  <a:pt x="765" y="460"/>
                </a:lnTo>
                <a:close/>
                <a:moveTo>
                  <a:pt x="765" y="599"/>
                </a:moveTo>
                <a:cubicBezTo>
                  <a:pt x="765" y="618"/>
                  <a:pt x="765" y="618"/>
                  <a:pt x="765" y="618"/>
                </a:cubicBezTo>
                <a:cubicBezTo>
                  <a:pt x="765" y="622"/>
                  <a:pt x="761" y="626"/>
                  <a:pt x="757" y="626"/>
                </a:cubicBezTo>
                <a:cubicBezTo>
                  <a:pt x="321" y="626"/>
                  <a:pt x="321" y="626"/>
                  <a:pt x="321" y="626"/>
                </a:cubicBezTo>
                <a:cubicBezTo>
                  <a:pt x="316" y="626"/>
                  <a:pt x="313" y="622"/>
                  <a:pt x="313" y="618"/>
                </a:cubicBezTo>
                <a:cubicBezTo>
                  <a:pt x="313" y="599"/>
                  <a:pt x="313" y="599"/>
                  <a:pt x="313" y="599"/>
                </a:cubicBezTo>
                <a:cubicBezTo>
                  <a:pt x="313" y="595"/>
                  <a:pt x="316" y="591"/>
                  <a:pt x="321" y="591"/>
                </a:cubicBezTo>
                <a:cubicBezTo>
                  <a:pt x="757" y="591"/>
                  <a:pt x="757" y="591"/>
                  <a:pt x="757" y="591"/>
                </a:cubicBezTo>
                <a:cubicBezTo>
                  <a:pt x="761" y="591"/>
                  <a:pt x="765" y="595"/>
                  <a:pt x="765" y="59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4D155299-749A-44B3-8BDE-E350CE993B2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200260" y="2340801"/>
            <a:ext cx="182832" cy="231961"/>
            <a:chOff x="849313" y="-539751"/>
            <a:chExt cx="8375650" cy="10623551"/>
          </a:xfrm>
          <a:solidFill>
            <a:schemeClr val="bg1">
              <a:alpha val="70000"/>
            </a:schemeClr>
          </a:solidFill>
        </p:grpSpPr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16683CCD-48AD-4B20-B7DC-FAB5AB148CE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3" y="2670175"/>
              <a:ext cx="8375650" cy="7413625"/>
            </a:xfrm>
            <a:custGeom>
              <a:avLst/>
              <a:gdLst>
                <a:gd name="T0" fmla="*/ 116 w 741"/>
                <a:gd name="T1" fmla="*/ 656 h 656"/>
                <a:gd name="T2" fmla="*/ 165 w 741"/>
                <a:gd name="T3" fmla="*/ 561 h 656"/>
                <a:gd name="T4" fmla="*/ 92 w 741"/>
                <a:gd name="T5" fmla="*/ 506 h 656"/>
                <a:gd name="T6" fmla="*/ 0 w 741"/>
                <a:gd name="T7" fmla="*/ 284 h 656"/>
                <a:gd name="T8" fmla="*/ 181 w 741"/>
                <a:gd name="T9" fmla="*/ 0 h 656"/>
                <a:gd name="T10" fmla="*/ 210 w 741"/>
                <a:gd name="T11" fmla="*/ 118 h 656"/>
                <a:gd name="T12" fmla="*/ 118 w 741"/>
                <a:gd name="T13" fmla="*/ 275 h 656"/>
                <a:gd name="T14" fmla="*/ 347 w 741"/>
                <a:gd name="T15" fmla="*/ 437 h 656"/>
                <a:gd name="T16" fmla="*/ 663 w 741"/>
                <a:gd name="T17" fmla="*/ 353 h 656"/>
                <a:gd name="T18" fmla="*/ 699 w 741"/>
                <a:gd name="T19" fmla="*/ 374 h 656"/>
                <a:gd name="T20" fmla="*/ 678 w 741"/>
                <a:gd name="T21" fmla="*/ 410 h 656"/>
                <a:gd name="T22" fmla="*/ 373 w 741"/>
                <a:gd name="T23" fmla="*/ 491 h 656"/>
                <a:gd name="T24" fmla="*/ 386 w 741"/>
                <a:gd name="T25" fmla="*/ 539 h 656"/>
                <a:gd name="T26" fmla="*/ 623 w 741"/>
                <a:gd name="T27" fmla="*/ 539 h 656"/>
                <a:gd name="T28" fmla="*/ 741 w 741"/>
                <a:gd name="T29" fmla="*/ 656 h 656"/>
                <a:gd name="T30" fmla="*/ 116 w 741"/>
                <a:gd name="T31" fmla="*/ 656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1" h="656">
                  <a:moveTo>
                    <a:pt x="116" y="656"/>
                  </a:moveTo>
                  <a:cubicBezTo>
                    <a:pt x="116" y="617"/>
                    <a:pt x="136" y="582"/>
                    <a:pt x="165" y="561"/>
                  </a:cubicBezTo>
                  <a:cubicBezTo>
                    <a:pt x="138" y="546"/>
                    <a:pt x="113" y="528"/>
                    <a:pt x="92" y="506"/>
                  </a:cubicBezTo>
                  <a:cubicBezTo>
                    <a:pt x="35" y="449"/>
                    <a:pt x="0" y="371"/>
                    <a:pt x="0" y="284"/>
                  </a:cubicBezTo>
                  <a:cubicBezTo>
                    <a:pt x="0" y="162"/>
                    <a:pt x="71" y="52"/>
                    <a:pt x="181" y="0"/>
                  </a:cubicBezTo>
                  <a:cubicBezTo>
                    <a:pt x="171" y="41"/>
                    <a:pt x="182" y="86"/>
                    <a:pt x="210" y="118"/>
                  </a:cubicBezTo>
                  <a:cubicBezTo>
                    <a:pt x="156" y="151"/>
                    <a:pt x="120" y="210"/>
                    <a:pt x="118" y="275"/>
                  </a:cubicBezTo>
                  <a:cubicBezTo>
                    <a:pt x="114" y="385"/>
                    <a:pt x="226" y="466"/>
                    <a:pt x="347" y="437"/>
                  </a:cubicBezTo>
                  <a:cubicBezTo>
                    <a:pt x="663" y="353"/>
                    <a:pt x="663" y="353"/>
                    <a:pt x="663" y="353"/>
                  </a:cubicBezTo>
                  <a:cubicBezTo>
                    <a:pt x="678" y="349"/>
                    <a:pt x="694" y="358"/>
                    <a:pt x="699" y="374"/>
                  </a:cubicBezTo>
                  <a:cubicBezTo>
                    <a:pt x="703" y="389"/>
                    <a:pt x="693" y="406"/>
                    <a:pt x="678" y="410"/>
                  </a:cubicBezTo>
                  <a:cubicBezTo>
                    <a:pt x="373" y="491"/>
                    <a:pt x="373" y="491"/>
                    <a:pt x="373" y="491"/>
                  </a:cubicBezTo>
                  <a:cubicBezTo>
                    <a:pt x="386" y="539"/>
                    <a:pt x="386" y="539"/>
                    <a:pt x="386" y="539"/>
                  </a:cubicBezTo>
                  <a:cubicBezTo>
                    <a:pt x="623" y="539"/>
                    <a:pt x="623" y="539"/>
                    <a:pt x="623" y="539"/>
                  </a:cubicBezTo>
                  <a:cubicBezTo>
                    <a:pt x="688" y="539"/>
                    <a:pt x="741" y="591"/>
                    <a:pt x="741" y="656"/>
                  </a:cubicBezTo>
                  <a:lnTo>
                    <a:pt x="116" y="6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9B26A5AE-D441-411B-84F1-D439B12903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1" y="5043487"/>
              <a:ext cx="2587625" cy="1231900"/>
            </a:xfrm>
            <a:custGeom>
              <a:avLst/>
              <a:gdLst>
                <a:gd name="T0" fmla="*/ 40 w 229"/>
                <a:gd name="T1" fmla="*/ 104 h 109"/>
                <a:gd name="T2" fmla="*/ 4 w 229"/>
                <a:gd name="T3" fmla="*/ 84 h 109"/>
                <a:gd name="T4" fmla="*/ 25 w 229"/>
                <a:gd name="T5" fmla="*/ 48 h 109"/>
                <a:gd name="T6" fmla="*/ 188 w 229"/>
                <a:gd name="T7" fmla="*/ 4 h 109"/>
                <a:gd name="T8" fmla="*/ 224 w 229"/>
                <a:gd name="T9" fmla="*/ 25 h 109"/>
                <a:gd name="T10" fmla="*/ 204 w 229"/>
                <a:gd name="T11" fmla="*/ 61 h 109"/>
                <a:gd name="T12" fmla="*/ 40 w 229"/>
                <a:gd name="T13" fmla="*/ 10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109">
                  <a:moveTo>
                    <a:pt x="40" y="104"/>
                  </a:moveTo>
                  <a:cubicBezTo>
                    <a:pt x="25" y="109"/>
                    <a:pt x="9" y="99"/>
                    <a:pt x="4" y="84"/>
                  </a:cubicBezTo>
                  <a:cubicBezTo>
                    <a:pt x="0" y="68"/>
                    <a:pt x="10" y="52"/>
                    <a:pt x="25" y="48"/>
                  </a:cubicBezTo>
                  <a:cubicBezTo>
                    <a:pt x="188" y="4"/>
                    <a:pt x="188" y="4"/>
                    <a:pt x="188" y="4"/>
                  </a:cubicBezTo>
                  <a:cubicBezTo>
                    <a:pt x="204" y="0"/>
                    <a:pt x="220" y="9"/>
                    <a:pt x="224" y="25"/>
                  </a:cubicBezTo>
                  <a:cubicBezTo>
                    <a:pt x="229" y="40"/>
                    <a:pt x="219" y="57"/>
                    <a:pt x="204" y="61"/>
                  </a:cubicBezTo>
                  <a:lnTo>
                    <a:pt x="4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9F37B175-4C15-41F6-A8B6-EDF6EFAFEB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4851" y="-539751"/>
              <a:ext cx="4092575" cy="5910263"/>
            </a:xfrm>
            <a:custGeom>
              <a:avLst/>
              <a:gdLst>
                <a:gd name="T0" fmla="*/ 105 w 362"/>
                <a:gd name="T1" fmla="*/ 348 h 523"/>
                <a:gd name="T2" fmla="*/ 69 w 362"/>
                <a:gd name="T3" fmla="*/ 327 h 523"/>
                <a:gd name="T4" fmla="*/ 90 w 362"/>
                <a:gd name="T5" fmla="*/ 291 h 523"/>
                <a:gd name="T6" fmla="*/ 126 w 362"/>
                <a:gd name="T7" fmla="*/ 312 h 523"/>
                <a:gd name="T8" fmla="*/ 105 w 362"/>
                <a:gd name="T9" fmla="*/ 348 h 523"/>
                <a:gd name="T10" fmla="*/ 358 w 362"/>
                <a:gd name="T11" fmla="*/ 441 h 523"/>
                <a:gd name="T12" fmla="*/ 271 w 362"/>
                <a:gd name="T13" fmla="*/ 115 h 523"/>
                <a:gd name="T14" fmla="*/ 233 w 362"/>
                <a:gd name="T15" fmla="*/ 93 h 523"/>
                <a:gd name="T16" fmla="*/ 206 w 362"/>
                <a:gd name="T17" fmla="*/ 101 h 523"/>
                <a:gd name="T18" fmla="*/ 182 w 362"/>
                <a:gd name="T19" fmla="*/ 12 h 523"/>
                <a:gd name="T20" fmla="*/ 164 w 362"/>
                <a:gd name="T21" fmla="*/ 2 h 523"/>
                <a:gd name="T22" fmla="*/ 93 w 362"/>
                <a:gd name="T23" fmla="*/ 21 h 523"/>
                <a:gd name="T24" fmla="*/ 83 w 362"/>
                <a:gd name="T25" fmla="*/ 39 h 523"/>
                <a:gd name="T26" fmla="*/ 107 w 362"/>
                <a:gd name="T27" fmla="*/ 127 h 523"/>
                <a:gd name="T28" fmla="*/ 80 w 362"/>
                <a:gd name="T29" fmla="*/ 135 h 523"/>
                <a:gd name="T30" fmla="*/ 58 w 362"/>
                <a:gd name="T31" fmla="*/ 172 h 523"/>
                <a:gd name="T32" fmla="*/ 75 w 362"/>
                <a:gd name="T33" fmla="*/ 235 h 523"/>
                <a:gd name="T34" fmla="*/ 12 w 362"/>
                <a:gd name="T35" fmla="*/ 342 h 523"/>
                <a:gd name="T36" fmla="*/ 120 w 362"/>
                <a:gd name="T37" fmla="*/ 405 h 523"/>
                <a:gd name="T38" fmla="*/ 120 w 362"/>
                <a:gd name="T39" fmla="*/ 405 h 523"/>
                <a:gd name="T40" fmla="*/ 145 w 362"/>
                <a:gd name="T41" fmla="*/ 498 h 523"/>
                <a:gd name="T42" fmla="*/ 181 w 362"/>
                <a:gd name="T43" fmla="*/ 518 h 523"/>
                <a:gd name="T44" fmla="*/ 337 w 362"/>
                <a:gd name="T45" fmla="*/ 477 h 523"/>
                <a:gd name="T46" fmla="*/ 358 w 362"/>
                <a:gd name="T47" fmla="*/ 441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2" h="523">
                  <a:moveTo>
                    <a:pt x="105" y="348"/>
                  </a:moveTo>
                  <a:cubicBezTo>
                    <a:pt x="89" y="352"/>
                    <a:pt x="73" y="343"/>
                    <a:pt x="69" y="327"/>
                  </a:cubicBezTo>
                  <a:cubicBezTo>
                    <a:pt x="65" y="311"/>
                    <a:pt x="74" y="295"/>
                    <a:pt x="90" y="291"/>
                  </a:cubicBezTo>
                  <a:cubicBezTo>
                    <a:pt x="106" y="287"/>
                    <a:pt x="122" y="296"/>
                    <a:pt x="126" y="312"/>
                  </a:cubicBezTo>
                  <a:cubicBezTo>
                    <a:pt x="130" y="328"/>
                    <a:pt x="121" y="344"/>
                    <a:pt x="105" y="348"/>
                  </a:cubicBezTo>
                  <a:close/>
                  <a:moveTo>
                    <a:pt x="358" y="441"/>
                  </a:moveTo>
                  <a:cubicBezTo>
                    <a:pt x="271" y="115"/>
                    <a:pt x="271" y="115"/>
                    <a:pt x="271" y="115"/>
                  </a:cubicBezTo>
                  <a:cubicBezTo>
                    <a:pt x="266" y="99"/>
                    <a:pt x="250" y="89"/>
                    <a:pt x="233" y="93"/>
                  </a:cubicBezTo>
                  <a:cubicBezTo>
                    <a:pt x="206" y="101"/>
                    <a:pt x="206" y="101"/>
                    <a:pt x="206" y="101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0" y="4"/>
                    <a:pt x="172" y="0"/>
                    <a:pt x="164" y="2"/>
                  </a:cubicBezTo>
                  <a:cubicBezTo>
                    <a:pt x="93" y="21"/>
                    <a:pt x="93" y="21"/>
                    <a:pt x="93" y="21"/>
                  </a:cubicBezTo>
                  <a:cubicBezTo>
                    <a:pt x="86" y="23"/>
                    <a:pt x="81" y="31"/>
                    <a:pt x="83" y="39"/>
                  </a:cubicBezTo>
                  <a:cubicBezTo>
                    <a:pt x="107" y="127"/>
                    <a:pt x="107" y="127"/>
                    <a:pt x="107" y="127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63" y="139"/>
                    <a:pt x="54" y="156"/>
                    <a:pt x="58" y="172"/>
                  </a:cubicBezTo>
                  <a:cubicBezTo>
                    <a:pt x="75" y="235"/>
                    <a:pt x="75" y="235"/>
                    <a:pt x="75" y="235"/>
                  </a:cubicBezTo>
                  <a:cubicBezTo>
                    <a:pt x="28" y="247"/>
                    <a:pt x="0" y="295"/>
                    <a:pt x="12" y="342"/>
                  </a:cubicBezTo>
                  <a:cubicBezTo>
                    <a:pt x="25" y="389"/>
                    <a:pt x="73" y="417"/>
                    <a:pt x="120" y="405"/>
                  </a:cubicBezTo>
                  <a:cubicBezTo>
                    <a:pt x="120" y="405"/>
                    <a:pt x="120" y="405"/>
                    <a:pt x="120" y="405"/>
                  </a:cubicBezTo>
                  <a:cubicBezTo>
                    <a:pt x="145" y="498"/>
                    <a:pt x="145" y="498"/>
                    <a:pt x="145" y="498"/>
                  </a:cubicBezTo>
                  <a:cubicBezTo>
                    <a:pt x="150" y="513"/>
                    <a:pt x="166" y="523"/>
                    <a:pt x="181" y="518"/>
                  </a:cubicBezTo>
                  <a:cubicBezTo>
                    <a:pt x="337" y="477"/>
                    <a:pt x="337" y="477"/>
                    <a:pt x="337" y="477"/>
                  </a:cubicBezTo>
                  <a:cubicBezTo>
                    <a:pt x="353" y="472"/>
                    <a:pt x="362" y="456"/>
                    <a:pt x="358" y="4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51" name="Freeform 47">
            <a:extLst>
              <a:ext uri="{FF2B5EF4-FFF2-40B4-BE49-F238E27FC236}">
                <a16:creationId xmlns:a16="http://schemas.microsoft.com/office/drawing/2014/main" id="{A153F7B4-1040-487D-BBC4-0DFC066F7E0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74781" y="3268800"/>
            <a:ext cx="201116" cy="201139"/>
          </a:xfrm>
          <a:custGeom>
            <a:avLst/>
            <a:gdLst>
              <a:gd name="T0" fmla="*/ 951 w 981"/>
              <a:gd name="T1" fmla="*/ 842 h 981"/>
              <a:gd name="T2" fmla="*/ 711 w 981"/>
              <a:gd name="T3" fmla="*/ 603 h 981"/>
              <a:gd name="T4" fmla="*/ 603 w 981"/>
              <a:gd name="T5" fmla="*/ 107 h 981"/>
              <a:gd name="T6" fmla="*/ 107 w 981"/>
              <a:gd name="T7" fmla="*/ 216 h 981"/>
              <a:gd name="T8" fmla="*/ 216 w 981"/>
              <a:gd name="T9" fmla="*/ 712 h 981"/>
              <a:gd name="T10" fmla="*/ 603 w 981"/>
              <a:gd name="T11" fmla="*/ 712 h 981"/>
              <a:gd name="T12" fmla="*/ 842 w 981"/>
              <a:gd name="T13" fmla="*/ 951 h 981"/>
              <a:gd name="T14" fmla="*/ 951 w 981"/>
              <a:gd name="T15" fmla="*/ 951 h 981"/>
              <a:gd name="T16" fmla="*/ 951 w 981"/>
              <a:gd name="T17" fmla="*/ 843 h 981"/>
              <a:gd name="T18" fmla="*/ 951 w 981"/>
              <a:gd name="T19" fmla="*/ 842 h 981"/>
              <a:gd name="T20" fmla="*/ 153 w 981"/>
              <a:gd name="T21" fmla="*/ 410 h 981"/>
              <a:gd name="T22" fmla="*/ 410 w 981"/>
              <a:gd name="T23" fmla="*/ 153 h 981"/>
              <a:gd name="T24" fmla="*/ 666 w 981"/>
              <a:gd name="T25" fmla="*/ 410 h 981"/>
              <a:gd name="T26" fmla="*/ 410 w 981"/>
              <a:gd name="T27" fmla="*/ 666 h 981"/>
              <a:gd name="T28" fmla="*/ 153 w 981"/>
              <a:gd name="T29" fmla="*/ 410 h 9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81" h="981">
                <a:moveTo>
                  <a:pt x="951" y="842"/>
                </a:moveTo>
                <a:cubicBezTo>
                  <a:pt x="711" y="603"/>
                  <a:pt x="711" y="603"/>
                  <a:pt x="711" y="603"/>
                </a:cubicBezTo>
                <a:cubicBezTo>
                  <a:pt x="818" y="436"/>
                  <a:pt x="770" y="214"/>
                  <a:pt x="603" y="107"/>
                </a:cubicBezTo>
                <a:cubicBezTo>
                  <a:pt x="436" y="0"/>
                  <a:pt x="214" y="49"/>
                  <a:pt x="107" y="216"/>
                </a:cubicBezTo>
                <a:cubicBezTo>
                  <a:pt x="0" y="383"/>
                  <a:pt x="49" y="605"/>
                  <a:pt x="216" y="712"/>
                </a:cubicBezTo>
                <a:cubicBezTo>
                  <a:pt x="334" y="787"/>
                  <a:pt x="485" y="787"/>
                  <a:pt x="603" y="712"/>
                </a:cubicBezTo>
                <a:cubicBezTo>
                  <a:pt x="842" y="951"/>
                  <a:pt x="842" y="951"/>
                  <a:pt x="842" y="951"/>
                </a:cubicBezTo>
                <a:cubicBezTo>
                  <a:pt x="872" y="981"/>
                  <a:pt x="921" y="981"/>
                  <a:pt x="951" y="951"/>
                </a:cubicBezTo>
                <a:cubicBezTo>
                  <a:pt x="981" y="921"/>
                  <a:pt x="981" y="873"/>
                  <a:pt x="951" y="843"/>
                </a:cubicBezTo>
                <a:cubicBezTo>
                  <a:pt x="951" y="843"/>
                  <a:pt x="951" y="842"/>
                  <a:pt x="951" y="842"/>
                </a:cubicBezTo>
                <a:close/>
                <a:moveTo>
                  <a:pt x="153" y="410"/>
                </a:moveTo>
                <a:cubicBezTo>
                  <a:pt x="153" y="268"/>
                  <a:pt x="268" y="153"/>
                  <a:pt x="410" y="153"/>
                </a:cubicBezTo>
                <a:cubicBezTo>
                  <a:pt x="551" y="153"/>
                  <a:pt x="666" y="268"/>
                  <a:pt x="666" y="410"/>
                </a:cubicBezTo>
                <a:cubicBezTo>
                  <a:pt x="666" y="551"/>
                  <a:pt x="551" y="666"/>
                  <a:pt x="410" y="666"/>
                </a:cubicBezTo>
                <a:cubicBezTo>
                  <a:pt x="268" y="666"/>
                  <a:pt x="153" y="551"/>
                  <a:pt x="153" y="410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0FAE3DF-2E00-4C8F-94A2-4EDBDA2B0AE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84359" y="2786642"/>
            <a:ext cx="219317" cy="283896"/>
            <a:chOff x="10758416" y="1419641"/>
            <a:chExt cx="3297184" cy="4266944"/>
          </a:xfrm>
          <a:solidFill>
            <a:schemeClr val="bg1">
              <a:alpha val="80000"/>
            </a:schemeClr>
          </a:solidFill>
        </p:grpSpPr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438EAD21-2177-4065-A114-8AE8AA09EA7B}"/>
                </a:ext>
              </a:extLst>
            </p:cNvPr>
            <p:cNvSpPr/>
            <p:nvPr/>
          </p:nvSpPr>
          <p:spPr>
            <a:xfrm>
              <a:off x="10758416" y="1419641"/>
              <a:ext cx="3297184" cy="4266944"/>
            </a:xfrm>
            <a:custGeom>
              <a:avLst/>
              <a:gdLst>
                <a:gd name="connsiteX0" fmla="*/ 2763817 w 3297184"/>
                <a:gd name="connsiteY0" fmla="*/ 1939520 h 4266944"/>
                <a:gd name="connsiteX1" fmla="*/ 2424401 w 3297184"/>
                <a:gd name="connsiteY1" fmla="*/ 1600104 h 4266944"/>
                <a:gd name="connsiteX2" fmla="*/ 2763817 w 3297184"/>
                <a:gd name="connsiteY2" fmla="*/ 1260688 h 4266944"/>
                <a:gd name="connsiteX3" fmla="*/ 3103233 w 3297184"/>
                <a:gd name="connsiteY3" fmla="*/ 1600104 h 4266944"/>
                <a:gd name="connsiteX4" fmla="*/ 2763817 w 3297184"/>
                <a:gd name="connsiteY4" fmla="*/ 1939520 h 4266944"/>
                <a:gd name="connsiteX5" fmla="*/ 3297185 w 3297184"/>
                <a:gd name="connsiteY5" fmla="*/ 1600104 h 4266944"/>
                <a:gd name="connsiteX6" fmla="*/ 2763817 w 3297184"/>
                <a:gd name="connsiteY6" fmla="*/ 1066736 h 4266944"/>
                <a:gd name="connsiteX7" fmla="*/ 2230449 w 3297184"/>
                <a:gd name="connsiteY7" fmla="*/ 1600104 h 4266944"/>
                <a:gd name="connsiteX8" fmla="*/ 2618353 w 3297184"/>
                <a:gd name="connsiteY8" fmla="*/ 2114077 h 4266944"/>
                <a:gd name="connsiteX9" fmla="*/ 2618353 w 3297184"/>
                <a:gd name="connsiteY9" fmla="*/ 3248697 h 4266944"/>
                <a:gd name="connsiteX10" fmla="*/ 1891032 w 3297184"/>
                <a:gd name="connsiteY10" fmla="*/ 3976017 h 4266944"/>
                <a:gd name="connsiteX11" fmla="*/ 1163712 w 3297184"/>
                <a:gd name="connsiteY11" fmla="*/ 3248697 h 4266944"/>
                <a:gd name="connsiteX12" fmla="*/ 1163712 w 3297184"/>
                <a:gd name="connsiteY12" fmla="*/ 2754119 h 4266944"/>
                <a:gd name="connsiteX13" fmla="*/ 2036496 w 3297184"/>
                <a:gd name="connsiteY13" fmla="*/ 1745568 h 4266944"/>
                <a:gd name="connsiteX14" fmla="*/ 1939520 w 3297184"/>
                <a:gd name="connsiteY14" fmla="*/ 1580709 h 4266944"/>
                <a:gd name="connsiteX15" fmla="*/ 1939520 w 3297184"/>
                <a:gd name="connsiteY15" fmla="*/ 387904 h 4266944"/>
                <a:gd name="connsiteX16" fmla="*/ 1687383 w 3297184"/>
                <a:gd name="connsiteY16" fmla="*/ 101825 h 4266944"/>
                <a:gd name="connsiteX17" fmla="*/ 1551616 w 3297184"/>
                <a:gd name="connsiteY17" fmla="*/ 0 h 4266944"/>
                <a:gd name="connsiteX18" fmla="*/ 1503128 w 3297184"/>
                <a:gd name="connsiteY18" fmla="*/ 0 h 4266944"/>
                <a:gd name="connsiteX19" fmla="*/ 1309176 w 3297184"/>
                <a:gd name="connsiteY19" fmla="*/ 193952 h 4266944"/>
                <a:gd name="connsiteX20" fmla="*/ 1503128 w 3297184"/>
                <a:gd name="connsiteY20" fmla="*/ 387904 h 4266944"/>
                <a:gd name="connsiteX21" fmla="*/ 1551616 w 3297184"/>
                <a:gd name="connsiteY21" fmla="*/ 387904 h 4266944"/>
                <a:gd name="connsiteX22" fmla="*/ 1687383 w 3297184"/>
                <a:gd name="connsiteY22" fmla="*/ 300626 h 4266944"/>
                <a:gd name="connsiteX23" fmla="*/ 1745568 w 3297184"/>
                <a:gd name="connsiteY23" fmla="*/ 387904 h 4266944"/>
                <a:gd name="connsiteX24" fmla="*/ 1745568 w 3297184"/>
                <a:gd name="connsiteY24" fmla="*/ 1580709 h 4266944"/>
                <a:gd name="connsiteX25" fmla="*/ 1648592 w 3297184"/>
                <a:gd name="connsiteY25" fmla="*/ 1745568 h 4266944"/>
                <a:gd name="connsiteX26" fmla="*/ 1018248 w 3297184"/>
                <a:gd name="connsiteY26" fmla="*/ 2375913 h 4266944"/>
                <a:gd name="connsiteX27" fmla="*/ 387904 w 3297184"/>
                <a:gd name="connsiteY27" fmla="*/ 1745568 h 4266944"/>
                <a:gd name="connsiteX28" fmla="*/ 290928 w 3297184"/>
                <a:gd name="connsiteY28" fmla="*/ 1580709 h 4266944"/>
                <a:gd name="connsiteX29" fmla="*/ 290928 w 3297184"/>
                <a:gd name="connsiteY29" fmla="*/ 387904 h 4266944"/>
                <a:gd name="connsiteX30" fmla="*/ 349114 w 3297184"/>
                <a:gd name="connsiteY30" fmla="*/ 300626 h 4266944"/>
                <a:gd name="connsiteX31" fmla="*/ 484880 w 3297184"/>
                <a:gd name="connsiteY31" fmla="*/ 387904 h 4266944"/>
                <a:gd name="connsiteX32" fmla="*/ 533368 w 3297184"/>
                <a:gd name="connsiteY32" fmla="*/ 387904 h 4266944"/>
                <a:gd name="connsiteX33" fmla="*/ 727320 w 3297184"/>
                <a:gd name="connsiteY33" fmla="*/ 193952 h 4266944"/>
                <a:gd name="connsiteX34" fmla="*/ 533368 w 3297184"/>
                <a:gd name="connsiteY34" fmla="*/ 0 h 4266944"/>
                <a:gd name="connsiteX35" fmla="*/ 484880 w 3297184"/>
                <a:gd name="connsiteY35" fmla="*/ 0 h 4266944"/>
                <a:gd name="connsiteX36" fmla="*/ 349114 w 3297184"/>
                <a:gd name="connsiteY36" fmla="*/ 101825 h 4266944"/>
                <a:gd name="connsiteX37" fmla="*/ 96976 w 3297184"/>
                <a:gd name="connsiteY37" fmla="*/ 387904 h 4266944"/>
                <a:gd name="connsiteX38" fmla="*/ 96976 w 3297184"/>
                <a:gd name="connsiteY38" fmla="*/ 1580709 h 4266944"/>
                <a:gd name="connsiteX39" fmla="*/ 0 w 3297184"/>
                <a:gd name="connsiteY39" fmla="*/ 1745568 h 4266944"/>
                <a:gd name="connsiteX40" fmla="*/ 872784 w 3297184"/>
                <a:gd name="connsiteY40" fmla="*/ 2754119 h 4266944"/>
                <a:gd name="connsiteX41" fmla="*/ 872784 w 3297184"/>
                <a:gd name="connsiteY41" fmla="*/ 3248697 h 4266944"/>
                <a:gd name="connsiteX42" fmla="*/ 1891032 w 3297184"/>
                <a:gd name="connsiteY42" fmla="*/ 4266945 h 4266944"/>
                <a:gd name="connsiteX43" fmla="*/ 2909281 w 3297184"/>
                <a:gd name="connsiteY43" fmla="*/ 3248697 h 4266944"/>
                <a:gd name="connsiteX44" fmla="*/ 2909281 w 3297184"/>
                <a:gd name="connsiteY44" fmla="*/ 2114077 h 4266944"/>
                <a:gd name="connsiteX45" fmla="*/ 3297185 w 3297184"/>
                <a:gd name="connsiteY45" fmla="*/ 1600104 h 4266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3297184" h="4266944">
                  <a:moveTo>
                    <a:pt x="2763817" y="1939520"/>
                  </a:moveTo>
                  <a:cubicBezTo>
                    <a:pt x="2574713" y="1939520"/>
                    <a:pt x="2424401" y="1789208"/>
                    <a:pt x="2424401" y="1600104"/>
                  </a:cubicBezTo>
                  <a:cubicBezTo>
                    <a:pt x="2424401" y="1411001"/>
                    <a:pt x="2574713" y="1260688"/>
                    <a:pt x="2763817" y="1260688"/>
                  </a:cubicBezTo>
                  <a:cubicBezTo>
                    <a:pt x="2952920" y="1260688"/>
                    <a:pt x="3103233" y="1411001"/>
                    <a:pt x="3103233" y="1600104"/>
                  </a:cubicBezTo>
                  <a:cubicBezTo>
                    <a:pt x="3103233" y="1789208"/>
                    <a:pt x="2952920" y="1939520"/>
                    <a:pt x="2763817" y="1939520"/>
                  </a:cubicBezTo>
                  <a:close/>
                  <a:moveTo>
                    <a:pt x="3297185" y="1600104"/>
                  </a:moveTo>
                  <a:cubicBezTo>
                    <a:pt x="3297185" y="1304328"/>
                    <a:pt x="3059594" y="1066736"/>
                    <a:pt x="2763817" y="1066736"/>
                  </a:cubicBezTo>
                  <a:cubicBezTo>
                    <a:pt x="2468040" y="1066736"/>
                    <a:pt x="2230449" y="1304328"/>
                    <a:pt x="2230449" y="1600104"/>
                  </a:cubicBezTo>
                  <a:cubicBezTo>
                    <a:pt x="2230449" y="1842544"/>
                    <a:pt x="2395308" y="2051043"/>
                    <a:pt x="2618353" y="2114077"/>
                  </a:cubicBezTo>
                  <a:lnTo>
                    <a:pt x="2618353" y="3248697"/>
                  </a:lnTo>
                  <a:cubicBezTo>
                    <a:pt x="2618353" y="3651147"/>
                    <a:pt x="2293483" y="3976017"/>
                    <a:pt x="1891032" y="3976017"/>
                  </a:cubicBezTo>
                  <a:cubicBezTo>
                    <a:pt x="1488582" y="3976017"/>
                    <a:pt x="1163712" y="3651147"/>
                    <a:pt x="1163712" y="3248697"/>
                  </a:cubicBezTo>
                  <a:lnTo>
                    <a:pt x="1163712" y="2754119"/>
                  </a:lnTo>
                  <a:cubicBezTo>
                    <a:pt x="1658290" y="2681387"/>
                    <a:pt x="2036496" y="2259541"/>
                    <a:pt x="2036496" y="1745568"/>
                  </a:cubicBezTo>
                  <a:cubicBezTo>
                    <a:pt x="2036496" y="1672836"/>
                    <a:pt x="1997706" y="1609802"/>
                    <a:pt x="1939520" y="1580709"/>
                  </a:cubicBezTo>
                  <a:lnTo>
                    <a:pt x="1939520" y="387904"/>
                  </a:lnTo>
                  <a:cubicBezTo>
                    <a:pt x="1939520" y="242440"/>
                    <a:pt x="1827998" y="121220"/>
                    <a:pt x="1687383" y="101825"/>
                  </a:cubicBezTo>
                  <a:cubicBezTo>
                    <a:pt x="1667988" y="43639"/>
                    <a:pt x="1614651" y="0"/>
                    <a:pt x="1551616" y="0"/>
                  </a:cubicBezTo>
                  <a:lnTo>
                    <a:pt x="1503128" y="0"/>
                  </a:lnTo>
                  <a:cubicBezTo>
                    <a:pt x="1396455" y="0"/>
                    <a:pt x="1309176" y="87278"/>
                    <a:pt x="1309176" y="193952"/>
                  </a:cubicBezTo>
                  <a:cubicBezTo>
                    <a:pt x="1309176" y="300626"/>
                    <a:pt x="1396455" y="387904"/>
                    <a:pt x="1503128" y="387904"/>
                  </a:cubicBezTo>
                  <a:lnTo>
                    <a:pt x="1551616" y="387904"/>
                  </a:lnTo>
                  <a:cubicBezTo>
                    <a:pt x="1609802" y="387904"/>
                    <a:pt x="1663139" y="349114"/>
                    <a:pt x="1687383" y="300626"/>
                  </a:cubicBezTo>
                  <a:cubicBezTo>
                    <a:pt x="1721324" y="315172"/>
                    <a:pt x="1745568" y="349114"/>
                    <a:pt x="1745568" y="387904"/>
                  </a:cubicBezTo>
                  <a:lnTo>
                    <a:pt x="1745568" y="1580709"/>
                  </a:lnTo>
                  <a:cubicBezTo>
                    <a:pt x="1687383" y="1614651"/>
                    <a:pt x="1648592" y="1677685"/>
                    <a:pt x="1648592" y="1745568"/>
                  </a:cubicBezTo>
                  <a:cubicBezTo>
                    <a:pt x="1648592" y="2094682"/>
                    <a:pt x="1367362" y="2375913"/>
                    <a:pt x="1018248" y="2375913"/>
                  </a:cubicBezTo>
                  <a:cubicBezTo>
                    <a:pt x="669135" y="2375913"/>
                    <a:pt x="387904" y="2094682"/>
                    <a:pt x="387904" y="1745568"/>
                  </a:cubicBezTo>
                  <a:cubicBezTo>
                    <a:pt x="387904" y="1672836"/>
                    <a:pt x="349114" y="1609802"/>
                    <a:pt x="290928" y="1580709"/>
                  </a:cubicBezTo>
                  <a:lnTo>
                    <a:pt x="290928" y="387904"/>
                  </a:lnTo>
                  <a:cubicBezTo>
                    <a:pt x="290928" y="349114"/>
                    <a:pt x="315172" y="315172"/>
                    <a:pt x="349114" y="300626"/>
                  </a:cubicBezTo>
                  <a:cubicBezTo>
                    <a:pt x="373358" y="353963"/>
                    <a:pt x="421846" y="387904"/>
                    <a:pt x="484880" y="387904"/>
                  </a:cubicBezTo>
                  <a:lnTo>
                    <a:pt x="533368" y="387904"/>
                  </a:lnTo>
                  <a:cubicBezTo>
                    <a:pt x="640042" y="387904"/>
                    <a:pt x="727320" y="300626"/>
                    <a:pt x="727320" y="193952"/>
                  </a:cubicBezTo>
                  <a:cubicBezTo>
                    <a:pt x="727320" y="87278"/>
                    <a:pt x="640042" y="0"/>
                    <a:pt x="533368" y="0"/>
                  </a:cubicBezTo>
                  <a:lnTo>
                    <a:pt x="484880" y="0"/>
                  </a:lnTo>
                  <a:cubicBezTo>
                    <a:pt x="421846" y="0"/>
                    <a:pt x="368509" y="43639"/>
                    <a:pt x="349114" y="101825"/>
                  </a:cubicBezTo>
                  <a:cubicBezTo>
                    <a:pt x="208498" y="121220"/>
                    <a:pt x="96976" y="242440"/>
                    <a:pt x="96976" y="387904"/>
                  </a:cubicBezTo>
                  <a:lnTo>
                    <a:pt x="96976" y="1580709"/>
                  </a:lnTo>
                  <a:cubicBezTo>
                    <a:pt x="38790" y="1614651"/>
                    <a:pt x="0" y="1677685"/>
                    <a:pt x="0" y="1745568"/>
                  </a:cubicBezTo>
                  <a:cubicBezTo>
                    <a:pt x="0" y="2259541"/>
                    <a:pt x="378206" y="2681387"/>
                    <a:pt x="872784" y="2754119"/>
                  </a:cubicBezTo>
                  <a:lnTo>
                    <a:pt x="872784" y="3248697"/>
                  </a:lnTo>
                  <a:cubicBezTo>
                    <a:pt x="872784" y="3811158"/>
                    <a:pt x="1328572" y="4266945"/>
                    <a:pt x="1891032" y="4266945"/>
                  </a:cubicBezTo>
                  <a:cubicBezTo>
                    <a:pt x="2453493" y="4266945"/>
                    <a:pt x="2909281" y="3811158"/>
                    <a:pt x="2909281" y="3248697"/>
                  </a:cubicBezTo>
                  <a:lnTo>
                    <a:pt x="2909281" y="2114077"/>
                  </a:lnTo>
                  <a:cubicBezTo>
                    <a:pt x="3132326" y="2051043"/>
                    <a:pt x="3297185" y="1842544"/>
                    <a:pt x="3297185" y="1600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91C041FD-5B85-4DC0-9C9B-5B425CFAAA36}"/>
                </a:ext>
              </a:extLst>
            </p:cNvPr>
            <p:cNvSpPr/>
            <p:nvPr/>
          </p:nvSpPr>
          <p:spPr>
            <a:xfrm>
              <a:off x="13279792" y="2777305"/>
              <a:ext cx="484880" cy="484880"/>
            </a:xfrm>
            <a:custGeom>
              <a:avLst/>
              <a:gdLst>
                <a:gd name="connsiteX0" fmla="*/ 484880 w 484880"/>
                <a:gd name="connsiteY0" fmla="*/ 242440 h 484880"/>
                <a:gd name="connsiteX1" fmla="*/ 242440 w 484880"/>
                <a:gd name="connsiteY1" fmla="*/ 484880 h 484880"/>
                <a:gd name="connsiteX2" fmla="*/ 0 w 484880"/>
                <a:gd name="connsiteY2" fmla="*/ 242440 h 484880"/>
                <a:gd name="connsiteX3" fmla="*/ 242440 w 484880"/>
                <a:gd name="connsiteY3" fmla="*/ 0 h 484880"/>
                <a:gd name="connsiteX4" fmla="*/ 484880 w 484880"/>
                <a:gd name="connsiteY4" fmla="*/ 242440 h 484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880" h="484880">
                  <a:moveTo>
                    <a:pt x="484880" y="242440"/>
                  </a:moveTo>
                  <a:cubicBezTo>
                    <a:pt x="484880" y="376336"/>
                    <a:pt x="376336" y="484880"/>
                    <a:pt x="242440" y="484880"/>
                  </a:cubicBezTo>
                  <a:cubicBezTo>
                    <a:pt x="108544" y="484880"/>
                    <a:pt x="0" y="376336"/>
                    <a:pt x="0" y="242440"/>
                  </a:cubicBezTo>
                  <a:cubicBezTo>
                    <a:pt x="0" y="108544"/>
                    <a:pt x="108544" y="0"/>
                    <a:pt x="242440" y="0"/>
                  </a:cubicBezTo>
                  <a:cubicBezTo>
                    <a:pt x="376336" y="0"/>
                    <a:pt x="484880" y="108544"/>
                    <a:pt x="484880" y="2424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A089925-B7AB-4A38-B677-A09D97CBE4A9}"/>
              </a:ext>
            </a:extLst>
          </p:cNvPr>
          <p:cNvGrpSpPr/>
          <p:nvPr userDrawn="1"/>
        </p:nvGrpSpPr>
        <p:grpSpPr>
          <a:xfrm>
            <a:off x="11169212" y="3702633"/>
            <a:ext cx="229989" cy="225311"/>
            <a:chOff x="2634853" y="3844528"/>
            <a:chExt cx="261938" cy="268319"/>
          </a:xfrm>
          <a:solidFill>
            <a:schemeClr val="bg1">
              <a:alpha val="80000"/>
            </a:schemeClr>
          </a:solidFill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6296FAEF-2A88-42D6-A60C-E5CCB8341501}"/>
                </a:ext>
              </a:extLst>
            </p:cNvPr>
            <p:cNvSpPr/>
            <p:nvPr/>
          </p:nvSpPr>
          <p:spPr>
            <a:xfrm>
              <a:off x="2634853" y="3965972"/>
              <a:ext cx="34366" cy="1088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13DCC88B-D8F6-4083-B665-D1BCBA9B60B3}"/>
                </a:ext>
              </a:extLst>
            </p:cNvPr>
            <p:cNvSpPr/>
            <p:nvPr/>
          </p:nvSpPr>
          <p:spPr>
            <a:xfrm>
              <a:off x="2691746" y="3894534"/>
              <a:ext cx="34366" cy="18024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ED9367CD-CD4E-47DF-8747-88A516E5F190}"/>
                </a:ext>
              </a:extLst>
            </p:cNvPr>
            <p:cNvSpPr/>
            <p:nvPr/>
          </p:nvSpPr>
          <p:spPr>
            <a:xfrm>
              <a:off x="2748639" y="3992166"/>
              <a:ext cx="34366" cy="826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7994D00D-FA29-4EDE-BDAD-F9C4D3EAB8C6}"/>
                </a:ext>
              </a:extLst>
            </p:cNvPr>
            <p:cNvSpPr/>
            <p:nvPr/>
          </p:nvSpPr>
          <p:spPr>
            <a:xfrm>
              <a:off x="2805532" y="3942160"/>
              <a:ext cx="34366" cy="13261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69FA4D5C-9AFF-448C-9952-2D6E90A85B09}"/>
                </a:ext>
              </a:extLst>
            </p:cNvPr>
            <p:cNvSpPr/>
            <p:nvPr/>
          </p:nvSpPr>
          <p:spPr>
            <a:xfrm>
              <a:off x="2862425" y="3844528"/>
              <a:ext cx="34366" cy="2302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A0FB15B2-CD38-411B-A024-708AB326728C}"/>
                </a:ext>
              </a:extLst>
            </p:cNvPr>
            <p:cNvSpPr/>
            <p:nvPr/>
          </p:nvSpPr>
          <p:spPr>
            <a:xfrm>
              <a:off x="2634853" y="4094559"/>
              <a:ext cx="261938" cy="1828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70E2C4DD-1EFF-4F3E-8829-9EE145FB2A3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143494" y="4609169"/>
            <a:ext cx="247314" cy="241130"/>
            <a:chOff x="2578100" y="0"/>
            <a:chExt cx="11628438" cy="11334750"/>
          </a:xfrm>
          <a:solidFill>
            <a:schemeClr val="bg1">
              <a:alpha val="80000"/>
            </a:schemeClr>
          </a:solidFill>
        </p:grpSpPr>
        <p:sp>
          <p:nvSpPr>
            <p:cNvPr id="55" name="Freeform 15">
              <a:extLst>
                <a:ext uri="{FF2B5EF4-FFF2-40B4-BE49-F238E27FC236}">
                  <a16:creationId xmlns:a16="http://schemas.microsoft.com/office/drawing/2014/main" id="{B975C2D4-457E-4627-8EE7-2DB829B3E3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2263" y="0"/>
              <a:ext cx="4994275" cy="5073650"/>
            </a:xfrm>
            <a:custGeom>
              <a:avLst/>
              <a:gdLst>
                <a:gd name="T0" fmla="*/ 211 w 442"/>
                <a:gd name="T1" fmla="*/ 137 h 449"/>
                <a:gd name="T2" fmla="*/ 308 w 442"/>
                <a:gd name="T3" fmla="*/ 215 h 449"/>
                <a:gd name="T4" fmla="*/ 231 w 442"/>
                <a:gd name="T5" fmla="*/ 312 h 449"/>
                <a:gd name="T6" fmla="*/ 133 w 442"/>
                <a:gd name="T7" fmla="*/ 235 h 449"/>
                <a:gd name="T8" fmla="*/ 211 w 442"/>
                <a:gd name="T9" fmla="*/ 137 h 449"/>
                <a:gd name="T10" fmla="*/ 65 w 442"/>
                <a:gd name="T11" fmla="*/ 283 h 449"/>
                <a:gd name="T12" fmla="*/ 16 w 442"/>
                <a:gd name="T13" fmla="*/ 320 h 449"/>
                <a:gd name="T14" fmla="*/ 71 w 442"/>
                <a:gd name="T15" fmla="*/ 394 h 449"/>
                <a:gd name="T16" fmla="*/ 121 w 442"/>
                <a:gd name="T17" fmla="*/ 357 h 449"/>
                <a:gd name="T18" fmla="*/ 194 w 442"/>
                <a:gd name="T19" fmla="*/ 389 h 449"/>
                <a:gd name="T20" fmla="*/ 201 w 442"/>
                <a:gd name="T21" fmla="*/ 449 h 449"/>
                <a:gd name="T22" fmla="*/ 292 w 442"/>
                <a:gd name="T23" fmla="*/ 439 h 449"/>
                <a:gd name="T24" fmla="*/ 285 w 442"/>
                <a:gd name="T25" fmla="*/ 378 h 449"/>
                <a:gd name="T26" fmla="*/ 349 w 442"/>
                <a:gd name="T27" fmla="*/ 330 h 449"/>
                <a:gd name="T28" fmla="*/ 405 w 442"/>
                <a:gd name="T29" fmla="*/ 354 h 449"/>
                <a:gd name="T30" fmla="*/ 442 w 442"/>
                <a:gd name="T31" fmla="*/ 270 h 449"/>
                <a:gd name="T32" fmla="*/ 385 w 442"/>
                <a:gd name="T33" fmla="*/ 246 h 449"/>
                <a:gd name="T34" fmla="*/ 376 w 442"/>
                <a:gd name="T35" fmla="*/ 166 h 449"/>
                <a:gd name="T36" fmla="*/ 425 w 442"/>
                <a:gd name="T37" fmla="*/ 130 h 449"/>
                <a:gd name="T38" fmla="*/ 370 w 442"/>
                <a:gd name="T39" fmla="*/ 56 h 449"/>
                <a:gd name="T40" fmla="*/ 321 w 442"/>
                <a:gd name="T41" fmla="*/ 93 h 449"/>
                <a:gd name="T42" fmla="*/ 248 w 442"/>
                <a:gd name="T43" fmla="*/ 61 h 449"/>
                <a:gd name="T44" fmla="*/ 241 w 442"/>
                <a:gd name="T45" fmla="*/ 0 h 449"/>
                <a:gd name="T46" fmla="*/ 149 w 442"/>
                <a:gd name="T47" fmla="*/ 11 h 449"/>
                <a:gd name="T48" fmla="*/ 156 w 442"/>
                <a:gd name="T49" fmla="*/ 72 h 449"/>
                <a:gd name="T50" fmla="*/ 93 w 442"/>
                <a:gd name="T51" fmla="*/ 119 h 449"/>
                <a:gd name="T52" fmla="*/ 36 w 442"/>
                <a:gd name="T53" fmla="*/ 95 h 449"/>
                <a:gd name="T54" fmla="*/ 0 w 442"/>
                <a:gd name="T55" fmla="*/ 180 h 449"/>
                <a:gd name="T56" fmla="*/ 56 w 442"/>
                <a:gd name="T57" fmla="*/ 204 h 449"/>
                <a:gd name="T58" fmla="*/ 65 w 442"/>
                <a:gd name="T59" fmla="*/ 283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2" h="449">
                  <a:moveTo>
                    <a:pt x="211" y="137"/>
                  </a:moveTo>
                  <a:cubicBezTo>
                    <a:pt x="259" y="132"/>
                    <a:pt x="303" y="166"/>
                    <a:pt x="308" y="215"/>
                  </a:cubicBezTo>
                  <a:cubicBezTo>
                    <a:pt x="314" y="263"/>
                    <a:pt x="279" y="307"/>
                    <a:pt x="231" y="312"/>
                  </a:cubicBezTo>
                  <a:cubicBezTo>
                    <a:pt x="183" y="318"/>
                    <a:pt x="139" y="283"/>
                    <a:pt x="133" y="235"/>
                  </a:cubicBezTo>
                  <a:cubicBezTo>
                    <a:pt x="128" y="187"/>
                    <a:pt x="162" y="143"/>
                    <a:pt x="211" y="137"/>
                  </a:cubicBezTo>
                  <a:close/>
                  <a:moveTo>
                    <a:pt x="65" y="283"/>
                  </a:moveTo>
                  <a:cubicBezTo>
                    <a:pt x="16" y="320"/>
                    <a:pt x="16" y="320"/>
                    <a:pt x="16" y="320"/>
                  </a:cubicBezTo>
                  <a:cubicBezTo>
                    <a:pt x="71" y="394"/>
                    <a:pt x="71" y="394"/>
                    <a:pt x="71" y="394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94" y="389"/>
                    <a:pt x="194" y="389"/>
                    <a:pt x="194" y="389"/>
                  </a:cubicBezTo>
                  <a:cubicBezTo>
                    <a:pt x="201" y="449"/>
                    <a:pt x="201" y="449"/>
                    <a:pt x="201" y="449"/>
                  </a:cubicBezTo>
                  <a:cubicBezTo>
                    <a:pt x="292" y="439"/>
                    <a:pt x="292" y="439"/>
                    <a:pt x="292" y="439"/>
                  </a:cubicBezTo>
                  <a:cubicBezTo>
                    <a:pt x="285" y="378"/>
                    <a:pt x="285" y="378"/>
                    <a:pt x="285" y="378"/>
                  </a:cubicBezTo>
                  <a:cubicBezTo>
                    <a:pt x="349" y="330"/>
                    <a:pt x="349" y="330"/>
                    <a:pt x="349" y="330"/>
                  </a:cubicBezTo>
                  <a:cubicBezTo>
                    <a:pt x="405" y="354"/>
                    <a:pt x="405" y="354"/>
                    <a:pt x="405" y="354"/>
                  </a:cubicBezTo>
                  <a:cubicBezTo>
                    <a:pt x="442" y="270"/>
                    <a:pt x="442" y="270"/>
                    <a:pt x="442" y="270"/>
                  </a:cubicBezTo>
                  <a:cubicBezTo>
                    <a:pt x="385" y="246"/>
                    <a:pt x="385" y="246"/>
                    <a:pt x="385" y="246"/>
                  </a:cubicBezTo>
                  <a:cubicBezTo>
                    <a:pt x="376" y="166"/>
                    <a:pt x="376" y="166"/>
                    <a:pt x="376" y="166"/>
                  </a:cubicBezTo>
                  <a:cubicBezTo>
                    <a:pt x="425" y="130"/>
                    <a:pt x="425" y="130"/>
                    <a:pt x="425" y="130"/>
                  </a:cubicBezTo>
                  <a:cubicBezTo>
                    <a:pt x="370" y="56"/>
                    <a:pt x="370" y="56"/>
                    <a:pt x="370" y="56"/>
                  </a:cubicBezTo>
                  <a:cubicBezTo>
                    <a:pt x="321" y="93"/>
                    <a:pt x="321" y="93"/>
                    <a:pt x="321" y="93"/>
                  </a:cubicBezTo>
                  <a:cubicBezTo>
                    <a:pt x="248" y="61"/>
                    <a:pt x="248" y="61"/>
                    <a:pt x="248" y="61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56" y="72"/>
                    <a:pt x="156" y="72"/>
                    <a:pt x="156" y="72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36" y="95"/>
                    <a:pt x="36" y="95"/>
                    <a:pt x="36" y="95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56" y="204"/>
                    <a:pt x="56" y="204"/>
                    <a:pt x="56" y="204"/>
                  </a:cubicBezTo>
                  <a:lnTo>
                    <a:pt x="65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6" name="Freeform 16">
              <a:extLst>
                <a:ext uri="{FF2B5EF4-FFF2-40B4-BE49-F238E27FC236}">
                  <a16:creationId xmlns:a16="http://schemas.microsoft.com/office/drawing/2014/main" id="{708B00DA-FCE2-4A57-85FC-B78D141F7B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0313" y="6340475"/>
              <a:ext cx="5073650" cy="4994275"/>
            </a:xfrm>
            <a:custGeom>
              <a:avLst/>
              <a:gdLst>
                <a:gd name="T0" fmla="*/ 306 w 449"/>
                <a:gd name="T1" fmla="*/ 256 h 442"/>
                <a:gd name="T2" fmla="*/ 190 w 449"/>
                <a:gd name="T3" fmla="*/ 302 h 442"/>
                <a:gd name="T4" fmla="*/ 144 w 449"/>
                <a:gd name="T5" fmla="*/ 186 h 442"/>
                <a:gd name="T6" fmla="*/ 259 w 449"/>
                <a:gd name="T7" fmla="*/ 140 h 442"/>
                <a:gd name="T8" fmla="*/ 306 w 449"/>
                <a:gd name="T9" fmla="*/ 256 h 442"/>
                <a:gd name="T10" fmla="*/ 449 w 449"/>
                <a:gd name="T11" fmla="*/ 240 h 442"/>
                <a:gd name="T12" fmla="*/ 438 w 449"/>
                <a:gd name="T13" fmla="*/ 149 h 442"/>
                <a:gd name="T14" fmla="*/ 377 w 449"/>
                <a:gd name="T15" fmla="*/ 156 h 442"/>
                <a:gd name="T16" fmla="*/ 330 w 449"/>
                <a:gd name="T17" fmla="*/ 92 h 442"/>
                <a:gd name="T18" fmla="*/ 354 w 449"/>
                <a:gd name="T19" fmla="*/ 36 h 442"/>
                <a:gd name="T20" fmla="*/ 269 w 449"/>
                <a:gd name="T21" fmla="*/ 0 h 442"/>
                <a:gd name="T22" fmla="*/ 245 w 449"/>
                <a:gd name="T23" fmla="*/ 56 h 442"/>
                <a:gd name="T24" fmla="*/ 166 w 449"/>
                <a:gd name="T25" fmla="*/ 66 h 442"/>
                <a:gd name="T26" fmla="*/ 129 w 449"/>
                <a:gd name="T27" fmla="*/ 17 h 442"/>
                <a:gd name="T28" fmla="*/ 55 w 449"/>
                <a:gd name="T29" fmla="*/ 72 h 442"/>
                <a:gd name="T30" fmla="*/ 92 w 449"/>
                <a:gd name="T31" fmla="*/ 121 h 442"/>
                <a:gd name="T32" fmla="*/ 61 w 449"/>
                <a:gd name="T33" fmla="*/ 194 h 442"/>
                <a:gd name="T34" fmla="*/ 0 w 449"/>
                <a:gd name="T35" fmla="*/ 202 h 442"/>
                <a:gd name="T36" fmla="*/ 11 w 449"/>
                <a:gd name="T37" fmla="*/ 293 h 442"/>
                <a:gd name="T38" fmla="*/ 72 w 449"/>
                <a:gd name="T39" fmla="*/ 286 h 442"/>
                <a:gd name="T40" fmla="*/ 120 w 449"/>
                <a:gd name="T41" fmla="*/ 350 h 442"/>
                <a:gd name="T42" fmla="*/ 96 w 449"/>
                <a:gd name="T43" fmla="*/ 406 h 442"/>
                <a:gd name="T44" fmla="*/ 180 w 449"/>
                <a:gd name="T45" fmla="*/ 442 h 442"/>
                <a:gd name="T46" fmla="*/ 205 w 449"/>
                <a:gd name="T47" fmla="*/ 386 h 442"/>
                <a:gd name="T48" fmla="*/ 284 w 449"/>
                <a:gd name="T49" fmla="*/ 376 h 442"/>
                <a:gd name="T50" fmla="*/ 320 w 449"/>
                <a:gd name="T51" fmla="*/ 425 h 442"/>
                <a:gd name="T52" fmla="*/ 394 w 449"/>
                <a:gd name="T53" fmla="*/ 370 h 442"/>
                <a:gd name="T54" fmla="*/ 357 w 449"/>
                <a:gd name="T55" fmla="*/ 321 h 442"/>
                <a:gd name="T56" fmla="*/ 389 w 449"/>
                <a:gd name="T57" fmla="*/ 248 h 442"/>
                <a:gd name="T58" fmla="*/ 449 w 449"/>
                <a:gd name="T59" fmla="*/ 24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9" h="442">
                  <a:moveTo>
                    <a:pt x="306" y="256"/>
                  </a:moveTo>
                  <a:cubicBezTo>
                    <a:pt x="287" y="300"/>
                    <a:pt x="235" y="321"/>
                    <a:pt x="190" y="302"/>
                  </a:cubicBezTo>
                  <a:cubicBezTo>
                    <a:pt x="145" y="283"/>
                    <a:pt x="125" y="231"/>
                    <a:pt x="144" y="186"/>
                  </a:cubicBezTo>
                  <a:cubicBezTo>
                    <a:pt x="163" y="142"/>
                    <a:pt x="215" y="121"/>
                    <a:pt x="259" y="140"/>
                  </a:cubicBezTo>
                  <a:cubicBezTo>
                    <a:pt x="304" y="159"/>
                    <a:pt x="325" y="211"/>
                    <a:pt x="306" y="256"/>
                  </a:cubicBezTo>
                  <a:close/>
                  <a:moveTo>
                    <a:pt x="449" y="240"/>
                  </a:moveTo>
                  <a:cubicBezTo>
                    <a:pt x="438" y="149"/>
                    <a:pt x="438" y="149"/>
                    <a:pt x="438" y="149"/>
                  </a:cubicBezTo>
                  <a:cubicBezTo>
                    <a:pt x="377" y="156"/>
                    <a:pt x="377" y="156"/>
                    <a:pt x="377" y="156"/>
                  </a:cubicBezTo>
                  <a:cubicBezTo>
                    <a:pt x="330" y="92"/>
                    <a:pt x="330" y="92"/>
                    <a:pt x="330" y="92"/>
                  </a:cubicBezTo>
                  <a:cubicBezTo>
                    <a:pt x="354" y="36"/>
                    <a:pt x="354" y="36"/>
                    <a:pt x="354" y="36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245" y="56"/>
                    <a:pt x="245" y="56"/>
                    <a:pt x="245" y="56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92" y="121"/>
                    <a:pt x="92" y="121"/>
                    <a:pt x="92" y="121"/>
                  </a:cubicBezTo>
                  <a:cubicBezTo>
                    <a:pt x="61" y="194"/>
                    <a:pt x="61" y="194"/>
                    <a:pt x="61" y="194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11" y="293"/>
                    <a:pt x="11" y="293"/>
                    <a:pt x="11" y="293"/>
                  </a:cubicBezTo>
                  <a:cubicBezTo>
                    <a:pt x="72" y="286"/>
                    <a:pt x="72" y="286"/>
                    <a:pt x="72" y="286"/>
                  </a:cubicBezTo>
                  <a:cubicBezTo>
                    <a:pt x="120" y="350"/>
                    <a:pt x="120" y="350"/>
                    <a:pt x="120" y="350"/>
                  </a:cubicBezTo>
                  <a:cubicBezTo>
                    <a:pt x="96" y="406"/>
                    <a:pt x="96" y="406"/>
                    <a:pt x="96" y="406"/>
                  </a:cubicBezTo>
                  <a:cubicBezTo>
                    <a:pt x="180" y="442"/>
                    <a:pt x="180" y="442"/>
                    <a:pt x="180" y="442"/>
                  </a:cubicBezTo>
                  <a:cubicBezTo>
                    <a:pt x="205" y="386"/>
                    <a:pt x="205" y="386"/>
                    <a:pt x="205" y="386"/>
                  </a:cubicBezTo>
                  <a:cubicBezTo>
                    <a:pt x="284" y="376"/>
                    <a:pt x="284" y="376"/>
                    <a:pt x="284" y="376"/>
                  </a:cubicBezTo>
                  <a:cubicBezTo>
                    <a:pt x="320" y="425"/>
                    <a:pt x="320" y="425"/>
                    <a:pt x="320" y="425"/>
                  </a:cubicBezTo>
                  <a:cubicBezTo>
                    <a:pt x="394" y="370"/>
                    <a:pt x="394" y="370"/>
                    <a:pt x="394" y="370"/>
                  </a:cubicBezTo>
                  <a:cubicBezTo>
                    <a:pt x="357" y="321"/>
                    <a:pt x="357" y="321"/>
                    <a:pt x="357" y="321"/>
                  </a:cubicBezTo>
                  <a:cubicBezTo>
                    <a:pt x="389" y="248"/>
                    <a:pt x="389" y="248"/>
                    <a:pt x="389" y="248"/>
                  </a:cubicBezTo>
                  <a:lnTo>
                    <a:pt x="449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57" name="Freeform 17">
              <a:extLst>
                <a:ext uri="{FF2B5EF4-FFF2-40B4-BE49-F238E27FC236}">
                  <a16:creationId xmlns:a16="http://schemas.microsoft.com/office/drawing/2014/main" id="{D6554093-6227-402B-9FA3-2C1647D3B6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8100" y="1638300"/>
              <a:ext cx="7627938" cy="7616825"/>
            </a:xfrm>
            <a:custGeom>
              <a:avLst/>
              <a:gdLst>
                <a:gd name="T0" fmla="*/ 337 w 675"/>
                <a:gd name="T1" fmla="*/ 485 h 674"/>
                <a:gd name="T2" fmla="*/ 189 w 675"/>
                <a:gd name="T3" fmla="*/ 337 h 674"/>
                <a:gd name="T4" fmla="*/ 337 w 675"/>
                <a:gd name="T5" fmla="*/ 189 h 674"/>
                <a:gd name="T6" fmla="*/ 486 w 675"/>
                <a:gd name="T7" fmla="*/ 337 h 674"/>
                <a:gd name="T8" fmla="*/ 337 w 675"/>
                <a:gd name="T9" fmla="*/ 485 h 674"/>
                <a:gd name="T10" fmla="*/ 571 w 675"/>
                <a:gd name="T11" fmla="*/ 479 h 674"/>
                <a:gd name="T12" fmla="*/ 602 w 675"/>
                <a:gd name="T13" fmla="*/ 401 h 674"/>
                <a:gd name="T14" fmla="*/ 675 w 675"/>
                <a:gd name="T15" fmla="*/ 395 h 674"/>
                <a:gd name="T16" fmla="*/ 675 w 675"/>
                <a:gd name="T17" fmla="*/ 279 h 674"/>
                <a:gd name="T18" fmla="*/ 602 w 675"/>
                <a:gd name="T19" fmla="*/ 272 h 674"/>
                <a:gd name="T20" fmla="*/ 571 w 675"/>
                <a:gd name="T21" fmla="*/ 195 h 674"/>
                <a:gd name="T22" fmla="*/ 617 w 675"/>
                <a:gd name="T23" fmla="*/ 139 h 674"/>
                <a:gd name="T24" fmla="*/ 535 w 675"/>
                <a:gd name="T25" fmla="*/ 57 h 674"/>
                <a:gd name="T26" fmla="*/ 479 w 675"/>
                <a:gd name="T27" fmla="*/ 104 h 674"/>
                <a:gd name="T28" fmla="*/ 402 w 675"/>
                <a:gd name="T29" fmla="*/ 72 h 674"/>
                <a:gd name="T30" fmla="*/ 395 w 675"/>
                <a:gd name="T31" fmla="*/ 0 h 674"/>
                <a:gd name="T32" fmla="*/ 279 w 675"/>
                <a:gd name="T33" fmla="*/ 0 h 674"/>
                <a:gd name="T34" fmla="*/ 273 w 675"/>
                <a:gd name="T35" fmla="*/ 72 h 674"/>
                <a:gd name="T36" fmla="*/ 195 w 675"/>
                <a:gd name="T37" fmla="*/ 103 h 674"/>
                <a:gd name="T38" fmla="*/ 140 w 675"/>
                <a:gd name="T39" fmla="*/ 57 h 674"/>
                <a:gd name="T40" fmla="*/ 58 w 675"/>
                <a:gd name="T41" fmla="*/ 139 h 674"/>
                <a:gd name="T42" fmla="*/ 104 w 675"/>
                <a:gd name="T43" fmla="*/ 195 h 674"/>
                <a:gd name="T44" fmla="*/ 72 w 675"/>
                <a:gd name="T45" fmla="*/ 272 h 674"/>
                <a:gd name="T46" fmla="*/ 0 w 675"/>
                <a:gd name="T47" fmla="*/ 279 h 674"/>
                <a:gd name="T48" fmla="*/ 0 w 675"/>
                <a:gd name="T49" fmla="*/ 395 h 674"/>
                <a:gd name="T50" fmla="*/ 72 w 675"/>
                <a:gd name="T51" fmla="*/ 401 h 674"/>
                <a:gd name="T52" fmla="*/ 104 w 675"/>
                <a:gd name="T53" fmla="*/ 479 h 674"/>
                <a:gd name="T54" fmla="*/ 58 w 675"/>
                <a:gd name="T55" fmla="*/ 534 h 674"/>
                <a:gd name="T56" fmla="*/ 140 w 675"/>
                <a:gd name="T57" fmla="*/ 616 h 674"/>
                <a:gd name="T58" fmla="*/ 195 w 675"/>
                <a:gd name="T59" fmla="*/ 570 h 674"/>
                <a:gd name="T60" fmla="*/ 273 w 675"/>
                <a:gd name="T61" fmla="*/ 602 h 674"/>
                <a:gd name="T62" fmla="*/ 279 w 675"/>
                <a:gd name="T63" fmla="*/ 674 h 674"/>
                <a:gd name="T64" fmla="*/ 395 w 675"/>
                <a:gd name="T65" fmla="*/ 674 h 674"/>
                <a:gd name="T66" fmla="*/ 402 w 675"/>
                <a:gd name="T67" fmla="*/ 602 h 674"/>
                <a:gd name="T68" fmla="*/ 479 w 675"/>
                <a:gd name="T69" fmla="*/ 570 h 674"/>
                <a:gd name="T70" fmla="*/ 535 w 675"/>
                <a:gd name="T71" fmla="*/ 616 h 674"/>
                <a:gd name="T72" fmla="*/ 617 w 675"/>
                <a:gd name="T73" fmla="*/ 534 h 674"/>
                <a:gd name="T74" fmla="*/ 571 w 675"/>
                <a:gd name="T75" fmla="*/ 479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5" h="674">
                  <a:moveTo>
                    <a:pt x="337" y="485"/>
                  </a:moveTo>
                  <a:cubicBezTo>
                    <a:pt x="255" y="485"/>
                    <a:pt x="189" y="419"/>
                    <a:pt x="189" y="337"/>
                  </a:cubicBezTo>
                  <a:cubicBezTo>
                    <a:pt x="189" y="255"/>
                    <a:pt x="255" y="189"/>
                    <a:pt x="337" y="189"/>
                  </a:cubicBezTo>
                  <a:cubicBezTo>
                    <a:pt x="419" y="189"/>
                    <a:pt x="486" y="255"/>
                    <a:pt x="486" y="337"/>
                  </a:cubicBezTo>
                  <a:cubicBezTo>
                    <a:pt x="486" y="419"/>
                    <a:pt x="419" y="485"/>
                    <a:pt x="337" y="485"/>
                  </a:cubicBezTo>
                  <a:close/>
                  <a:moveTo>
                    <a:pt x="571" y="479"/>
                  </a:moveTo>
                  <a:cubicBezTo>
                    <a:pt x="602" y="401"/>
                    <a:pt x="602" y="401"/>
                    <a:pt x="602" y="401"/>
                  </a:cubicBezTo>
                  <a:cubicBezTo>
                    <a:pt x="675" y="395"/>
                    <a:pt x="675" y="395"/>
                    <a:pt x="675" y="395"/>
                  </a:cubicBezTo>
                  <a:cubicBezTo>
                    <a:pt x="675" y="279"/>
                    <a:pt x="675" y="279"/>
                    <a:pt x="675" y="279"/>
                  </a:cubicBezTo>
                  <a:cubicBezTo>
                    <a:pt x="602" y="272"/>
                    <a:pt x="602" y="272"/>
                    <a:pt x="602" y="272"/>
                  </a:cubicBezTo>
                  <a:cubicBezTo>
                    <a:pt x="571" y="195"/>
                    <a:pt x="571" y="195"/>
                    <a:pt x="571" y="195"/>
                  </a:cubicBezTo>
                  <a:cubicBezTo>
                    <a:pt x="617" y="139"/>
                    <a:pt x="617" y="139"/>
                    <a:pt x="617" y="139"/>
                  </a:cubicBezTo>
                  <a:cubicBezTo>
                    <a:pt x="535" y="57"/>
                    <a:pt x="535" y="57"/>
                    <a:pt x="535" y="57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02" y="72"/>
                    <a:pt x="402" y="72"/>
                    <a:pt x="402" y="72"/>
                  </a:cubicBezTo>
                  <a:cubicBezTo>
                    <a:pt x="395" y="0"/>
                    <a:pt x="395" y="0"/>
                    <a:pt x="395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3" y="72"/>
                    <a:pt x="273" y="72"/>
                    <a:pt x="273" y="72"/>
                  </a:cubicBezTo>
                  <a:cubicBezTo>
                    <a:pt x="195" y="103"/>
                    <a:pt x="195" y="103"/>
                    <a:pt x="195" y="103"/>
                  </a:cubicBezTo>
                  <a:cubicBezTo>
                    <a:pt x="140" y="57"/>
                    <a:pt x="140" y="57"/>
                    <a:pt x="140" y="57"/>
                  </a:cubicBezTo>
                  <a:cubicBezTo>
                    <a:pt x="58" y="139"/>
                    <a:pt x="58" y="139"/>
                    <a:pt x="58" y="139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72" y="272"/>
                    <a:pt x="72" y="272"/>
                    <a:pt x="72" y="272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0" y="395"/>
                    <a:pt x="0" y="395"/>
                    <a:pt x="0" y="395"/>
                  </a:cubicBezTo>
                  <a:cubicBezTo>
                    <a:pt x="72" y="401"/>
                    <a:pt x="72" y="401"/>
                    <a:pt x="72" y="401"/>
                  </a:cubicBezTo>
                  <a:cubicBezTo>
                    <a:pt x="104" y="479"/>
                    <a:pt x="104" y="479"/>
                    <a:pt x="104" y="479"/>
                  </a:cubicBezTo>
                  <a:cubicBezTo>
                    <a:pt x="58" y="534"/>
                    <a:pt x="58" y="534"/>
                    <a:pt x="58" y="534"/>
                  </a:cubicBezTo>
                  <a:cubicBezTo>
                    <a:pt x="140" y="616"/>
                    <a:pt x="140" y="616"/>
                    <a:pt x="140" y="616"/>
                  </a:cubicBezTo>
                  <a:cubicBezTo>
                    <a:pt x="195" y="570"/>
                    <a:pt x="195" y="570"/>
                    <a:pt x="195" y="570"/>
                  </a:cubicBezTo>
                  <a:cubicBezTo>
                    <a:pt x="273" y="602"/>
                    <a:pt x="273" y="602"/>
                    <a:pt x="273" y="602"/>
                  </a:cubicBezTo>
                  <a:cubicBezTo>
                    <a:pt x="279" y="674"/>
                    <a:pt x="279" y="674"/>
                    <a:pt x="279" y="674"/>
                  </a:cubicBezTo>
                  <a:cubicBezTo>
                    <a:pt x="395" y="674"/>
                    <a:pt x="395" y="674"/>
                    <a:pt x="395" y="674"/>
                  </a:cubicBezTo>
                  <a:cubicBezTo>
                    <a:pt x="402" y="602"/>
                    <a:pt x="402" y="602"/>
                    <a:pt x="402" y="602"/>
                  </a:cubicBezTo>
                  <a:cubicBezTo>
                    <a:pt x="479" y="570"/>
                    <a:pt x="479" y="570"/>
                    <a:pt x="479" y="570"/>
                  </a:cubicBezTo>
                  <a:cubicBezTo>
                    <a:pt x="535" y="616"/>
                    <a:pt x="535" y="616"/>
                    <a:pt x="535" y="616"/>
                  </a:cubicBezTo>
                  <a:cubicBezTo>
                    <a:pt x="617" y="534"/>
                    <a:pt x="617" y="534"/>
                    <a:pt x="617" y="534"/>
                  </a:cubicBezTo>
                  <a:lnTo>
                    <a:pt x="571" y="4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C270A31D-C7A6-4CFF-BF9D-E17918757F9E}"/>
              </a:ext>
            </a:extLst>
          </p:cNvPr>
          <p:cNvGrpSpPr/>
          <p:nvPr userDrawn="1"/>
        </p:nvGrpSpPr>
        <p:grpSpPr>
          <a:xfrm>
            <a:off x="11217797" y="1860685"/>
            <a:ext cx="192111" cy="290045"/>
            <a:chOff x="-3947158" y="1719597"/>
            <a:chExt cx="3385092" cy="5109416"/>
          </a:xfrm>
          <a:solidFill>
            <a:schemeClr val="bg1">
              <a:alpha val="80000"/>
            </a:schemeClr>
          </a:solidFill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F989F645-2FEF-41F3-BCA0-F8692A30BFEB}"/>
                </a:ext>
              </a:extLst>
            </p:cNvPr>
            <p:cNvSpPr/>
            <p:nvPr/>
          </p:nvSpPr>
          <p:spPr>
            <a:xfrm>
              <a:off x="-3624517" y="2322583"/>
              <a:ext cx="3062451" cy="218046"/>
            </a:xfrm>
            <a:prstGeom prst="rect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FBE23FD7-42E8-464F-B540-CC34B9F222A3}"/>
                </a:ext>
              </a:extLst>
            </p:cNvPr>
            <p:cNvSpPr/>
            <p:nvPr/>
          </p:nvSpPr>
          <p:spPr>
            <a:xfrm>
              <a:off x="-3947158" y="3738067"/>
              <a:ext cx="1988090" cy="3089947"/>
            </a:xfrm>
            <a:custGeom>
              <a:avLst/>
              <a:gdLst>
                <a:gd name="connsiteX0" fmla="*/ 1536585 w 1988090"/>
                <a:gd name="connsiteY0" fmla="*/ 279 h 3089947"/>
                <a:gd name="connsiteX1" fmla="*/ 1493799 w 1988090"/>
                <a:gd name="connsiteY1" fmla="*/ 6084 h 3089947"/>
                <a:gd name="connsiteX2" fmla="*/ 994045 w 1988090"/>
                <a:gd name="connsiteY2" fmla="*/ 201257 h 3089947"/>
                <a:gd name="connsiteX3" fmla="*/ 494330 w 1988090"/>
                <a:gd name="connsiteY3" fmla="*/ 6122 h 3089947"/>
                <a:gd name="connsiteX4" fmla="*/ 451390 w 1988090"/>
                <a:gd name="connsiteY4" fmla="*/ 317 h 3089947"/>
                <a:gd name="connsiteX5" fmla="*/ 362549 w 1988090"/>
                <a:gd name="connsiteY5" fmla="*/ 12004 h 3089947"/>
                <a:gd name="connsiteX6" fmla="*/ 126819 w 1988090"/>
                <a:gd name="connsiteY6" fmla="*/ 305590 h 3089947"/>
                <a:gd name="connsiteX7" fmla="*/ 36 w 1988090"/>
                <a:gd name="connsiteY7" fmla="*/ 1551706 h 3089947"/>
                <a:gd name="connsiteX8" fmla="*/ 56470 w 1988090"/>
                <a:gd name="connsiteY8" fmla="*/ 1695481 h 3089947"/>
                <a:gd name="connsiteX9" fmla="*/ 198053 w 1988090"/>
                <a:gd name="connsiteY9" fmla="*/ 1757220 h 3089947"/>
                <a:gd name="connsiteX10" fmla="*/ 199975 w 1988090"/>
                <a:gd name="connsiteY10" fmla="*/ 1757258 h 3089947"/>
                <a:gd name="connsiteX11" fmla="*/ 201898 w 1988090"/>
                <a:gd name="connsiteY11" fmla="*/ 1757258 h 3089947"/>
                <a:gd name="connsiteX12" fmla="*/ 290969 w 1988090"/>
                <a:gd name="connsiteY12" fmla="*/ 1736154 h 3089947"/>
                <a:gd name="connsiteX13" fmla="*/ 359743 w 1988090"/>
                <a:gd name="connsiteY13" fmla="*/ 1679873 h 3089947"/>
                <a:gd name="connsiteX14" fmla="*/ 359743 w 1988090"/>
                <a:gd name="connsiteY14" fmla="*/ 2240751 h 3089947"/>
                <a:gd name="connsiteX15" fmla="*/ 359743 w 1988090"/>
                <a:gd name="connsiteY15" fmla="*/ 2801628 h 3089947"/>
                <a:gd name="connsiteX16" fmla="*/ 444201 w 1988090"/>
                <a:gd name="connsiteY16" fmla="*/ 3005489 h 3089947"/>
                <a:gd name="connsiteX17" fmla="*/ 648062 w 1988090"/>
                <a:gd name="connsiteY17" fmla="*/ 3089947 h 3089947"/>
                <a:gd name="connsiteX18" fmla="*/ 851923 w 1988090"/>
                <a:gd name="connsiteY18" fmla="*/ 3005489 h 3089947"/>
                <a:gd name="connsiteX19" fmla="*/ 936382 w 1988090"/>
                <a:gd name="connsiteY19" fmla="*/ 2801628 h 3089947"/>
                <a:gd name="connsiteX20" fmla="*/ 936382 w 1988090"/>
                <a:gd name="connsiteY20" fmla="*/ 2340317 h 3089947"/>
                <a:gd name="connsiteX21" fmla="*/ 936382 w 1988090"/>
                <a:gd name="connsiteY21" fmla="*/ 1879006 h 3089947"/>
                <a:gd name="connsiteX22" fmla="*/ 994045 w 1988090"/>
                <a:gd name="connsiteY22" fmla="*/ 1879006 h 3089947"/>
                <a:gd name="connsiteX23" fmla="*/ 1051709 w 1988090"/>
                <a:gd name="connsiteY23" fmla="*/ 1879006 h 3089947"/>
                <a:gd name="connsiteX24" fmla="*/ 1051709 w 1988090"/>
                <a:gd name="connsiteY24" fmla="*/ 2340317 h 3089947"/>
                <a:gd name="connsiteX25" fmla="*/ 1051709 w 1988090"/>
                <a:gd name="connsiteY25" fmla="*/ 2801628 h 3089947"/>
                <a:gd name="connsiteX26" fmla="*/ 1136167 w 1988090"/>
                <a:gd name="connsiteY26" fmla="*/ 3005489 h 3089947"/>
                <a:gd name="connsiteX27" fmla="*/ 1340029 w 1988090"/>
                <a:gd name="connsiteY27" fmla="*/ 3089947 h 3089947"/>
                <a:gd name="connsiteX28" fmla="*/ 1543889 w 1988090"/>
                <a:gd name="connsiteY28" fmla="*/ 3005489 h 3089947"/>
                <a:gd name="connsiteX29" fmla="*/ 1628348 w 1988090"/>
                <a:gd name="connsiteY29" fmla="*/ 2801628 h 3089947"/>
                <a:gd name="connsiteX30" fmla="*/ 1628348 w 1988090"/>
                <a:gd name="connsiteY30" fmla="*/ 2263432 h 3089947"/>
                <a:gd name="connsiteX31" fmla="*/ 1628348 w 1988090"/>
                <a:gd name="connsiteY31" fmla="*/ 1725313 h 3089947"/>
                <a:gd name="connsiteX32" fmla="*/ 1628348 w 1988090"/>
                <a:gd name="connsiteY32" fmla="*/ 1725236 h 3089947"/>
                <a:gd name="connsiteX33" fmla="*/ 1628348 w 1988090"/>
                <a:gd name="connsiteY33" fmla="*/ 1725159 h 3089947"/>
                <a:gd name="connsiteX34" fmla="*/ 1628348 w 1988090"/>
                <a:gd name="connsiteY34" fmla="*/ 1702478 h 3089947"/>
                <a:gd name="connsiteX35" fmla="*/ 1628348 w 1988090"/>
                <a:gd name="connsiteY35" fmla="*/ 1679797 h 3089947"/>
                <a:gd name="connsiteX36" fmla="*/ 1697122 w 1988090"/>
                <a:gd name="connsiteY36" fmla="*/ 1736115 h 3089947"/>
                <a:gd name="connsiteX37" fmla="*/ 1786193 w 1988090"/>
                <a:gd name="connsiteY37" fmla="*/ 1757220 h 3089947"/>
                <a:gd name="connsiteX38" fmla="*/ 1788115 w 1988090"/>
                <a:gd name="connsiteY38" fmla="*/ 1757220 h 3089947"/>
                <a:gd name="connsiteX39" fmla="*/ 1790037 w 1988090"/>
                <a:gd name="connsiteY39" fmla="*/ 1757182 h 3089947"/>
                <a:gd name="connsiteX40" fmla="*/ 1931621 w 1988090"/>
                <a:gd name="connsiteY40" fmla="*/ 1695443 h 3089947"/>
                <a:gd name="connsiteX41" fmla="*/ 1988055 w 1988090"/>
                <a:gd name="connsiteY41" fmla="*/ 1551668 h 3089947"/>
                <a:gd name="connsiteX42" fmla="*/ 1861233 w 1988090"/>
                <a:gd name="connsiteY42" fmla="*/ 305552 h 3089947"/>
                <a:gd name="connsiteX43" fmla="*/ 1625465 w 1988090"/>
                <a:gd name="connsiteY43" fmla="*/ 11966 h 3089947"/>
                <a:gd name="connsiteX44" fmla="*/ 1536585 w 1988090"/>
                <a:gd name="connsiteY44" fmla="*/ 279 h 308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988090" h="3089947">
                  <a:moveTo>
                    <a:pt x="1536585" y="279"/>
                  </a:moveTo>
                  <a:cubicBezTo>
                    <a:pt x="1521939" y="971"/>
                    <a:pt x="1507676" y="3008"/>
                    <a:pt x="1493799" y="6084"/>
                  </a:cubicBezTo>
                  <a:cubicBezTo>
                    <a:pt x="1361787" y="126870"/>
                    <a:pt x="1186643" y="201257"/>
                    <a:pt x="994045" y="201257"/>
                  </a:cubicBezTo>
                  <a:cubicBezTo>
                    <a:pt x="801448" y="201257"/>
                    <a:pt x="626342" y="126870"/>
                    <a:pt x="494330" y="6122"/>
                  </a:cubicBezTo>
                  <a:cubicBezTo>
                    <a:pt x="480414" y="3047"/>
                    <a:pt x="466075" y="1009"/>
                    <a:pt x="451390" y="317"/>
                  </a:cubicBezTo>
                  <a:cubicBezTo>
                    <a:pt x="422827" y="-1028"/>
                    <a:pt x="392996" y="2432"/>
                    <a:pt x="362549" y="12004"/>
                  </a:cubicBezTo>
                  <a:cubicBezTo>
                    <a:pt x="277591" y="38683"/>
                    <a:pt x="193133" y="92772"/>
                    <a:pt x="126819" y="305590"/>
                  </a:cubicBezTo>
                  <a:cubicBezTo>
                    <a:pt x="60506" y="518408"/>
                    <a:pt x="12337" y="889994"/>
                    <a:pt x="36" y="1551706"/>
                  </a:cubicBezTo>
                  <a:cubicBezTo>
                    <a:pt x="-1002" y="1607409"/>
                    <a:pt x="20641" y="1658308"/>
                    <a:pt x="56470" y="1695481"/>
                  </a:cubicBezTo>
                  <a:cubicBezTo>
                    <a:pt x="92298" y="1732655"/>
                    <a:pt x="142312" y="1756221"/>
                    <a:pt x="198053" y="1757220"/>
                  </a:cubicBezTo>
                  <a:cubicBezTo>
                    <a:pt x="198707" y="1757220"/>
                    <a:pt x="199322" y="1757220"/>
                    <a:pt x="199975" y="1757258"/>
                  </a:cubicBezTo>
                  <a:cubicBezTo>
                    <a:pt x="200629" y="1757297"/>
                    <a:pt x="201244" y="1757258"/>
                    <a:pt x="201898" y="1757258"/>
                  </a:cubicBezTo>
                  <a:cubicBezTo>
                    <a:pt x="233920" y="1757258"/>
                    <a:pt x="264136" y="1749647"/>
                    <a:pt x="290969" y="1736154"/>
                  </a:cubicBezTo>
                  <a:cubicBezTo>
                    <a:pt x="317802" y="1722660"/>
                    <a:pt x="341214" y="1703323"/>
                    <a:pt x="359743" y="1679873"/>
                  </a:cubicBezTo>
                  <a:lnTo>
                    <a:pt x="359743" y="2240751"/>
                  </a:lnTo>
                  <a:lnTo>
                    <a:pt x="359743" y="2801628"/>
                  </a:lnTo>
                  <a:cubicBezTo>
                    <a:pt x="359743" y="2881243"/>
                    <a:pt x="391996" y="2953323"/>
                    <a:pt x="444201" y="3005489"/>
                  </a:cubicBezTo>
                  <a:cubicBezTo>
                    <a:pt x="496406" y="3057656"/>
                    <a:pt x="568447" y="3089947"/>
                    <a:pt x="648062" y="3089947"/>
                  </a:cubicBezTo>
                  <a:cubicBezTo>
                    <a:pt x="727677" y="3089947"/>
                    <a:pt x="799757" y="3057694"/>
                    <a:pt x="851923" y="3005489"/>
                  </a:cubicBezTo>
                  <a:cubicBezTo>
                    <a:pt x="904090" y="2953284"/>
                    <a:pt x="936382" y="2881243"/>
                    <a:pt x="936382" y="2801628"/>
                  </a:cubicBezTo>
                  <a:lnTo>
                    <a:pt x="936382" y="2340317"/>
                  </a:lnTo>
                  <a:lnTo>
                    <a:pt x="936382" y="1879006"/>
                  </a:lnTo>
                  <a:lnTo>
                    <a:pt x="994045" y="1879006"/>
                  </a:lnTo>
                  <a:lnTo>
                    <a:pt x="1051709" y="1879006"/>
                  </a:lnTo>
                  <a:lnTo>
                    <a:pt x="1051709" y="2340317"/>
                  </a:lnTo>
                  <a:lnTo>
                    <a:pt x="1051709" y="2801628"/>
                  </a:lnTo>
                  <a:cubicBezTo>
                    <a:pt x="1051709" y="2881243"/>
                    <a:pt x="1083962" y="2953323"/>
                    <a:pt x="1136167" y="3005489"/>
                  </a:cubicBezTo>
                  <a:cubicBezTo>
                    <a:pt x="1188372" y="3057656"/>
                    <a:pt x="1260414" y="3089947"/>
                    <a:pt x="1340029" y="3089947"/>
                  </a:cubicBezTo>
                  <a:cubicBezTo>
                    <a:pt x="1419643" y="3089947"/>
                    <a:pt x="1491723" y="3057694"/>
                    <a:pt x="1543889" y="3005489"/>
                  </a:cubicBezTo>
                  <a:cubicBezTo>
                    <a:pt x="1596056" y="2953284"/>
                    <a:pt x="1628348" y="2881243"/>
                    <a:pt x="1628348" y="2801628"/>
                  </a:cubicBezTo>
                  <a:lnTo>
                    <a:pt x="1628348" y="2263432"/>
                  </a:lnTo>
                  <a:lnTo>
                    <a:pt x="1628348" y="1725313"/>
                  </a:lnTo>
                  <a:cubicBezTo>
                    <a:pt x="1628348" y="1725274"/>
                    <a:pt x="1628348" y="1725274"/>
                    <a:pt x="1628348" y="1725236"/>
                  </a:cubicBezTo>
                  <a:cubicBezTo>
                    <a:pt x="1628348" y="1725197"/>
                    <a:pt x="1628348" y="1725197"/>
                    <a:pt x="1628348" y="1725159"/>
                  </a:cubicBezTo>
                  <a:lnTo>
                    <a:pt x="1628348" y="1702478"/>
                  </a:lnTo>
                  <a:lnTo>
                    <a:pt x="1628348" y="1679797"/>
                  </a:lnTo>
                  <a:cubicBezTo>
                    <a:pt x="1646839" y="1703247"/>
                    <a:pt x="1670289" y="1722622"/>
                    <a:pt x="1697122" y="1736115"/>
                  </a:cubicBezTo>
                  <a:cubicBezTo>
                    <a:pt x="1723955" y="1749609"/>
                    <a:pt x="1754170" y="1757220"/>
                    <a:pt x="1786193" y="1757220"/>
                  </a:cubicBezTo>
                  <a:cubicBezTo>
                    <a:pt x="1786847" y="1757220"/>
                    <a:pt x="1787461" y="1757220"/>
                    <a:pt x="1788115" y="1757220"/>
                  </a:cubicBezTo>
                  <a:cubicBezTo>
                    <a:pt x="1788769" y="1757220"/>
                    <a:pt x="1789384" y="1757220"/>
                    <a:pt x="1790037" y="1757182"/>
                  </a:cubicBezTo>
                  <a:cubicBezTo>
                    <a:pt x="1845779" y="1756144"/>
                    <a:pt x="1895793" y="1732617"/>
                    <a:pt x="1931621" y="1695443"/>
                  </a:cubicBezTo>
                  <a:cubicBezTo>
                    <a:pt x="1967450" y="1658269"/>
                    <a:pt x="1989093" y="1607371"/>
                    <a:pt x="1988055" y="1551668"/>
                  </a:cubicBezTo>
                  <a:cubicBezTo>
                    <a:pt x="1975715" y="889955"/>
                    <a:pt x="1927585" y="518370"/>
                    <a:pt x="1861233" y="305552"/>
                  </a:cubicBezTo>
                  <a:cubicBezTo>
                    <a:pt x="1794881" y="92733"/>
                    <a:pt x="1710423" y="38683"/>
                    <a:pt x="1625465" y="11966"/>
                  </a:cubicBezTo>
                  <a:cubicBezTo>
                    <a:pt x="1594980" y="2393"/>
                    <a:pt x="1565148" y="-1066"/>
                    <a:pt x="1536585" y="27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7A6C36BA-4BC5-4075-8022-0BE8AA10C47E}"/>
                </a:ext>
              </a:extLst>
            </p:cNvPr>
            <p:cNvSpPr/>
            <p:nvPr/>
          </p:nvSpPr>
          <p:spPr>
            <a:xfrm>
              <a:off x="-3541246" y="2609288"/>
              <a:ext cx="1176265" cy="1176265"/>
            </a:xfrm>
            <a:custGeom>
              <a:avLst/>
              <a:gdLst>
                <a:gd name="connsiteX0" fmla="*/ 1176266 w 1176265"/>
                <a:gd name="connsiteY0" fmla="*/ 588133 h 1176265"/>
                <a:gd name="connsiteX1" fmla="*/ 588133 w 1176265"/>
                <a:gd name="connsiteY1" fmla="*/ 1176266 h 1176265"/>
                <a:gd name="connsiteX2" fmla="*/ 0 w 1176265"/>
                <a:gd name="connsiteY2" fmla="*/ 588133 h 1176265"/>
                <a:gd name="connsiteX3" fmla="*/ 588133 w 1176265"/>
                <a:gd name="connsiteY3" fmla="*/ 0 h 1176265"/>
                <a:gd name="connsiteX4" fmla="*/ 1176266 w 1176265"/>
                <a:gd name="connsiteY4" fmla="*/ 588133 h 117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6265" h="1176265">
                  <a:moveTo>
                    <a:pt x="1176266" y="588133"/>
                  </a:moveTo>
                  <a:cubicBezTo>
                    <a:pt x="1176266" y="912950"/>
                    <a:pt x="912950" y="1176266"/>
                    <a:pt x="588133" y="1176266"/>
                  </a:cubicBezTo>
                  <a:cubicBezTo>
                    <a:pt x="263316" y="1176266"/>
                    <a:pt x="0" y="912950"/>
                    <a:pt x="0" y="588133"/>
                  </a:cubicBezTo>
                  <a:cubicBezTo>
                    <a:pt x="0" y="263316"/>
                    <a:pt x="263316" y="0"/>
                    <a:pt x="588133" y="0"/>
                  </a:cubicBezTo>
                  <a:cubicBezTo>
                    <a:pt x="912950" y="0"/>
                    <a:pt x="1176266" y="263316"/>
                    <a:pt x="1176266" y="5881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FED6BB0A-5568-4896-B2CE-44E8DB881D21}"/>
                </a:ext>
              </a:extLst>
            </p:cNvPr>
            <p:cNvSpPr/>
            <p:nvPr/>
          </p:nvSpPr>
          <p:spPr>
            <a:xfrm>
              <a:off x="-1697617" y="2605328"/>
              <a:ext cx="956528" cy="4223685"/>
            </a:xfrm>
            <a:custGeom>
              <a:avLst/>
              <a:gdLst>
                <a:gd name="connsiteX0" fmla="*/ 956528 w 956528"/>
                <a:gd name="connsiteY0" fmla="*/ 4223686 h 4223685"/>
                <a:gd name="connsiteX1" fmla="*/ 956528 w 956528"/>
                <a:gd name="connsiteY1" fmla="*/ 0 h 4223685"/>
                <a:gd name="connsiteX2" fmla="*/ 900248 w 956528"/>
                <a:gd name="connsiteY2" fmla="*/ 0 h 4223685"/>
                <a:gd name="connsiteX3" fmla="*/ 900248 w 956528"/>
                <a:gd name="connsiteY3" fmla="*/ 4167445 h 4223685"/>
                <a:gd name="connsiteX4" fmla="*/ 56280 w 956528"/>
                <a:gd name="connsiteY4" fmla="*/ 4167445 h 4223685"/>
                <a:gd name="connsiteX5" fmla="*/ 56280 w 956528"/>
                <a:gd name="connsiteY5" fmla="*/ 3998643 h 4223685"/>
                <a:gd name="connsiteX6" fmla="*/ 337603 w 956528"/>
                <a:gd name="connsiteY6" fmla="*/ 3998643 h 4223685"/>
                <a:gd name="connsiteX7" fmla="*/ 337603 w 956528"/>
                <a:gd name="connsiteY7" fmla="*/ 3942363 h 4223685"/>
                <a:gd name="connsiteX8" fmla="*/ 56280 w 956528"/>
                <a:gd name="connsiteY8" fmla="*/ 3942363 h 4223685"/>
                <a:gd name="connsiteX9" fmla="*/ 56280 w 956528"/>
                <a:gd name="connsiteY9" fmla="*/ 3773562 h 4223685"/>
                <a:gd name="connsiteX10" fmla="*/ 337603 w 956528"/>
                <a:gd name="connsiteY10" fmla="*/ 3773562 h 4223685"/>
                <a:gd name="connsiteX11" fmla="*/ 337603 w 956528"/>
                <a:gd name="connsiteY11" fmla="*/ 3717321 h 4223685"/>
                <a:gd name="connsiteX12" fmla="*/ 56280 w 956528"/>
                <a:gd name="connsiteY12" fmla="*/ 3717321 h 4223685"/>
                <a:gd name="connsiteX13" fmla="*/ 56280 w 956528"/>
                <a:gd name="connsiteY13" fmla="*/ 3548519 h 4223685"/>
                <a:gd name="connsiteX14" fmla="*/ 337603 w 956528"/>
                <a:gd name="connsiteY14" fmla="*/ 3548519 h 4223685"/>
                <a:gd name="connsiteX15" fmla="*/ 337603 w 956528"/>
                <a:gd name="connsiteY15" fmla="*/ 3492239 h 4223685"/>
                <a:gd name="connsiteX16" fmla="*/ 56280 w 956528"/>
                <a:gd name="connsiteY16" fmla="*/ 3492239 h 4223685"/>
                <a:gd name="connsiteX17" fmla="*/ 56280 w 956528"/>
                <a:gd name="connsiteY17" fmla="*/ 3323438 h 4223685"/>
                <a:gd name="connsiteX18" fmla="*/ 675205 w 956528"/>
                <a:gd name="connsiteY18" fmla="*/ 3323438 h 4223685"/>
                <a:gd name="connsiteX19" fmla="*/ 675205 w 956528"/>
                <a:gd name="connsiteY19" fmla="*/ 3267158 h 4223685"/>
                <a:gd name="connsiteX20" fmla="*/ 56280 w 956528"/>
                <a:gd name="connsiteY20" fmla="*/ 3267158 h 4223685"/>
                <a:gd name="connsiteX21" fmla="*/ 56280 w 956528"/>
                <a:gd name="connsiteY21" fmla="*/ 3098395 h 4223685"/>
                <a:gd name="connsiteX22" fmla="*/ 337603 w 956528"/>
                <a:gd name="connsiteY22" fmla="*/ 3098395 h 4223685"/>
                <a:gd name="connsiteX23" fmla="*/ 337603 w 956528"/>
                <a:gd name="connsiteY23" fmla="*/ 3042115 h 4223685"/>
                <a:gd name="connsiteX24" fmla="*/ 56280 w 956528"/>
                <a:gd name="connsiteY24" fmla="*/ 3042115 h 4223685"/>
                <a:gd name="connsiteX25" fmla="*/ 56280 w 956528"/>
                <a:gd name="connsiteY25" fmla="*/ 2873314 h 4223685"/>
                <a:gd name="connsiteX26" fmla="*/ 337603 w 956528"/>
                <a:gd name="connsiteY26" fmla="*/ 2873314 h 4223685"/>
                <a:gd name="connsiteX27" fmla="*/ 337603 w 956528"/>
                <a:gd name="connsiteY27" fmla="*/ 2817034 h 4223685"/>
                <a:gd name="connsiteX28" fmla="*/ 56280 w 956528"/>
                <a:gd name="connsiteY28" fmla="*/ 2817034 h 4223685"/>
                <a:gd name="connsiteX29" fmla="*/ 56280 w 956528"/>
                <a:gd name="connsiteY29" fmla="*/ 2648233 h 4223685"/>
                <a:gd name="connsiteX30" fmla="*/ 337603 w 956528"/>
                <a:gd name="connsiteY30" fmla="*/ 2648233 h 4223685"/>
                <a:gd name="connsiteX31" fmla="*/ 337603 w 956528"/>
                <a:gd name="connsiteY31" fmla="*/ 2591991 h 4223685"/>
                <a:gd name="connsiteX32" fmla="*/ 56280 w 956528"/>
                <a:gd name="connsiteY32" fmla="*/ 2591991 h 4223685"/>
                <a:gd name="connsiteX33" fmla="*/ 56280 w 956528"/>
                <a:gd name="connsiteY33" fmla="*/ 2423190 h 4223685"/>
                <a:gd name="connsiteX34" fmla="*/ 675205 w 956528"/>
                <a:gd name="connsiteY34" fmla="*/ 2423190 h 4223685"/>
                <a:gd name="connsiteX35" fmla="*/ 675205 w 956528"/>
                <a:gd name="connsiteY35" fmla="*/ 2366909 h 4223685"/>
                <a:gd name="connsiteX36" fmla="*/ 56280 w 956528"/>
                <a:gd name="connsiteY36" fmla="*/ 2366909 h 4223685"/>
                <a:gd name="connsiteX37" fmla="*/ 56280 w 956528"/>
                <a:gd name="connsiteY37" fmla="*/ 2198108 h 4223685"/>
                <a:gd name="connsiteX38" fmla="*/ 337603 w 956528"/>
                <a:gd name="connsiteY38" fmla="*/ 2198108 h 4223685"/>
                <a:gd name="connsiteX39" fmla="*/ 337603 w 956528"/>
                <a:gd name="connsiteY39" fmla="*/ 2141867 h 4223685"/>
                <a:gd name="connsiteX40" fmla="*/ 56280 w 956528"/>
                <a:gd name="connsiteY40" fmla="*/ 2141867 h 4223685"/>
                <a:gd name="connsiteX41" fmla="*/ 56280 w 956528"/>
                <a:gd name="connsiteY41" fmla="*/ 1973065 h 4223685"/>
                <a:gd name="connsiteX42" fmla="*/ 337603 w 956528"/>
                <a:gd name="connsiteY42" fmla="*/ 1973065 h 4223685"/>
                <a:gd name="connsiteX43" fmla="*/ 337603 w 956528"/>
                <a:gd name="connsiteY43" fmla="*/ 1916785 h 4223685"/>
                <a:gd name="connsiteX44" fmla="*/ 56280 w 956528"/>
                <a:gd name="connsiteY44" fmla="*/ 1916785 h 4223685"/>
                <a:gd name="connsiteX45" fmla="*/ 56280 w 956528"/>
                <a:gd name="connsiteY45" fmla="*/ 1747984 h 4223685"/>
                <a:gd name="connsiteX46" fmla="*/ 337603 w 956528"/>
                <a:gd name="connsiteY46" fmla="*/ 1747984 h 4223685"/>
                <a:gd name="connsiteX47" fmla="*/ 337603 w 956528"/>
                <a:gd name="connsiteY47" fmla="*/ 1691704 h 4223685"/>
                <a:gd name="connsiteX48" fmla="*/ 56280 w 956528"/>
                <a:gd name="connsiteY48" fmla="*/ 1691704 h 4223685"/>
                <a:gd name="connsiteX49" fmla="*/ 56280 w 956528"/>
                <a:gd name="connsiteY49" fmla="*/ 1522941 h 4223685"/>
                <a:gd name="connsiteX50" fmla="*/ 675205 w 956528"/>
                <a:gd name="connsiteY50" fmla="*/ 1522941 h 4223685"/>
                <a:gd name="connsiteX51" fmla="*/ 675205 w 956528"/>
                <a:gd name="connsiteY51" fmla="*/ 1466661 h 4223685"/>
                <a:gd name="connsiteX52" fmla="*/ 56280 w 956528"/>
                <a:gd name="connsiteY52" fmla="*/ 1466661 h 4223685"/>
                <a:gd name="connsiteX53" fmla="*/ 56280 w 956528"/>
                <a:gd name="connsiteY53" fmla="*/ 1297860 h 4223685"/>
                <a:gd name="connsiteX54" fmla="*/ 337603 w 956528"/>
                <a:gd name="connsiteY54" fmla="*/ 1297860 h 4223685"/>
                <a:gd name="connsiteX55" fmla="*/ 337603 w 956528"/>
                <a:gd name="connsiteY55" fmla="*/ 1241580 h 4223685"/>
                <a:gd name="connsiteX56" fmla="*/ 56280 w 956528"/>
                <a:gd name="connsiteY56" fmla="*/ 1241580 h 4223685"/>
                <a:gd name="connsiteX57" fmla="*/ 56280 w 956528"/>
                <a:gd name="connsiteY57" fmla="*/ 1072779 h 4223685"/>
                <a:gd name="connsiteX58" fmla="*/ 337603 w 956528"/>
                <a:gd name="connsiteY58" fmla="*/ 1072779 h 4223685"/>
                <a:gd name="connsiteX59" fmla="*/ 337603 w 956528"/>
                <a:gd name="connsiteY59" fmla="*/ 1016537 h 4223685"/>
                <a:gd name="connsiteX60" fmla="*/ 56280 w 956528"/>
                <a:gd name="connsiteY60" fmla="*/ 1016537 h 4223685"/>
                <a:gd name="connsiteX61" fmla="*/ 56280 w 956528"/>
                <a:gd name="connsiteY61" fmla="*/ 847736 h 4223685"/>
                <a:gd name="connsiteX62" fmla="*/ 337603 w 956528"/>
                <a:gd name="connsiteY62" fmla="*/ 847736 h 4223685"/>
                <a:gd name="connsiteX63" fmla="*/ 337603 w 956528"/>
                <a:gd name="connsiteY63" fmla="*/ 791456 h 4223685"/>
                <a:gd name="connsiteX64" fmla="*/ 56280 w 956528"/>
                <a:gd name="connsiteY64" fmla="*/ 791456 h 4223685"/>
                <a:gd name="connsiteX65" fmla="*/ 56280 w 956528"/>
                <a:gd name="connsiteY65" fmla="*/ 622654 h 4223685"/>
                <a:gd name="connsiteX66" fmla="*/ 675205 w 956528"/>
                <a:gd name="connsiteY66" fmla="*/ 622654 h 4223685"/>
                <a:gd name="connsiteX67" fmla="*/ 675205 w 956528"/>
                <a:gd name="connsiteY67" fmla="*/ 566413 h 4223685"/>
                <a:gd name="connsiteX68" fmla="*/ 56280 w 956528"/>
                <a:gd name="connsiteY68" fmla="*/ 566413 h 4223685"/>
                <a:gd name="connsiteX69" fmla="*/ 56280 w 956528"/>
                <a:gd name="connsiteY69" fmla="*/ 397612 h 4223685"/>
                <a:gd name="connsiteX70" fmla="*/ 337603 w 956528"/>
                <a:gd name="connsiteY70" fmla="*/ 397612 h 4223685"/>
                <a:gd name="connsiteX71" fmla="*/ 337603 w 956528"/>
                <a:gd name="connsiteY71" fmla="*/ 341332 h 4223685"/>
                <a:gd name="connsiteX72" fmla="*/ 56280 w 956528"/>
                <a:gd name="connsiteY72" fmla="*/ 341332 h 4223685"/>
                <a:gd name="connsiteX73" fmla="*/ 56280 w 956528"/>
                <a:gd name="connsiteY73" fmla="*/ 172530 h 4223685"/>
                <a:gd name="connsiteX74" fmla="*/ 337603 w 956528"/>
                <a:gd name="connsiteY74" fmla="*/ 172530 h 4223685"/>
                <a:gd name="connsiteX75" fmla="*/ 337603 w 956528"/>
                <a:gd name="connsiteY75" fmla="*/ 116250 h 4223685"/>
                <a:gd name="connsiteX76" fmla="*/ 56280 w 956528"/>
                <a:gd name="connsiteY76" fmla="*/ 116250 h 4223685"/>
                <a:gd name="connsiteX77" fmla="*/ 56280 w 956528"/>
                <a:gd name="connsiteY77" fmla="*/ 0 h 4223685"/>
                <a:gd name="connsiteX78" fmla="*/ 0 w 956528"/>
                <a:gd name="connsiteY78" fmla="*/ 0 h 4223685"/>
                <a:gd name="connsiteX79" fmla="*/ 0 w 956528"/>
                <a:gd name="connsiteY79" fmla="*/ 4223686 h 4223685"/>
                <a:gd name="connsiteX80" fmla="*/ 56280 w 956528"/>
                <a:gd name="connsiteY80" fmla="*/ 4223686 h 4223685"/>
                <a:gd name="connsiteX81" fmla="*/ 900248 w 956528"/>
                <a:gd name="connsiteY81" fmla="*/ 4223686 h 422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956528" h="4223685">
                  <a:moveTo>
                    <a:pt x="956528" y="4223686"/>
                  </a:moveTo>
                  <a:lnTo>
                    <a:pt x="956528" y="0"/>
                  </a:lnTo>
                  <a:lnTo>
                    <a:pt x="900248" y="0"/>
                  </a:lnTo>
                  <a:lnTo>
                    <a:pt x="900248" y="4167445"/>
                  </a:lnTo>
                  <a:lnTo>
                    <a:pt x="56280" y="4167445"/>
                  </a:lnTo>
                  <a:lnTo>
                    <a:pt x="56280" y="3998643"/>
                  </a:lnTo>
                  <a:lnTo>
                    <a:pt x="337603" y="3998643"/>
                  </a:lnTo>
                  <a:lnTo>
                    <a:pt x="337603" y="3942363"/>
                  </a:lnTo>
                  <a:lnTo>
                    <a:pt x="56280" y="3942363"/>
                  </a:lnTo>
                  <a:lnTo>
                    <a:pt x="56280" y="3773562"/>
                  </a:lnTo>
                  <a:lnTo>
                    <a:pt x="337603" y="3773562"/>
                  </a:lnTo>
                  <a:lnTo>
                    <a:pt x="337603" y="3717321"/>
                  </a:lnTo>
                  <a:lnTo>
                    <a:pt x="56280" y="3717321"/>
                  </a:lnTo>
                  <a:lnTo>
                    <a:pt x="56280" y="3548519"/>
                  </a:lnTo>
                  <a:lnTo>
                    <a:pt x="337603" y="3548519"/>
                  </a:lnTo>
                  <a:lnTo>
                    <a:pt x="337603" y="3492239"/>
                  </a:lnTo>
                  <a:lnTo>
                    <a:pt x="56280" y="3492239"/>
                  </a:lnTo>
                  <a:lnTo>
                    <a:pt x="56280" y="3323438"/>
                  </a:lnTo>
                  <a:lnTo>
                    <a:pt x="675205" y="3323438"/>
                  </a:lnTo>
                  <a:lnTo>
                    <a:pt x="675205" y="3267158"/>
                  </a:lnTo>
                  <a:lnTo>
                    <a:pt x="56280" y="3267158"/>
                  </a:lnTo>
                  <a:lnTo>
                    <a:pt x="56280" y="3098395"/>
                  </a:lnTo>
                  <a:lnTo>
                    <a:pt x="337603" y="3098395"/>
                  </a:lnTo>
                  <a:lnTo>
                    <a:pt x="337603" y="3042115"/>
                  </a:lnTo>
                  <a:lnTo>
                    <a:pt x="56280" y="3042115"/>
                  </a:lnTo>
                  <a:lnTo>
                    <a:pt x="56280" y="2873314"/>
                  </a:lnTo>
                  <a:lnTo>
                    <a:pt x="337603" y="2873314"/>
                  </a:lnTo>
                  <a:lnTo>
                    <a:pt x="337603" y="2817034"/>
                  </a:lnTo>
                  <a:lnTo>
                    <a:pt x="56280" y="2817034"/>
                  </a:lnTo>
                  <a:lnTo>
                    <a:pt x="56280" y="2648233"/>
                  </a:lnTo>
                  <a:lnTo>
                    <a:pt x="337603" y="2648233"/>
                  </a:lnTo>
                  <a:lnTo>
                    <a:pt x="337603" y="2591991"/>
                  </a:lnTo>
                  <a:lnTo>
                    <a:pt x="56280" y="2591991"/>
                  </a:lnTo>
                  <a:lnTo>
                    <a:pt x="56280" y="2423190"/>
                  </a:lnTo>
                  <a:lnTo>
                    <a:pt x="675205" y="2423190"/>
                  </a:lnTo>
                  <a:lnTo>
                    <a:pt x="675205" y="2366909"/>
                  </a:lnTo>
                  <a:lnTo>
                    <a:pt x="56280" y="2366909"/>
                  </a:lnTo>
                  <a:lnTo>
                    <a:pt x="56280" y="2198108"/>
                  </a:lnTo>
                  <a:lnTo>
                    <a:pt x="337603" y="2198108"/>
                  </a:lnTo>
                  <a:lnTo>
                    <a:pt x="337603" y="2141867"/>
                  </a:lnTo>
                  <a:lnTo>
                    <a:pt x="56280" y="2141867"/>
                  </a:lnTo>
                  <a:lnTo>
                    <a:pt x="56280" y="1973065"/>
                  </a:lnTo>
                  <a:lnTo>
                    <a:pt x="337603" y="1973065"/>
                  </a:lnTo>
                  <a:lnTo>
                    <a:pt x="337603" y="1916785"/>
                  </a:lnTo>
                  <a:lnTo>
                    <a:pt x="56280" y="1916785"/>
                  </a:lnTo>
                  <a:lnTo>
                    <a:pt x="56280" y="1747984"/>
                  </a:lnTo>
                  <a:lnTo>
                    <a:pt x="337603" y="1747984"/>
                  </a:lnTo>
                  <a:lnTo>
                    <a:pt x="337603" y="1691704"/>
                  </a:lnTo>
                  <a:lnTo>
                    <a:pt x="56280" y="1691704"/>
                  </a:lnTo>
                  <a:lnTo>
                    <a:pt x="56280" y="1522941"/>
                  </a:lnTo>
                  <a:lnTo>
                    <a:pt x="675205" y="1522941"/>
                  </a:lnTo>
                  <a:lnTo>
                    <a:pt x="675205" y="1466661"/>
                  </a:lnTo>
                  <a:lnTo>
                    <a:pt x="56280" y="1466661"/>
                  </a:lnTo>
                  <a:lnTo>
                    <a:pt x="56280" y="1297860"/>
                  </a:lnTo>
                  <a:lnTo>
                    <a:pt x="337603" y="1297860"/>
                  </a:lnTo>
                  <a:lnTo>
                    <a:pt x="337603" y="1241580"/>
                  </a:lnTo>
                  <a:lnTo>
                    <a:pt x="56280" y="1241580"/>
                  </a:lnTo>
                  <a:lnTo>
                    <a:pt x="56280" y="1072779"/>
                  </a:lnTo>
                  <a:lnTo>
                    <a:pt x="337603" y="1072779"/>
                  </a:lnTo>
                  <a:lnTo>
                    <a:pt x="337603" y="1016537"/>
                  </a:lnTo>
                  <a:lnTo>
                    <a:pt x="56280" y="1016537"/>
                  </a:lnTo>
                  <a:lnTo>
                    <a:pt x="56280" y="847736"/>
                  </a:lnTo>
                  <a:lnTo>
                    <a:pt x="337603" y="847736"/>
                  </a:lnTo>
                  <a:lnTo>
                    <a:pt x="337603" y="791456"/>
                  </a:lnTo>
                  <a:lnTo>
                    <a:pt x="56280" y="791456"/>
                  </a:lnTo>
                  <a:lnTo>
                    <a:pt x="56280" y="622654"/>
                  </a:lnTo>
                  <a:lnTo>
                    <a:pt x="675205" y="622654"/>
                  </a:lnTo>
                  <a:lnTo>
                    <a:pt x="675205" y="566413"/>
                  </a:lnTo>
                  <a:lnTo>
                    <a:pt x="56280" y="566413"/>
                  </a:lnTo>
                  <a:lnTo>
                    <a:pt x="56280" y="397612"/>
                  </a:lnTo>
                  <a:lnTo>
                    <a:pt x="337603" y="397612"/>
                  </a:lnTo>
                  <a:lnTo>
                    <a:pt x="337603" y="341332"/>
                  </a:lnTo>
                  <a:lnTo>
                    <a:pt x="56280" y="341332"/>
                  </a:lnTo>
                  <a:lnTo>
                    <a:pt x="56280" y="172530"/>
                  </a:lnTo>
                  <a:lnTo>
                    <a:pt x="337603" y="172530"/>
                  </a:lnTo>
                  <a:lnTo>
                    <a:pt x="337603" y="116250"/>
                  </a:lnTo>
                  <a:lnTo>
                    <a:pt x="56280" y="116250"/>
                  </a:lnTo>
                  <a:lnTo>
                    <a:pt x="56280" y="0"/>
                  </a:lnTo>
                  <a:lnTo>
                    <a:pt x="0" y="0"/>
                  </a:lnTo>
                  <a:lnTo>
                    <a:pt x="0" y="4223686"/>
                  </a:lnTo>
                  <a:lnTo>
                    <a:pt x="56280" y="4223686"/>
                  </a:lnTo>
                  <a:lnTo>
                    <a:pt x="900248" y="42236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9B6C0458-0622-4F76-9868-AD1B4A16F8C9}"/>
                </a:ext>
              </a:extLst>
            </p:cNvPr>
            <p:cNvSpPr/>
            <p:nvPr/>
          </p:nvSpPr>
          <p:spPr>
            <a:xfrm>
              <a:off x="-1697617" y="1719597"/>
              <a:ext cx="337603" cy="538326"/>
            </a:xfrm>
            <a:custGeom>
              <a:avLst/>
              <a:gdLst>
                <a:gd name="connsiteX0" fmla="*/ 0 w 337603"/>
                <a:gd name="connsiteY0" fmla="*/ 0 h 538326"/>
                <a:gd name="connsiteX1" fmla="*/ 56280 w 337603"/>
                <a:gd name="connsiteY1" fmla="*/ 0 h 538326"/>
                <a:gd name="connsiteX2" fmla="*/ 56280 w 337603"/>
                <a:gd name="connsiteY2" fmla="*/ 101734 h 538326"/>
                <a:gd name="connsiteX3" fmla="*/ 337603 w 337603"/>
                <a:gd name="connsiteY3" fmla="*/ 101734 h 538326"/>
                <a:gd name="connsiteX4" fmla="*/ 337603 w 337603"/>
                <a:gd name="connsiteY4" fmla="*/ 158014 h 538326"/>
                <a:gd name="connsiteX5" fmla="*/ 56280 w 337603"/>
                <a:gd name="connsiteY5" fmla="*/ 158014 h 538326"/>
                <a:gd name="connsiteX6" fmla="*/ 56280 w 337603"/>
                <a:gd name="connsiteY6" fmla="*/ 326815 h 538326"/>
                <a:gd name="connsiteX7" fmla="*/ 337603 w 337603"/>
                <a:gd name="connsiteY7" fmla="*/ 326815 h 538326"/>
                <a:gd name="connsiteX8" fmla="*/ 337603 w 337603"/>
                <a:gd name="connsiteY8" fmla="*/ 383056 h 538326"/>
                <a:gd name="connsiteX9" fmla="*/ 56280 w 337603"/>
                <a:gd name="connsiteY9" fmla="*/ 383056 h 538326"/>
                <a:gd name="connsiteX10" fmla="*/ 56280 w 337603"/>
                <a:gd name="connsiteY10" fmla="*/ 538326 h 538326"/>
                <a:gd name="connsiteX11" fmla="*/ 0 w 337603"/>
                <a:gd name="connsiteY11" fmla="*/ 538326 h 538326"/>
                <a:gd name="connsiteX12" fmla="*/ 0 w 337603"/>
                <a:gd name="connsiteY12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7603" h="538326">
                  <a:moveTo>
                    <a:pt x="0" y="0"/>
                  </a:moveTo>
                  <a:lnTo>
                    <a:pt x="56280" y="0"/>
                  </a:lnTo>
                  <a:lnTo>
                    <a:pt x="56280" y="101734"/>
                  </a:lnTo>
                  <a:lnTo>
                    <a:pt x="337603" y="101734"/>
                  </a:lnTo>
                  <a:lnTo>
                    <a:pt x="337603" y="158014"/>
                  </a:lnTo>
                  <a:lnTo>
                    <a:pt x="56280" y="158014"/>
                  </a:lnTo>
                  <a:lnTo>
                    <a:pt x="56280" y="326815"/>
                  </a:lnTo>
                  <a:lnTo>
                    <a:pt x="337603" y="326815"/>
                  </a:lnTo>
                  <a:lnTo>
                    <a:pt x="337603" y="383056"/>
                  </a:lnTo>
                  <a:lnTo>
                    <a:pt x="56280" y="383056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81C0969A-0E2B-4A65-9A0D-222DE8FC8F7C}"/>
                </a:ext>
              </a:extLst>
            </p:cNvPr>
            <p:cNvSpPr/>
            <p:nvPr/>
          </p:nvSpPr>
          <p:spPr>
            <a:xfrm>
              <a:off x="-797368" y="1719597"/>
              <a:ext cx="56280" cy="538326"/>
            </a:xfrm>
            <a:custGeom>
              <a:avLst/>
              <a:gdLst>
                <a:gd name="connsiteX0" fmla="*/ 0 w 56280"/>
                <a:gd name="connsiteY0" fmla="*/ 0 h 538326"/>
                <a:gd name="connsiteX1" fmla="*/ 56280 w 56280"/>
                <a:gd name="connsiteY1" fmla="*/ 0 h 538326"/>
                <a:gd name="connsiteX2" fmla="*/ 56280 w 56280"/>
                <a:gd name="connsiteY2" fmla="*/ 538326 h 538326"/>
                <a:gd name="connsiteX3" fmla="*/ 0 w 56280"/>
                <a:gd name="connsiteY3" fmla="*/ 538326 h 538326"/>
                <a:gd name="connsiteX4" fmla="*/ 0 w 56280"/>
                <a:gd name="connsiteY4" fmla="*/ 0 h 53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80" h="538326">
                  <a:moveTo>
                    <a:pt x="0" y="0"/>
                  </a:moveTo>
                  <a:lnTo>
                    <a:pt x="56280" y="0"/>
                  </a:lnTo>
                  <a:lnTo>
                    <a:pt x="56280" y="538326"/>
                  </a:lnTo>
                  <a:lnTo>
                    <a:pt x="0" y="5383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</p:grpSp>
      <p:sp>
        <p:nvSpPr>
          <p:cNvPr id="58" name="Round Same-side Corner of Rectangle 79">
            <a:extLst>
              <a:ext uri="{FF2B5EF4-FFF2-40B4-BE49-F238E27FC236}">
                <a16:creationId xmlns:a16="http://schemas.microsoft.com/office/drawing/2014/main" id="{3DB409C5-1EB1-4BF1-BD54-D05A8D5E0E1D}"/>
              </a:ext>
            </a:extLst>
          </p:cNvPr>
          <p:cNvSpPr/>
          <p:nvPr userDrawn="1"/>
        </p:nvSpPr>
        <p:spPr>
          <a:xfrm rot="5400000">
            <a:off x="10613117" y="550943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9" name="TextBox 58">
            <a:hlinkClick r:id="" action="ppaction://noaction"/>
            <a:extLst>
              <a:ext uri="{FF2B5EF4-FFF2-40B4-BE49-F238E27FC236}">
                <a16:creationId xmlns:a16="http://schemas.microsoft.com/office/drawing/2014/main" id="{76B32A96-13C3-4BD8-829F-5EA2A2185710}"/>
              </a:ext>
            </a:extLst>
          </p:cNvPr>
          <p:cNvSpPr txBox="1"/>
          <p:nvPr userDrawn="1"/>
        </p:nvSpPr>
        <p:spPr>
          <a:xfrm>
            <a:off x="10870644" y="555078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60" name="Round Same-side Corner of Rectangle 79">
            <a:extLst>
              <a:ext uri="{FF2B5EF4-FFF2-40B4-BE49-F238E27FC236}">
                <a16:creationId xmlns:a16="http://schemas.microsoft.com/office/drawing/2014/main" id="{D1D4BE7B-8B2C-4767-A7D3-A03BFC14BE21}"/>
              </a:ext>
            </a:extLst>
          </p:cNvPr>
          <p:cNvSpPr/>
          <p:nvPr userDrawn="1"/>
        </p:nvSpPr>
        <p:spPr>
          <a:xfrm rot="5400000">
            <a:off x="10613117" y="5784862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1" name="TextBox 60">
            <a:hlinkClick r:id="" action="ppaction://noaction"/>
            <a:extLst>
              <a:ext uri="{FF2B5EF4-FFF2-40B4-BE49-F238E27FC236}">
                <a16:creationId xmlns:a16="http://schemas.microsoft.com/office/drawing/2014/main" id="{02E8FB61-3B85-4D10-9BE3-232A9DBD01B9}"/>
              </a:ext>
            </a:extLst>
          </p:cNvPr>
          <p:cNvSpPr txBox="1"/>
          <p:nvPr userDrawn="1"/>
        </p:nvSpPr>
        <p:spPr>
          <a:xfrm>
            <a:off x="10870644" y="5826211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72" name="Freeform 25">
            <a:extLst>
              <a:ext uri="{FF2B5EF4-FFF2-40B4-BE49-F238E27FC236}">
                <a16:creationId xmlns:a16="http://schemas.microsoft.com/office/drawing/2014/main" id="{BB74EC26-8CC0-4601-8CA6-54B9FBDEBF86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5549100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73" name="Round Same-side Corner of Rectangle 79">
            <a:extLst>
              <a:ext uri="{FF2B5EF4-FFF2-40B4-BE49-F238E27FC236}">
                <a16:creationId xmlns:a16="http://schemas.microsoft.com/office/drawing/2014/main" id="{D31780DB-2FE9-4211-8688-3E4630794CD5}"/>
              </a:ext>
            </a:extLst>
          </p:cNvPr>
          <p:cNvSpPr/>
          <p:nvPr userDrawn="1"/>
        </p:nvSpPr>
        <p:spPr>
          <a:xfrm rot="5400000">
            <a:off x="10615976" y="606635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74" name="TextBox 73">
            <a:hlinkClick r:id="" action="ppaction://noaction"/>
            <a:extLst>
              <a:ext uri="{FF2B5EF4-FFF2-40B4-BE49-F238E27FC236}">
                <a16:creationId xmlns:a16="http://schemas.microsoft.com/office/drawing/2014/main" id="{8756552C-C87C-480B-A9F5-9117AF4DDE9A}"/>
              </a:ext>
            </a:extLst>
          </p:cNvPr>
          <p:cNvSpPr txBox="1"/>
          <p:nvPr userDrawn="1"/>
        </p:nvSpPr>
        <p:spPr>
          <a:xfrm>
            <a:off x="10873503" y="6107704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75" name="Freeform 21">
            <a:extLst>
              <a:ext uri="{FF2B5EF4-FFF2-40B4-BE49-F238E27FC236}">
                <a16:creationId xmlns:a16="http://schemas.microsoft.com/office/drawing/2014/main" id="{097B7A2E-E78D-41C1-BE5C-6CCA1D0BD90B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6115929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76" name="Graphic 28" descr="List">
            <a:extLst>
              <a:ext uri="{FF2B5EF4-FFF2-40B4-BE49-F238E27FC236}">
                <a16:creationId xmlns:a16="http://schemas.microsoft.com/office/drawing/2014/main" id="{BEB5C041-8AC2-4030-B75A-2D3AD2C90AF0}"/>
              </a:ext>
            </a:extLst>
          </p:cNvPr>
          <p:cNvGrpSpPr/>
          <p:nvPr userDrawn="1"/>
        </p:nvGrpSpPr>
        <p:grpSpPr>
          <a:xfrm>
            <a:off x="10657446" y="5818069"/>
            <a:ext cx="103548" cy="146640"/>
            <a:chOff x="981871" y="1231905"/>
            <a:chExt cx="246063" cy="317501"/>
          </a:xfrm>
        </p:grpSpPr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5B34B21A-0B0C-489C-AA51-6615E11D91EF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116DCEB-965E-4A8F-A8BB-21E59EBC2DD6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B90962DD-185E-4ABA-A28D-C1243A677807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B939055-417C-4C1C-9CF5-6D568CD46AF3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A4508F9-E716-404A-B2A3-0A08FCF06935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D65E2D2D-8839-4574-85C3-CDBFC3D1E373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DA31742F-0D66-480A-91A6-AD10DF2C937E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27D49302-DE71-4519-90B5-40513FDE9E41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E9CB0DD6-1E7F-4A91-A197-5F6F1FB76498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80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48012808-F2AC-478C-8731-8BB332D4BAF4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2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D5D29F5F-38ED-4723-A567-9E506043AB17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9D76D95F-F4E9-4D35-8D0C-417E5A26C89E}"/>
              </a:ext>
            </a:extLst>
          </p:cNvPr>
          <p:cNvSpPr/>
          <p:nvPr userDrawn="1"/>
        </p:nvSpPr>
        <p:spPr>
          <a:xfrm rot="5400000">
            <a:off x="11280167" y="4840571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454F9D7A-B89B-43B0-89D4-EC3B63AF377B}"/>
              </a:ext>
            </a:extLst>
          </p:cNvPr>
          <p:cNvSpPr/>
          <p:nvPr userDrawn="1"/>
        </p:nvSpPr>
        <p:spPr>
          <a:xfrm rot="5400000">
            <a:off x="11280167" y="5116475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EC459DBF-BC66-4105-B76A-8CBA0B092306}"/>
              </a:ext>
            </a:extLst>
          </p:cNvPr>
          <p:cNvSpPr/>
          <p:nvPr userDrawn="1"/>
        </p:nvSpPr>
        <p:spPr>
          <a:xfrm rot="5400000">
            <a:off x="11280167" y="5392379"/>
            <a:ext cx="245312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7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00D44B3D-DA01-4B84-8E0B-A0ABDBF46F4E}"/>
              </a:ext>
            </a:extLst>
          </p:cNvPr>
          <p:cNvSpPr/>
          <p:nvPr userDrawn="1"/>
        </p:nvSpPr>
        <p:spPr>
          <a:xfrm rot="5400000">
            <a:off x="11473096" y="1472755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9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B25C9CFF-D671-43ED-95A0-CDF7D727E435}"/>
              </a:ext>
            </a:extLst>
          </p:cNvPr>
          <p:cNvSpPr/>
          <p:nvPr userDrawn="1"/>
        </p:nvSpPr>
        <p:spPr>
          <a:xfrm rot="5400000">
            <a:off x="11473096" y="192820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0" name="Round Same-side Corner of Rectangle 79">
            <a:hlinkClick r:id="rId5" action="ppaction://hlinksldjump"/>
            <a:extLst>
              <a:ext uri="{FF2B5EF4-FFF2-40B4-BE49-F238E27FC236}">
                <a16:creationId xmlns:a16="http://schemas.microsoft.com/office/drawing/2014/main" id="{40801A8F-284C-4B2D-99D1-811D1F1FA70E}"/>
              </a:ext>
            </a:extLst>
          </p:cNvPr>
          <p:cNvSpPr/>
          <p:nvPr userDrawn="1"/>
        </p:nvSpPr>
        <p:spPr>
          <a:xfrm rot="5400000">
            <a:off x="11473096" y="2380734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1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A2D591B5-7B96-46BF-9A2E-20A01B8E6713}"/>
              </a:ext>
            </a:extLst>
          </p:cNvPr>
          <p:cNvSpPr/>
          <p:nvPr userDrawn="1"/>
        </p:nvSpPr>
        <p:spPr>
          <a:xfrm rot="5400000">
            <a:off x="11473096" y="2833262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2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E0D5360E-8B2A-4F78-A0A6-CC563A1815DA}"/>
              </a:ext>
            </a:extLst>
          </p:cNvPr>
          <p:cNvSpPr/>
          <p:nvPr userDrawn="1"/>
        </p:nvSpPr>
        <p:spPr>
          <a:xfrm rot="5400000">
            <a:off x="11473096" y="3285790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F086862E-E0EE-45E4-AAD0-B45372A82C74}"/>
              </a:ext>
            </a:extLst>
          </p:cNvPr>
          <p:cNvSpPr/>
          <p:nvPr userDrawn="1"/>
        </p:nvSpPr>
        <p:spPr>
          <a:xfrm rot="5400000">
            <a:off x="11473096" y="3738318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E1456E31-5579-45F5-814D-E0F154A19CAB}"/>
              </a:ext>
            </a:extLst>
          </p:cNvPr>
          <p:cNvSpPr/>
          <p:nvPr userDrawn="1"/>
        </p:nvSpPr>
        <p:spPr>
          <a:xfrm rot="5400000">
            <a:off x="11473096" y="4190846"/>
            <a:ext cx="349171" cy="108228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513CE231-15B5-4D1B-9651-3044DCADACF3}"/>
              </a:ext>
            </a:extLst>
          </p:cNvPr>
          <p:cNvSpPr/>
          <p:nvPr userDrawn="1"/>
        </p:nvSpPr>
        <p:spPr>
          <a:xfrm rot="5400000">
            <a:off x="11283961" y="4454241"/>
            <a:ext cx="349171" cy="1460557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0282472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Pillar 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group of children smiling&#10;&#10;Description automatically generated with medium confidence">
            <a:extLst>
              <a:ext uri="{FF2B5EF4-FFF2-40B4-BE49-F238E27FC236}">
                <a16:creationId xmlns:a16="http://schemas.microsoft.com/office/drawing/2014/main" id="{AE5B7854-4C73-4FFB-87D6-2BF28021A7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805555" y="0"/>
            <a:ext cx="10273621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52DACC8-F68A-4E7E-B68C-7F1399D9114E}"/>
              </a:ext>
            </a:extLst>
          </p:cNvPr>
          <p:cNvSpPr/>
          <p:nvPr userDrawn="1"/>
        </p:nvSpPr>
        <p:spPr>
          <a:xfrm>
            <a:off x="2072100" y="6705600"/>
            <a:ext cx="8044625" cy="15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800">
                <a:solidFill>
                  <a:schemeClr val="tx1"/>
                </a:solidFill>
                <a:ea typeface="MS PGothic" pitchFamily="34" charset="-128"/>
              </a:rPr>
              <a:t>Pfizer Confidential – Internal Use Only, Not for Further Distribution</a:t>
            </a:r>
            <a:endParaRPr lang="en-US" sz="800">
              <a:solidFill>
                <a:schemeClr val="tx1"/>
              </a:solidFill>
              <a:ea typeface="MS PGothic" pitchFamily="34" charset="-128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C514C5-2143-4E16-837F-CF028230C903}"/>
              </a:ext>
            </a:extLst>
          </p:cNvPr>
          <p:cNvSpPr/>
          <p:nvPr userDrawn="1"/>
        </p:nvSpPr>
        <p:spPr>
          <a:xfrm>
            <a:off x="0" y="0"/>
            <a:ext cx="2011157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E1FD921-B9B9-4E01-8593-A27B37592D89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27281B-F7F1-4E3B-B238-0D64683B763A}"/>
              </a:ext>
            </a:extLst>
          </p:cNvPr>
          <p:cNvSpPr/>
          <p:nvPr userDrawn="1"/>
        </p:nvSpPr>
        <p:spPr>
          <a:xfrm>
            <a:off x="1897132" y="0"/>
            <a:ext cx="138452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3941344-CBA3-46F5-9801-595985401D8A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D2612D66-723A-4927-9CE6-16C13A003646}"/>
              </a:ext>
            </a:extLst>
          </p:cNvPr>
          <p:cNvSpPr/>
          <p:nvPr/>
        </p:nvSpPr>
        <p:spPr>
          <a:xfrm>
            <a:off x="0" y="141677"/>
            <a:ext cx="324007" cy="6853150"/>
          </a:xfrm>
          <a:custGeom>
            <a:avLst/>
            <a:gdLst>
              <a:gd name="connsiteX0" fmla="*/ 0 w 324091"/>
              <a:gd name="connsiteY0" fmla="*/ 6807430 h 6853150"/>
              <a:gd name="connsiteX1" fmla="*/ 81776 w 324091"/>
              <a:gd name="connsiteY1" fmla="*/ 6807430 h 6853150"/>
              <a:gd name="connsiteX2" fmla="*/ 104636 w 324091"/>
              <a:gd name="connsiteY2" fmla="*/ 6830290 h 6853150"/>
              <a:gd name="connsiteX3" fmla="*/ 104635 w 324091"/>
              <a:gd name="connsiteY3" fmla="*/ 6830290 h 6853150"/>
              <a:gd name="connsiteX4" fmla="*/ 81775 w 324091"/>
              <a:gd name="connsiteY4" fmla="*/ 6853150 h 6853150"/>
              <a:gd name="connsiteX5" fmla="*/ 0 w 324091"/>
              <a:gd name="connsiteY5" fmla="*/ 6853150 h 6853150"/>
              <a:gd name="connsiteX6" fmla="*/ 0 w 324091"/>
              <a:gd name="connsiteY6" fmla="*/ 6653902 h 6853150"/>
              <a:gd name="connsiteX7" fmla="*/ 173216 w 324091"/>
              <a:gd name="connsiteY7" fmla="*/ 6653902 h 6853150"/>
              <a:gd name="connsiteX8" fmla="*/ 196076 w 324091"/>
              <a:gd name="connsiteY8" fmla="*/ 6676762 h 6853150"/>
              <a:gd name="connsiteX9" fmla="*/ 196075 w 324091"/>
              <a:gd name="connsiteY9" fmla="*/ 6676762 h 6853150"/>
              <a:gd name="connsiteX10" fmla="*/ 173215 w 324091"/>
              <a:gd name="connsiteY10" fmla="*/ 6699622 h 6853150"/>
              <a:gd name="connsiteX11" fmla="*/ 0 w 324091"/>
              <a:gd name="connsiteY11" fmla="*/ 6699622 h 6853150"/>
              <a:gd name="connsiteX12" fmla="*/ 0 w 324091"/>
              <a:gd name="connsiteY12" fmla="*/ 6500374 h 6853150"/>
              <a:gd name="connsiteX13" fmla="*/ 81776 w 324091"/>
              <a:gd name="connsiteY13" fmla="*/ 6500374 h 6853150"/>
              <a:gd name="connsiteX14" fmla="*/ 104636 w 324091"/>
              <a:gd name="connsiteY14" fmla="*/ 6523234 h 6853150"/>
              <a:gd name="connsiteX15" fmla="*/ 104635 w 324091"/>
              <a:gd name="connsiteY15" fmla="*/ 6523234 h 6853150"/>
              <a:gd name="connsiteX16" fmla="*/ 81775 w 324091"/>
              <a:gd name="connsiteY16" fmla="*/ 6546094 h 6853150"/>
              <a:gd name="connsiteX17" fmla="*/ 0 w 324091"/>
              <a:gd name="connsiteY17" fmla="*/ 6546094 h 6853150"/>
              <a:gd name="connsiteX18" fmla="*/ 0 w 324091"/>
              <a:gd name="connsiteY18" fmla="*/ 6302591 h 6853150"/>
              <a:gd name="connsiteX19" fmla="*/ 279104 w 324091"/>
              <a:gd name="connsiteY19" fmla="*/ 6302591 h 6853150"/>
              <a:gd name="connsiteX20" fmla="*/ 324091 w 324091"/>
              <a:gd name="connsiteY20" fmla="*/ 6347578 h 6853150"/>
              <a:gd name="connsiteX21" fmla="*/ 279104 w 324091"/>
              <a:gd name="connsiteY21" fmla="*/ 6392565 h 6853150"/>
              <a:gd name="connsiteX22" fmla="*/ 0 w 324091"/>
              <a:gd name="connsiteY22" fmla="*/ 6392565 h 6853150"/>
              <a:gd name="connsiteX23" fmla="*/ 0 w 324091"/>
              <a:gd name="connsiteY23" fmla="*/ 6124755 h 6853150"/>
              <a:gd name="connsiteX24" fmla="*/ 81776 w 324091"/>
              <a:gd name="connsiteY24" fmla="*/ 6124755 h 6853150"/>
              <a:gd name="connsiteX25" fmla="*/ 104636 w 324091"/>
              <a:gd name="connsiteY25" fmla="*/ 6147615 h 6853150"/>
              <a:gd name="connsiteX26" fmla="*/ 104635 w 324091"/>
              <a:gd name="connsiteY26" fmla="*/ 6147615 h 6853150"/>
              <a:gd name="connsiteX27" fmla="*/ 81775 w 324091"/>
              <a:gd name="connsiteY27" fmla="*/ 6170475 h 6853150"/>
              <a:gd name="connsiteX28" fmla="*/ 0 w 324091"/>
              <a:gd name="connsiteY28" fmla="*/ 6170475 h 6853150"/>
              <a:gd name="connsiteX29" fmla="*/ 0 w 324091"/>
              <a:gd name="connsiteY29" fmla="*/ 5971227 h 6853150"/>
              <a:gd name="connsiteX30" fmla="*/ 173216 w 324091"/>
              <a:gd name="connsiteY30" fmla="*/ 5971227 h 6853150"/>
              <a:gd name="connsiteX31" fmla="*/ 196076 w 324091"/>
              <a:gd name="connsiteY31" fmla="*/ 5994087 h 6853150"/>
              <a:gd name="connsiteX32" fmla="*/ 196075 w 324091"/>
              <a:gd name="connsiteY32" fmla="*/ 5994087 h 6853150"/>
              <a:gd name="connsiteX33" fmla="*/ 173215 w 324091"/>
              <a:gd name="connsiteY33" fmla="*/ 6016947 h 6853150"/>
              <a:gd name="connsiteX34" fmla="*/ 0 w 324091"/>
              <a:gd name="connsiteY34" fmla="*/ 6016947 h 6853150"/>
              <a:gd name="connsiteX35" fmla="*/ 0 w 324091"/>
              <a:gd name="connsiteY35" fmla="*/ 5817699 h 6853150"/>
              <a:gd name="connsiteX36" fmla="*/ 81776 w 324091"/>
              <a:gd name="connsiteY36" fmla="*/ 5817699 h 6853150"/>
              <a:gd name="connsiteX37" fmla="*/ 104636 w 324091"/>
              <a:gd name="connsiteY37" fmla="*/ 5840559 h 6853150"/>
              <a:gd name="connsiteX38" fmla="*/ 104635 w 324091"/>
              <a:gd name="connsiteY38" fmla="*/ 5840559 h 6853150"/>
              <a:gd name="connsiteX39" fmla="*/ 81775 w 324091"/>
              <a:gd name="connsiteY39" fmla="*/ 5863419 h 6853150"/>
              <a:gd name="connsiteX40" fmla="*/ 0 w 324091"/>
              <a:gd name="connsiteY40" fmla="*/ 5863419 h 6853150"/>
              <a:gd name="connsiteX41" fmla="*/ 0 w 324091"/>
              <a:gd name="connsiteY41" fmla="*/ 5619916 h 6853150"/>
              <a:gd name="connsiteX42" fmla="*/ 279104 w 324091"/>
              <a:gd name="connsiteY42" fmla="*/ 5619916 h 6853150"/>
              <a:gd name="connsiteX43" fmla="*/ 324091 w 324091"/>
              <a:gd name="connsiteY43" fmla="*/ 5664903 h 6853150"/>
              <a:gd name="connsiteX44" fmla="*/ 279104 w 324091"/>
              <a:gd name="connsiteY44" fmla="*/ 5709890 h 6853150"/>
              <a:gd name="connsiteX45" fmla="*/ 0 w 324091"/>
              <a:gd name="connsiteY45" fmla="*/ 5709890 h 6853150"/>
              <a:gd name="connsiteX46" fmla="*/ 0 w 324091"/>
              <a:gd name="connsiteY46" fmla="*/ 5442077 h 6853150"/>
              <a:gd name="connsiteX47" fmla="*/ 81776 w 324091"/>
              <a:gd name="connsiteY47" fmla="*/ 5442077 h 6853150"/>
              <a:gd name="connsiteX48" fmla="*/ 104636 w 324091"/>
              <a:gd name="connsiteY48" fmla="*/ 5464937 h 6853150"/>
              <a:gd name="connsiteX49" fmla="*/ 104635 w 324091"/>
              <a:gd name="connsiteY49" fmla="*/ 5464937 h 6853150"/>
              <a:gd name="connsiteX50" fmla="*/ 81775 w 324091"/>
              <a:gd name="connsiteY50" fmla="*/ 5487797 h 6853150"/>
              <a:gd name="connsiteX51" fmla="*/ 0 w 324091"/>
              <a:gd name="connsiteY51" fmla="*/ 5487797 h 6853150"/>
              <a:gd name="connsiteX52" fmla="*/ 0 w 324091"/>
              <a:gd name="connsiteY52" fmla="*/ 5288549 h 6853150"/>
              <a:gd name="connsiteX53" fmla="*/ 173216 w 324091"/>
              <a:gd name="connsiteY53" fmla="*/ 5288549 h 6853150"/>
              <a:gd name="connsiteX54" fmla="*/ 196076 w 324091"/>
              <a:gd name="connsiteY54" fmla="*/ 5311409 h 6853150"/>
              <a:gd name="connsiteX55" fmla="*/ 196075 w 324091"/>
              <a:gd name="connsiteY55" fmla="*/ 5311409 h 6853150"/>
              <a:gd name="connsiteX56" fmla="*/ 173215 w 324091"/>
              <a:gd name="connsiteY56" fmla="*/ 5334269 h 6853150"/>
              <a:gd name="connsiteX57" fmla="*/ 0 w 324091"/>
              <a:gd name="connsiteY57" fmla="*/ 5334269 h 6853150"/>
              <a:gd name="connsiteX58" fmla="*/ 0 w 324091"/>
              <a:gd name="connsiteY58" fmla="*/ 5135021 h 6853150"/>
              <a:gd name="connsiteX59" fmla="*/ 81776 w 324091"/>
              <a:gd name="connsiteY59" fmla="*/ 5135021 h 6853150"/>
              <a:gd name="connsiteX60" fmla="*/ 104636 w 324091"/>
              <a:gd name="connsiteY60" fmla="*/ 5157881 h 6853150"/>
              <a:gd name="connsiteX61" fmla="*/ 104635 w 324091"/>
              <a:gd name="connsiteY61" fmla="*/ 5157881 h 6853150"/>
              <a:gd name="connsiteX62" fmla="*/ 81775 w 324091"/>
              <a:gd name="connsiteY62" fmla="*/ 5180741 h 6853150"/>
              <a:gd name="connsiteX63" fmla="*/ 0 w 324091"/>
              <a:gd name="connsiteY63" fmla="*/ 5180741 h 6853150"/>
              <a:gd name="connsiteX64" fmla="*/ 0 w 324091"/>
              <a:gd name="connsiteY64" fmla="*/ 4937238 h 6853150"/>
              <a:gd name="connsiteX65" fmla="*/ 279104 w 324091"/>
              <a:gd name="connsiteY65" fmla="*/ 4937238 h 6853150"/>
              <a:gd name="connsiteX66" fmla="*/ 324091 w 324091"/>
              <a:gd name="connsiteY66" fmla="*/ 4982225 h 6853150"/>
              <a:gd name="connsiteX67" fmla="*/ 279104 w 324091"/>
              <a:gd name="connsiteY67" fmla="*/ 5027212 h 6853150"/>
              <a:gd name="connsiteX68" fmla="*/ 0 w 324091"/>
              <a:gd name="connsiteY68" fmla="*/ 5027212 h 6853150"/>
              <a:gd name="connsiteX69" fmla="*/ 0 w 324091"/>
              <a:gd name="connsiteY69" fmla="*/ 4759399 h 6853150"/>
              <a:gd name="connsiteX70" fmla="*/ 81776 w 324091"/>
              <a:gd name="connsiteY70" fmla="*/ 4759399 h 6853150"/>
              <a:gd name="connsiteX71" fmla="*/ 104636 w 324091"/>
              <a:gd name="connsiteY71" fmla="*/ 4782259 h 6853150"/>
              <a:gd name="connsiteX72" fmla="*/ 104635 w 324091"/>
              <a:gd name="connsiteY72" fmla="*/ 4782259 h 6853150"/>
              <a:gd name="connsiteX73" fmla="*/ 81775 w 324091"/>
              <a:gd name="connsiteY73" fmla="*/ 4805119 h 6853150"/>
              <a:gd name="connsiteX74" fmla="*/ 0 w 324091"/>
              <a:gd name="connsiteY74" fmla="*/ 4805119 h 6853150"/>
              <a:gd name="connsiteX75" fmla="*/ 0 w 324091"/>
              <a:gd name="connsiteY75" fmla="*/ 4605871 h 6853150"/>
              <a:gd name="connsiteX76" fmla="*/ 173216 w 324091"/>
              <a:gd name="connsiteY76" fmla="*/ 4605871 h 6853150"/>
              <a:gd name="connsiteX77" fmla="*/ 196076 w 324091"/>
              <a:gd name="connsiteY77" fmla="*/ 4628731 h 6853150"/>
              <a:gd name="connsiteX78" fmla="*/ 196075 w 324091"/>
              <a:gd name="connsiteY78" fmla="*/ 4628731 h 6853150"/>
              <a:gd name="connsiteX79" fmla="*/ 173215 w 324091"/>
              <a:gd name="connsiteY79" fmla="*/ 4651591 h 6853150"/>
              <a:gd name="connsiteX80" fmla="*/ 0 w 324091"/>
              <a:gd name="connsiteY80" fmla="*/ 4651591 h 6853150"/>
              <a:gd name="connsiteX81" fmla="*/ 0 w 324091"/>
              <a:gd name="connsiteY81" fmla="*/ 4452343 h 6853150"/>
              <a:gd name="connsiteX82" fmla="*/ 81776 w 324091"/>
              <a:gd name="connsiteY82" fmla="*/ 4452343 h 6853150"/>
              <a:gd name="connsiteX83" fmla="*/ 104636 w 324091"/>
              <a:gd name="connsiteY83" fmla="*/ 4475203 h 6853150"/>
              <a:gd name="connsiteX84" fmla="*/ 104635 w 324091"/>
              <a:gd name="connsiteY84" fmla="*/ 4475203 h 6853150"/>
              <a:gd name="connsiteX85" fmla="*/ 81775 w 324091"/>
              <a:gd name="connsiteY85" fmla="*/ 4498063 h 6853150"/>
              <a:gd name="connsiteX86" fmla="*/ 0 w 324091"/>
              <a:gd name="connsiteY86" fmla="*/ 4498063 h 6853150"/>
              <a:gd name="connsiteX87" fmla="*/ 0 w 324091"/>
              <a:gd name="connsiteY87" fmla="*/ 4254560 h 6853150"/>
              <a:gd name="connsiteX88" fmla="*/ 279104 w 324091"/>
              <a:gd name="connsiteY88" fmla="*/ 4254560 h 6853150"/>
              <a:gd name="connsiteX89" fmla="*/ 324091 w 324091"/>
              <a:gd name="connsiteY89" fmla="*/ 4299547 h 6853150"/>
              <a:gd name="connsiteX90" fmla="*/ 279104 w 324091"/>
              <a:gd name="connsiteY90" fmla="*/ 4344534 h 6853150"/>
              <a:gd name="connsiteX91" fmla="*/ 0 w 324091"/>
              <a:gd name="connsiteY91" fmla="*/ 4344534 h 6853150"/>
              <a:gd name="connsiteX92" fmla="*/ 0 w 324091"/>
              <a:gd name="connsiteY92" fmla="*/ 4076721 h 6853150"/>
              <a:gd name="connsiteX93" fmla="*/ 81776 w 324091"/>
              <a:gd name="connsiteY93" fmla="*/ 4076721 h 6853150"/>
              <a:gd name="connsiteX94" fmla="*/ 104636 w 324091"/>
              <a:gd name="connsiteY94" fmla="*/ 4099581 h 6853150"/>
              <a:gd name="connsiteX95" fmla="*/ 104635 w 324091"/>
              <a:gd name="connsiteY95" fmla="*/ 4099581 h 6853150"/>
              <a:gd name="connsiteX96" fmla="*/ 81775 w 324091"/>
              <a:gd name="connsiteY96" fmla="*/ 4122441 h 6853150"/>
              <a:gd name="connsiteX97" fmla="*/ 0 w 324091"/>
              <a:gd name="connsiteY97" fmla="*/ 4122441 h 6853150"/>
              <a:gd name="connsiteX98" fmla="*/ 0 w 324091"/>
              <a:gd name="connsiteY98" fmla="*/ 3923193 h 6853150"/>
              <a:gd name="connsiteX99" fmla="*/ 173216 w 324091"/>
              <a:gd name="connsiteY99" fmla="*/ 3923193 h 6853150"/>
              <a:gd name="connsiteX100" fmla="*/ 196076 w 324091"/>
              <a:gd name="connsiteY100" fmla="*/ 3946053 h 6853150"/>
              <a:gd name="connsiteX101" fmla="*/ 196075 w 324091"/>
              <a:gd name="connsiteY101" fmla="*/ 3946053 h 6853150"/>
              <a:gd name="connsiteX102" fmla="*/ 173215 w 324091"/>
              <a:gd name="connsiteY102" fmla="*/ 3968913 h 6853150"/>
              <a:gd name="connsiteX103" fmla="*/ 0 w 324091"/>
              <a:gd name="connsiteY103" fmla="*/ 3968913 h 6853150"/>
              <a:gd name="connsiteX104" fmla="*/ 0 w 324091"/>
              <a:gd name="connsiteY104" fmla="*/ 3769665 h 6853150"/>
              <a:gd name="connsiteX105" fmla="*/ 81776 w 324091"/>
              <a:gd name="connsiteY105" fmla="*/ 3769665 h 6853150"/>
              <a:gd name="connsiteX106" fmla="*/ 104636 w 324091"/>
              <a:gd name="connsiteY106" fmla="*/ 3792525 h 6853150"/>
              <a:gd name="connsiteX107" fmla="*/ 104635 w 324091"/>
              <a:gd name="connsiteY107" fmla="*/ 3792525 h 6853150"/>
              <a:gd name="connsiteX108" fmla="*/ 81775 w 324091"/>
              <a:gd name="connsiteY108" fmla="*/ 3815385 h 6853150"/>
              <a:gd name="connsiteX109" fmla="*/ 0 w 324091"/>
              <a:gd name="connsiteY109" fmla="*/ 3815385 h 6853150"/>
              <a:gd name="connsiteX110" fmla="*/ 0 w 324091"/>
              <a:gd name="connsiteY110" fmla="*/ 3571882 h 6853150"/>
              <a:gd name="connsiteX111" fmla="*/ 279104 w 324091"/>
              <a:gd name="connsiteY111" fmla="*/ 3571882 h 6853150"/>
              <a:gd name="connsiteX112" fmla="*/ 324091 w 324091"/>
              <a:gd name="connsiteY112" fmla="*/ 3616869 h 6853150"/>
              <a:gd name="connsiteX113" fmla="*/ 279104 w 324091"/>
              <a:gd name="connsiteY113" fmla="*/ 3661856 h 6853150"/>
              <a:gd name="connsiteX114" fmla="*/ 0 w 324091"/>
              <a:gd name="connsiteY114" fmla="*/ 3661856 h 6853150"/>
              <a:gd name="connsiteX115" fmla="*/ 0 w 324091"/>
              <a:gd name="connsiteY115" fmla="*/ 3394043 h 6853150"/>
              <a:gd name="connsiteX116" fmla="*/ 81776 w 324091"/>
              <a:gd name="connsiteY116" fmla="*/ 3394043 h 6853150"/>
              <a:gd name="connsiteX117" fmla="*/ 104636 w 324091"/>
              <a:gd name="connsiteY117" fmla="*/ 3416905 h 6853150"/>
              <a:gd name="connsiteX118" fmla="*/ 104635 w 324091"/>
              <a:gd name="connsiteY118" fmla="*/ 3416905 h 6853150"/>
              <a:gd name="connsiteX119" fmla="*/ 81775 w 324091"/>
              <a:gd name="connsiteY119" fmla="*/ 3439763 h 6853150"/>
              <a:gd name="connsiteX120" fmla="*/ 0 w 324091"/>
              <a:gd name="connsiteY120" fmla="*/ 3439763 h 6853150"/>
              <a:gd name="connsiteX121" fmla="*/ 0 w 324091"/>
              <a:gd name="connsiteY121" fmla="*/ 3240516 h 6853150"/>
              <a:gd name="connsiteX122" fmla="*/ 173216 w 324091"/>
              <a:gd name="connsiteY122" fmla="*/ 3240516 h 6853150"/>
              <a:gd name="connsiteX123" fmla="*/ 196076 w 324091"/>
              <a:gd name="connsiteY123" fmla="*/ 3263376 h 6853150"/>
              <a:gd name="connsiteX124" fmla="*/ 196075 w 324091"/>
              <a:gd name="connsiteY124" fmla="*/ 3263376 h 6853150"/>
              <a:gd name="connsiteX125" fmla="*/ 173215 w 324091"/>
              <a:gd name="connsiteY125" fmla="*/ 3286236 h 6853150"/>
              <a:gd name="connsiteX126" fmla="*/ 0 w 324091"/>
              <a:gd name="connsiteY126" fmla="*/ 3286236 h 6853150"/>
              <a:gd name="connsiteX127" fmla="*/ 0 w 324091"/>
              <a:gd name="connsiteY127" fmla="*/ 3086989 h 6853150"/>
              <a:gd name="connsiteX128" fmla="*/ 81776 w 324091"/>
              <a:gd name="connsiteY128" fmla="*/ 3086989 h 6853150"/>
              <a:gd name="connsiteX129" fmla="*/ 104636 w 324091"/>
              <a:gd name="connsiteY129" fmla="*/ 3109849 h 6853150"/>
              <a:gd name="connsiteX130" fmla="*/ 104635 w 324091"/>
              <a:gd name="connsiteY130" fmla="*/ 3109849 h 6853150"/>
              <a:gd name="connsiteX131" fmla="*/ 81775 w 324091"/>
              <a:gd name="connsiteY131" fmla="*/ 3132709 h 6853150"/>
              <a:gd name="connsiteX132" fmla="*/ 0 w 324091"/>
              <a:gd name="connsiteY132" fmla="*/ 3132709 h 6853150"/>
              <a:gd name="connsiteX133" fmla="*/ 0 w 324091"/>
              <a:gd name="connsiteY133" fmla="*/ 2889206 h 6853150"/>
              <a:gd name="connsiteX134" fmla="*/ 279104 w 324091"/>
              <a:gd name="connsiteY134" fmla="*/ 2889206 h 6853150"/>
              <a:gd name="connsiteX135" fmla="*/ 324091 w 324091"/>
              <a:gd name="connsiteY135" fmla="*/ 2934194 h 6853150"/>
              <a:gd name="connsiteX136" fmla="*/ 279104 w 324091"/>
              <a:gd name="connsiteY136" fmla="*/ 2979180 h 6853150"/>
              <a:gd name="connsiteX137" fmla="*/ 0 w 324091"/>
              <a:gd name="connsiteY137" fmla="*/ 2979180 h 6853150"/>
              <a:gd name="connsiteX138" fmla="*/ 0 w 324091"/>
              <a:gd name="connsiteY138" fmla="*/ 2711367 h 6853150"/>
              <a:gd name="connsiteX139" fmla="*/ 81776 w 324091"/>
              <a:gd name="connsiteY139" fmla="*/ 2711367 h 6853150"/>
              <a:gd name="connsiteX140" fmla="*/ 104636 w 324091"/>
              <a:gd name="connsiteY140" fmla="*/ 2734227 h 6853150"/>
              <a:gd name="connsiteX141" fmla="*/ 104635 w 324091"/>
              <a:gd name="connsiteY141" fmla="*/ 2734227 h 6853150"/>
              <a:gd name="connsiteX142" fmla="*/ 81775 w 324091"/>
              <a:gd name="connsiteY142" fmla="*/ 2757087 h 6853150"/>
              <a:gd name="connsiteX143" fmla="*/ 0 w 324091"/>
              <a:gd name="connsiteY143" fmla="*/ 2757087 h 6853150"/>
              <a:gd name="connsiteX144" fmla="*/ 0 w 324091"/>
              <a:gd name="connsiteY144" fmla="*/ 2557839 h 6853150"/>
              <a:gd name="connsiteX145" fmla="*/ 173216 w 324091"/>
              <a:gd name="connsiteY145" fmla="*/ 2557839 h 6853150"/>
              <a:gd name="connsiteX146" fmla="*/ 196076 w 324091"/>
              <a:gd name="connsiteY146" fmla="*/ 2580699 h 6853150"/>
              <a:gd name="connsiteX147" fmla="*/ 196075 w 324091"/>
              <a:gd name="connsiteY147" fmla="*/ 2580699 h 6853150"/>
              <a:gd name="connsiteX148" fmla="*/ 173215 w 324091"/>
              <a:gd name="connsiteY148" fmla="*/ 2603559 h 6853150"/>
              <a:gd name="connsiteX149" fmla="*/ 0 w 324091"/>
              <a:gd name="connsiteY149" fmla="*/ 2603559 h 6853150"/>
              <a:gd name="connsiteX150" fmla="*/ 0 w 324091"/>
              <a:gd name="connsiteY150" fmla="*/ 2404312 h 6853150"/>
              <a:gd name="connsiteX151" fmla="*/ 81776 w 324091"/>
              <a:gd name="connsiteY151" fmla="*/ 2404312 h 6853150"/>
              <a:gd name="connsiteX152" fmla="*/ 104636 w 324091"/>
              <a:gd name="connsiteY152" fmla="*/ 2427171 h 6853150"/>
              <a:gd name="connsiteX153" fmla="*/ 104635 w 324091"/>
              <a:gd name="connsiteY153" fmla="*/ 2427171 h 6853150"/>
              <a:gd name="connsiteX154" fmla="*/ 81775 w 324091"/>
              <a:gd name="connsiteY154" fmla="*/ 2450032 h 6853150"/>
              <a:gd name="connsiteX155" fmla="*/ 0 w 324091"/>
              <a:gd name="connsiteY155" fmla="*/ 2450032 h 6853150"/>
              <a:gd name="connsiteX156" fmla="*/ 0 w 324091"/>
              <a:gd name="connsiteY156" fmla="*/ 2206528 h 6853150"/>
              <a:gd name="connsiteX157" fmla="*/ 279104 w 324091"/>
              <a:gd name="connsiteY157" fmla="*/ 2206528 h 6853150"/>
              <a:gd name="connsiteX158" fmla="*/ 324091 w 324091"/>
              <a:gd name="connsiteY158" fmla="*/ 2251515 h 6853150"/>
              <a:gd name="connsiteX159" fmla="*/ 279104 w 324091"/>
              <a:gd name="connsiteY159" fmla="*/ 2296503 h 6853150"/>
              <a:gd name="connsiteX160" fmla="*/ 0 w 324091"/>
              <a:gd name="connsiteY160" fmla="*/ 2296503 h 6853150"/>
              <a:gd name="connsiteX161" fmla="*/ 0 w 324091"/>
              <a:gd name="connsiteY161" fmla="*/ 2028689 h 6853150"/>
              <a:gd name="connsiteX162" fmla="*/ 81776 w 324091"/>
              <a:gd name="connsiteY162" fmla="*/ 2028689 h 6853150"/>
              <a:gd name="connsiteX163" fmla="*/ 104636 w 324091"/>
              <a:gd name="connsiteY163" fmla="*/ 2051550 h 6853150"/>
              <a:gd name="connsiteX164" fmla="*/ 104635 w 324091"/>
              <a:gd name="connsiteY164" fmla="*/ 2051550 h 6853150"/>
              <a:gd name="connsiteX165" fmla="*/ 81775 w 324091"/>
              <a:gd name="connsiteY165" fmla="*/ 2074409 h 6853150"/>
              <a:gd name="connsiteX166" fmla="*/ 0 w 324091"/>
              <a:gd name="connsiteY166" fmla="*/ 2074409 h 6853150"/>
              <a:gd name="connsiteX167" fmla="*/ 0 w 324091"/>
              <a:gd name="connsiteY167" fmla="*/ 1875162 h 6853150"/>
              <a:gd name="connsiteX168" fmla="*/ 173216 w 324091"/>
              <a:gd name="connsiteY168" fmla="*/ 1875162 h 6853150"/>
              <a:gd name="connsiteX169" fmla="*/ 196076 w 324091"/>
              <a:gd name="connsiteY169" fmla="*/ 1898022 h 6853150"/>
              <a:gd name="connsiteX170" fmla="*/ 196075 w 324091"/>
              <a:gd name="connsiteY170" fmla="*/ 1898022 h 6853150"/>
              <a:gd name="connsiteX171" fmla="*/ 173215 w 324091"/>
              <a:gd name="connsiteY171" fmla="*/ 1920882 h 6853150"/>
              <a:gd name="connsiteX172" fmla="*/ 0 w 324091"/>
              <a:gd name="connsiteY172" fmla="*/ 1920882 h 6853150"/>
              <a:gd name="connsiteX173" fmla="*/ 0 w 324091"/>
              <a:gd name="connsiteY173" fmla="*/ 1721635 h 6853150"/>
              <a:gd name="connsiteX174" fmla="*/ 81776 w 324091"/>
              <a:gd name="connsiteY174" fmla="*/ 1721635 h 6853150"/>
              <a:gd name="connsiteX175" fmla="*/ 104636 w 324091"/>
              <a:gd name="connsiteY175" fmla="*/ 1744495 h 6853150"/>
              <a:gd name="connsiteX176" fmla="*/ 104635 w 324091"/>
              <a:gd name="connsiteY176" fmla="*/ 1744495 h 6853150"/>
              <a:gd name="connsiteX177" fmla="*/ 81775 w 324091"/>
              <a:gd name="connsiteY177" fmla="*/ 1767355 h 6853150"/>
              <a:gd name="connsiteX178" fmla="*/ 0 w 324091"/>
              <a:gd name="connsiteY178" fmla="*/ 1767355 h 6853150"/>
              <a:gd name="connsiteX179" fmla="*/ 0 w 324091"/>
              <a:gd name="connsiteY179" fmla="*/ 1523851 h 6853150"/>
              <a:gd name="connsiteX180" fmla="*/ 279104 w 324091"/>
              <a:gd name="connsiteY180" fmla="*/ 1523851 h 6853150"/>
              <a:gd name="connsiteX181" fmla="*/ 324091 w 324091"/>
              <a:gd name="connsiteY181" fmla="*/ 1568838 h 6853150"/>
              <a:gd name="connsiteX182" fmla="*/ 279104 w 324091"/>
              <a:gd name="connsiteY182" fmla="*/ 1613826 h 6853150"/>
              <a:gd name="connsiteX183" fmla="*/ 0 w 324091"/>
              <a:gd name="connsiteY183" fmla="*/ 1613826 h 6853150"/>
              <a:gd name="connsiteX184" fmla="*/ 0 w 324091"/>
              <a:gd name="connsiteY184" fmla="*/ 1346012 h 6853150"/>
              <a:gd name="connsiteX185" fmla="*/ 81776 w 324091"/>
              <a:gd name="connsiteY185" fmla="*/ 1346012 h 6853150"/>
              <a:gd name="connsiteX186" fmla="*/ 104636 w 324091"/>
              <a:gd name="connsiteY186" fmla="*/ 1368872 h 6853150"/>
              <a:gd name="connsiteX187" fmla="*/ 104635 w 324091"/>
              <a:gd name="connsiteY187" fmla="*/ 1368872 h 6853150"/>
              <a:gd name="connsiteX188" fmla="*/ 81775 w 324091"/>
              <a:gd name="connsiteY188" fmla="*/ 1391732 h 6853150"/>
              <a:gd name="connsiteX189" fmla="*/ 0 w 324091"/>
              <a:gd name="connsiteY189" fmla="*/ 1391732 h 6853150"/>
              <a:gd name="connsiteX190" fmla="*/ 0 w 324091"/>
              <a:gd name="connsiteY190" fmla="*/ 1192484 h 6853150"/>
              <a:gd name="connsiteX191" fmla="*/ 173216 w 324091"/>
              <a:gd name="connsiteY191" fmla="*/ 1192484 h 6853150"/>
              <a:gd name="connsiteX192" fmla="*/ 196076 w 324091"/>
              <a:gd name="connsiteY192" fmla="*/ 1215344 h 6853150"/>
              <a:gd name="connsiteX193" fmla="*/ 196075 w 324091"/>
              <a:gd name="connsiteY193" fmla="*/ 1215344 h 6853150"/>
              <a:gd name="connsiteX194" fmla="*/ 173215 w 324091"/>
              <a:gd name="connsiteY194" fmla="*/ 1238205 h 6853150"/>
              <a:gd name="connsiteX195" fmla="*/ 0 w 324091"/>
              <a:gd name="connsiteY195" fmla="*/ 1238205 h 6853150"/>
              <a:gd name="connsiteX196" fmla="*/ 0 w 324091"/>
              <a:gd name="connsiteY196" fmla="*/ 1038956 h 6853150"/>
              <a:gd name="connsiteX197" fmla="*/ 81776 w 324091"/>
              <a:gd name="connsiteY197" fmla="*/ 1038956 h 6853150"/>
              <a:gd name="connsiteX198" fmla="*/ 104636 w 324091"/>
              <a:gd name="connsiteY198" fmla="*/ 1061817 h 6853150"/>
              <a:gd name="connsiteX199" fmla="*/ 104635 w 324091"/>
              <a:gd name="connsiteY199" fmla="*/ 1061817 h 6853150"/>
              <a:gd name="connsiteX200" fmla="*/ 81775 w 324091"/>
              <a:gd name="connsiteY200" fmla="*/ 1084677 h 6853150"/>
              <a:gd name="connsiteX201" fmla="*/ 0 w 324091"/>
              <a:gd name="connsiteY201" fmla="*/ 1084677 h 6853150"/>
              <a:gd name="connsiteX202" fmla="*/ 0 w 324091"/>
              <a:gd name="connsiteY202" fmla="*/ 841173 h 6853150"/>
              <a:gd name="connsiteX203" fmla="*/ 279104 w 324091"/>
              <a:gd name="connsiteY203" fmla="*/ 841173 h 6853150"/>
              <a:gd name="connsiteX204" fmla="*/ 324091 w 324091"/>
              <a:gd name="connsiteY204" fmla="*/ 886160 h 6853150"/>
              <a:gd name="connsiteX205" fmla="*/ 279104 w 324091"/>
              <a:gd name="connsiteY205" fmla="*/ 931147 h 6853150"/>
              <a:gd name="connsiteX206" fmla="*/ 0 w 324091"/>
              <a:gd name="connsiteY206" fmla="*/ 931147 h 6853150"/>
              <a:gd name="connsiteX207" fmla="*/ 0 w 324091"/>
              <a:gd name="connsiteY207" fmla="*/ 663334 h 6853150"/>
              <a:gd name="connsiteX208" fmla="*/ 81776 w 324091"/>
              <a:gd name="connsiteY208" fmla="*/ 663334 h 6853150"/>
              <a:gd name="connsiteX209" fmla="*/ 104636 w 324091"/>
              <a:gd name="connsiteY209" fmla="*/ 686194 h 6853150"/>
              <a:gd name="connsiteX210" fmla="*/ 104635 w 324091"/>
              <a:gd name="connsiteY210" fmla="*/ 686194 h 6853150"/>
              <a:gd name="connsiteX211" fmla="*/ 81775 w 324091"/>
              <a:gd name="connsiteY211" fmla="*/ 709054 h 6853150"/>
              <a:gd name="connsiteX212" fmla="*/ 0 w 324091"/>
              <a:gd name="connsiteY212" fmla="*/ 709054 h 6853150"/>
              <a:gd name="connsiteX213" fmla="*/ 0 w 324091"/>
              <a:gd name="connsiteY213" fmla="*/ 509806 h 6853150"/>
              <a:gd name="connsiteX214" fmla="*/ 173216 w 324091"/>
              <a:gd name="connsiteY214" fmla="*/ 509806 h 6853150"/>
              <a:gd name="connsiteX215" fmla="*/ 196076 w 324091"/>
              <a:gd name="connsiteY215" fmla="*/ 532666 h 6853150"/>
              <a:gd name="connsiteX216" fmla="*/ 196075 w 324091"/>
              <a:gd name="connsiteY216" fmla="*/ 532666 h 6853150"/>
              <a:gd name="connsiteX217" fmla="*/ 173215 w 324091"/>
              <a:gd name="connsiteY217" fmla="*/ 555526 h 6853150"/>
              <a:gd name="connsiteX218" fmla="*/ 0 w 324091"/>
              <a:gd name="connsiteY218" fmla="*/ 555526 h 6853150"/>
              <a:gd name="connsiteX219" fmla="*/ 0 w 324091"/>
              <a:gd name="connsiteY219" fmla="*/ 356279 h 6853150"/>
              <a:gd name="connsiteX220" fmla="*/ 81776 w 324091"/>
              <a:gd name="connsiteY220" fmla="*/ 356279 h 6853150"/>
              <a:gd name="connsiteX221" fmla="*/ 104636 w 324091"/>
              <a:gd name="connsiteY221" fmla="*/ 379139 h 6853150"/>
              <a:gd name="connsiteX222" fmla="*/ 104635 w 324091"/>
              <a:gd name="connsiteY222" fmla="*/ 379139 h 6853150"/>
              <a:gd name="connsiteX223" fmla="*/ 81775 w 324091"/>
              <a:gd name="connsiteY223" fmla="*/ 401999 h 6853150"/>
              <a:gd name="connsiteX224" fmla="*/ 0 w 324091"/>
              <a:gd name="connsiteY224" fmla="*/ 401999 h 6853150"/>
              <a:gd name="connsiteX225" fmla="*/ 0 w 324091"/>
              <a:gd name="connsiteY225" fmla="*/ 158496 h 6853150"/>
              <a:gd name="connsiteX226" fmla="*/ 279104 w 324091"/>
              <a:gd name="connsiteY226" fmla="*/ 158496 h 6853150"/>
              <a:gd name="connsiteX227" fmla="*/ 324091 w 324091"/>
              <a:gd name="connsiteY227" fmla="*/ 203483 h 6853150"/>
              <a:gd name="connsiteX228" fmla="*/ 279104 w 324091"/>
              <a:gd name="connsiteY228" fmla="*/ 248470 h 6853150"/>
              <a:gd name="connsiteX229" fmla="*/ 0 w 324091"/>
              <a:gd name="connsiteY229" fmla="*/ 248470 h 6853150"/>
              <a:gd name="connsiteX230" fmla="*/ 0 w 324091"/>
              <a:gd name="connsiteY230" fmla="*/ 0 h 6853150"/>
              <a:gd name="connsiteX231" fmla="*/ 81776 w 324091"/>
              <a:gd name="connsiteY231" fmla="*/ 0 h 6853150"/>
              <a:gd name="connsiteX232" fmla="*/ 104636 w 324091"/>
              <a:gd name="connsiteY232" fmla="*/ 22860 h 6853150"/>
              <a:gd name="connsiteX233" fmla="*/ 104635 w 324091"/>
              <a:gd name="connsiteY233" fmla="*/ 22860 h 6853150"/>
              <a:gd name="connsiteX234" fmla="*/ 81775 w 324091"/>
              <a:gd name="connsiteY234" fmla="*/ 45720 h 6853150"/>
              <a:gd name="connsiteX235" fmla="*/ 0 w 324091"/>
              <a:gd name="connsiteY235" fmla="*/ 45720 h 6853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</a:cxnLst>
            <a:rect l="l" t="t" r="r" b="b"/>
            <a:pathLst>
              <a:path w="324091" h="6853150">
                <a:moveTo>
                  <a:pt x="0" y="6807430"/>
                </a:moveTo>
                <a:lnTo>
                  <a:pt x="81776" y="6807430"/>
                </a:lnTo>
                <a:cubicBezTo>
                  <a:pt x="94401" y="6807430"/>
                  <a:pt x="104636" y="6817665"/>
                  <a:pt x="104636" y="6830290"/>
                </a:cubicBezTo>
                <a:lnTo>
                  <a:pt x="104635" y="6830290"/>
                </a:lnTo>
                <a:cubicBezTo>
                  <a:pt x="104635" y="6842915"/>
                  <a:pt x="94400" y="6853150"/>
                  <a:pt x="81775" y="6853150"/>
                </a:cubicBezTo>
                <a:lnTo>
                  <a:pt x="0" y="6853150"/>
                </a:lnTo>
                <a:close/>
                <a:moveTo>
                  <a:pt x="0" y="6653902"/>
                </a:moveTo>
                <a:lnTo>
                  <a:pt x="173216" y="6653902"/>
                </a:lnTo>
                <a:cubicBezTo>
                  <a:pt x="185841" y="6653902"/>
                  <a:pt x="196076" y="6664137"/>
                  <a:pt x="196076" y="6676762"/>
                </a:cubicBezTo>
                <a:lnTo>
                  <a:pt x="196075" y="6676762"/>
                </a:lnTo>
                <a:cubicBezTo>
                  <a:pt x="196075" y="6689387"/>
                  <a:pt x="185840" y="6699622"/>
                  <a:pt x="173215" y="6699622"/>
                </a:cubicBezTo>
                <a:lnTo>
                  <a:pt x="0" y="6699622"/>
                </a:lnTo>
                <a:close/>
                <a:moveTo>
                  <a:pt x="0" y="6500374"/>
                </a:moveTo>
                <a:lnTo>
                  <a:pt x="81776" y="6500374"/>
                </a:lnTo>
                <a:cubicBezTo>
                  <a:pt x="94401" y="6500374"/>
                  <a:pt x="104636" y="6510609"/>
                  <a:pt x="104636" y="6523234"/>
                </a:cubicBezTo>
                <a:lnTo>
                  <a:pt x="104635" y="6523234"/>
                </a:lnTo>
                <a:cubicBezTo>
                  <a:pt x="104635" y="6535859"/>
                  <a:pt x="94400" y="6546094"/>
                  <a:pt x="81775" y="6546094"/>
                </a:cubicBezTo>
                <a:lnTo>
                  <a:pt x="0" y="6546094"/>
                </a:lnTo>
                <a:close/>
                <a:moveTo>
                  <a:pt x="0" y="6302591"/>
                </a:moveTo>
                <a:lnTo>
                  <a:pt x="279104" y="6302591"/>
                </a:lnTo>
                <a:cubicBezTo>
                  <a:pt x="303950" y="6302591"/>
                  <a:pt x="324091" y="6322732"/>
                  <a:pt x="324091" y="6347578"/>
                </a:cubicBezTo>
                <a:cubicBezTo>
                  <a:pt x="324091" y="6372424"/>
                  <a:pt x="303950" y="6392565"/>
                  <a:pt x="279104" y="6392565"/>
                </a:cubicBezTo>
                <a:lnTo>
                  <a:pt x="0" y="6392565"/>
                </a:lnTo>
                <a:close/>
                <a:moveTo>
                  <a:pt x="0" y="6124755"/>
                </a:moveTo>
                <a:lnTo>
                  <a:pt x="81776" y="6124755"/>
                </a:lnTo>
                <a:cubicBezTo>
                  <a:pt x="94401" y="6124755"/>
                  <a:pt x="104636" y="6134990"/>
                  <a:pt x="104636" y="6147615"/>
                </a:cubicBezTo>
                <a:lnTo>
                  <a:pt x="104635" y="6147615"/>
                </a:lnTo>
                <a:cubicBezTo>
                  <a:pt x="104635" y="6160240"/>
                  <a:pt x="94400" y="6170475"/>
                  <a:pt x="81775" y="6170475"/>
                </a:cubicBezTo>
                <a:lnTo>
                  <a:pt x="0" y="6170475"/>
                </a:lnTo>
                <a:close/>
                <a:moveTo>
                  <a:pt x="0" y="5971227"/>
                </a:moveTo>
                <a:lnTo>
                  <a:pt x="173216" y="5971227"/>
                </a:lnTo>
                <a:cubicBezTo>
                  <a:pt x="185841" y="5971227"/>
                  <a:pt x="196076" y="5981462"/>
                  <a:pt x="196076" y="5994087"/>
                </a:cubicBezTo>
                <a:lnTo>
                  <a:pt x="196075" y="5994087"/>
                </a:lnTo>
                <a:cubicBezTo>
                  <a:pt x="196075" y="6006712"/>
                  <a:pt x="185840" y="6016947"/>
                  <a:pt x="173215" y="6016947"/>
                </a:cubicBezTo>
                <a:lnTo>
                  <a:pt x="0" y="6016947"/>
                </a:lnTo>
                <a:close/>
                <a:moveTo>
                  <a:pt x="0" y="5817699"/>
                </a:moveTo>
                <a:lnTo>
                  <a:pt x="81776" y="5817699"/>
                </a:lnTo>
                <a:cubicBezTo>
                  <a:pt x="94401" y="5817699"/>
                  <a:pt x="104636" y="5827934"/>
                  <a:pt x="104636" y="5840559"/>
                </a:cubicBezTo>
                <a:lnTo>
                  <a:pt x="104635" y="5840559"/>
                </a:lnTo>
                <a:cubicBezTo>
                  <a:pt x="104635" y="5853184"/>
                  <a:pt x="94400" y="5863419"/>
                  <a:pt x="81775" y="5863419"/>
                </a:cubicBezTo>
                <a:lnTo>
                  <a:pt x="0" y="5863419"/>
                </a:lnTo>
                <a:close/>
                <a:moveTo>
                  <a:pt x="0" y="5619916"/>
                </a:moveTo>
                <a:lnTo>
                  <a:pt x="279104" y="5619916"/>
                </a:lnTo>
                <a:cubicBezTo>
                  <a:pt x="303950" y="5619916"/>
                  <a:pt x="324091" y="5640057"/>
                  <a:pt x="324091" y="5664903"/>
                </a:cubicBezTo>
                <a:cubicBezTo>
                  <a:pt x="324091" y="5689749"/>
                  <a:pt x="303950" y="5709890"/>
                  <a:pt x="279104" y="5709890"/>
                </a:cubicBezTo>
                <a:lnTo>
                  <a:pt x="0" y="5709890"/>
                </a:lnTo>
                <a:close/>
                <a:moveTo>
                  <a:pt x="0" y="5442077"/>
                </a:moveTo>
                <a:lnTo>
                  <a:pt x="81776" y="5442077"/>
                </a:lnTo>
                <a:cubicBezTo>
                  <a:pt x="94401" y="5442077"/>
                  <a:pt x="104636" y="5452312"/>
                  <a:pt x="104636" y="5464937"/>
                </a:cubicBezTo>
                <a:lnTo>
                  <a:pt x="104635" y="5464937"/>
                </a:lnTo>
                <a:cubicBezTo>
                  <a:pt x="104635" y="5477562"/>
                  <a:pt x="94400" y="5487797"/>
                  <a:pt x="81775" y="5487797"/>
                </a:cubicBezTo>
                <a:lnTo>
                  <a:pt x="0" y="5487797"/>
                </a:lnTo>
                <a:close/>
                <a:moveTo>
                  <a:pt x="0" y="5288549"/>
                </a:moveTo>
                <a:lnTo>
                  <a:pt x="173216" y="5288549"/>
                </a:lnTo>
                <a:cubicBezTo>
                  <a:pt x="185841" y="5288549"/>
                  <a:pt x="196076" y="5298784"/>
                  <a:pt x="196076" y="5311409"/>
                </a:cubicBezTo>
                <a:lnTo>
                  <a:pt x="196075" y="5311409"/>
                </a:lnTo>
                <a:cubicBezTo>
                  <a:pt x="196075" y="5324034"/>
                  <a:pt x="185840" y="5334269"/>
                  <a:pt x="173215" y="5334269"/>
                </a:cubicBezTo>
                <a:lnTo>
                  <a:pt x="0" y="5334269"/>
                </a:lnTo>
                <a:close/>
                <a:moveTo>
                  <a:pt x="0" y="5135021"/>
                </a:moveTo>
                <a:lnTo>
                  <a:pt x="81776" y="5135021"/>
                </a:lnTo>
                <a:cubicBezTo>
                  <a:pt x="94401" y="5135021"/>
                  <a:pt x="104636" y="5145256"/>
                  <a:pt x="104636" y="5157881"/>
                </a:cubicBezTo>
                <a:lnTo>
                  <a:pt x="104635" y="5157881"/>
                </a:lnTo>
                <a:cubicBezTo>
                  <a:pt x="104635" y="5170506"/>
                  <a:pt x="94400" y="5180741"/>
                  <a:pt x="81775" y="5180741"/>
                </a:cubicBezTo>
                <a:lnTo>
                  <a:pt x="0" y="5180741"/>
                </a:lnTo>
                <a:close/>
                <a:moveTo>
                  <a:pt x="0" y="4937238"/>
                </a:moveTo>
                <a:lnTo>
                  <a:pt x="279104" y="4937238"/>
                </a:lnTo>
                <a:cubicBezTo>
                  <a:pt x="303950" y="4937238"/>
                  <a:pt x="324091" y="4957379"/>
                  <a:pt x="324091" y="4982225"/>
                </a:cubicBezTo>
                <a:cubicBezTo>
                  <a:pt x="324091" y="5007071"/>
                  <a:pt x="303950" y="5027212"/>
                  <a:pt x="279104" y="5027212"/>
                </a:cubicBezTo>
                <a:lnTo>
                  <a:pt x="0" y="5027212"/>
                </a:lnTo>
                <a:close/>
                <a:moveTo>
                  <a:pt x="0" y="4759399"/>
                </a:moveTo>
                <a:lnTo>
                  <a:pt x="81776" y="4759399"/>
                </a:lnTo>
                <a:cubicBezTo>
                  <a:pt x="94401" y="4759399"/>
                  <a:pt x="104636" y="4769634"/>
                  <a:pt x="104636" y="4782259"/>
                </a:cubicBezTo>
                <a:lnTo>
                  <a:pt x="104635" y="4782259"/>
                </a:lnTo>
                <a:cubicBezTo>
                  <a:pt x="104635" y="4794884"/>
                  <a:pt x="94400" y="4805119"/>
                  <a:pt x="81775" y="4805119"/>
                </a:cubicBezTo>
                <a:lnTo>
                  <a:pt x="0" y="4805119"/>
                </a:lnTo>
                <a:close/>
                <a:moveTo>
                  <a:pt x="0" y="4605871"/>
                </a:moveTo>
                <a:lnTo>
                  <a:pt x="173216" y="4605871"/>
                </a:lnTo>
                <a:cubicBezTo>
                  <a:pt x="185841" y="4605871"/>
                  <a:pt x="196076" y="4616106"/>
                  <a:pt x="196076" y="4628731"/>
                </a:cubicBezTo>
                <a:lnTo>
                  <a:pt x="196075" y="4628731"/>
                </a:lnTo>
                <a:cubicBezTo>
                  <a:pt x="196075" y="4641356"/>
                  <a:pt x="185840" y="4651591"/>
                  <a:pt x="173215" y="4651591"/>
                </a:cubicBezTo>
                <a:lnTo>
                  <a:pt x="0" y="4651591"/>
                </a:lnTo>
                <a:close/>
                <a:moveTo>
                  <a:pt x="0" y="4452343"/>
                </a:moveTo>
                <a:lnTo>
                  <a:pt x="81776" y="4452343"/>
                </a:lnTo>
                <a:cubicBezTo>
                  <a:pt x="94401" y="4452343"/>
                  <a:pt x="104636" y="4462578"/>
                  <a:pt x="104636" y="4475203"/>
                </a:cubicBezTo>
                <a:lnTo>
                  <a:pt x="104635" y="4475203"/>
                </a:lnTo>
                <a:cubicBezTo>
                  <a:pt x="104635" y="4487828"/>
                  <a:pt x="94400" y="4498063"/>
                  <a:pt x="81775" y="4498063"/>
                </a:cubicBezTo>
                <a:lnTo>
                  <a:pt x="0" y="4498063"/>
                </a:lnTo>
                <a:close/>
                <a:moveTo>
                  <a:pt x="0" y="4254560"/>
                </a:moveTo>
                <a:lnTo>
                  <a:pt x="279104" y="4254560"/>
                </a:lnTo>
                <a:cubicBezTo>
                  <a:pt x="303950" y="4254560"/>
                  <a:pt x="324091" y="4274701"/>
                  <a:pt x="324091" y="4299547"/>
                </a:cubicBezTo>
                <a:cubicBezTo>
                  <a:pt x="324091" y="4324393"/>
                  <a:pt x="303950" y="4344534"/>
                  <a:pt x="279104" y="4344534"/>
                </a:cubicBezTo>
                <a:lnTo>
                  <a:pt x="0" y="4344534"/>
                </a:lnTo>
                <a:close/>
                <a:moveTo>
                  <a:pt x="0" y="4076721"/>
                </a:moveTo>
                <a:lnTo>
                  <a:pt x="81776" y="4076721"/>
                </a:lnTo>
                <a:cubicBezTo>
                  <a:pt x="94401" y="4076721"/>
                  <a:pt x="104636" y="4086956"/>
                  <a:pt x="104636" y="4099581"/>
                </a:cubicBezTo>
                <a:lnTo>
                  <a:pt x="104635" y="4099581"/>
                </a:lnTo>
                <a:cubicBezTo>
                  <a:pt x="104635" y="4112206"/>
                  <a:pt x="94400" y="4122441"/>
                  <a:pt x="81775" y="4122441"/>
                </a:cubicBezTo>
                <a:lnTo>
                  <a:pt x="0" y="4122441"/>
                </a:lnTo>
                <a:close/>
                <a:moveTo>
                  <a:pt x="0" y="3923193"/>
                </a:moveTo>
                <a:lnTo>
                  <a:pt x="173216" y="3923193"/>
                </a:lnTo>
                <a:cubicBezTo>
                  <a:pt x="185841" y="3923193"/>
                  <a:pt x="196076" y="3933428"/>
                  <a:pt x="196076" y="3946053"/>
                </a:cubicBezTo>
                <a:lnTo>
                  <a:pt x="196075" y="3946053"/>
                </a:lnTo>
                <a:cubicBezTo>
                  <a:pt x="196075" y="3958678"/>
                  <a:pt x="185840" y="3968913"/>
                  <a:pt x="173215" y="3968913"/>
                </a:cubicBezTo>
                <a:lnTo>
                  <a:pt x="0" y="3968913"/>
                </a:lnTo>
                <a:close/>
                <a:moveTo>
                  <a:pt x="0" y="3769665"/>
                </a:moveTo>
                <a:lnTo>
                  <a:pt x="81776" y="3769665"/>
                </a:lnTo>
                <a:cubicBezTo>
                  <a:pt x="94401" y="3769665"/>
                  <a:pt x="104636" y="3779900"/>
                  <a:pt x="104636" y="3792525"/>
                </a:cubicBezTo>
                <a:lnTo>
                  <a:pt x="104635" y="3792525"/>
                </a:lnTo>
                <a:cubicBezTo>
                  <a:pt x="104635" y="3805150"/>
                  <a:pt x="94400" y="3815385"/>
                  <a:pt x="81775" y="3815385"/>
                </a:cubicBezTo>
                <a:lnTo>
                  <a:pt x="0" y="3815385"/>
                </a:lnTo>
                <a:close/>
                <a:moveTo>
                  <a:pt x="0" y="3571882"/>
                </a:moveTo>
                <a:lnTo>
                  <a:pt x="279104" y="3571882"/>
                </a:lnTo>
                <a:cubicBezTo>
                  <a:pt x="303950" y="3571882"/>
                  <a:pt x="324091" y="3592023"/>
                  <a:pt x="324091" y="3616869"/>
                </a:cubicBezTo>
                <a:cubicBezTo>
                  <a:pt x="324091" y="3641715"/>
                  <a:pt x="303950" y="3661856"/>
                  <a:pt x="279104" y="3661856"/>
                </a:cubicBezTo>
                <a:lnTo>
                  <a:pt x="0" y="3661856"/>
                </a:lnTo>
                <a:close/>
                <a:moveTo>
                  <a:pt x="0" y="3394043"/>
                </a:moveTo>
                <a:lnTo>
                  <a:pt x="81776" y="3394043"/>
                </a:lnTo>
                <a:cubicBezTo>
                  <a:pt x="94401" y="3394043"/>
                  <a:pt x="104636" y="3404279"/>
                  <a:pt x="104636" y="3416905"/>
                </a:cubicBezTo>
                <a:lnTo>
                  <a:pt x="104635" y="3416905"/>
                </a:lnTo>
                <a:cubicBezTo>
                  <a:pt x="104635" y="3429528"/>
                  <a:pt x="94400" y="3439763"/>
                  <a:pt x="81775" y="3439763"/>
                </a:cubicBezTo>
                <a:lnTo>
                  <a:pt x="0" y="3439763"/>
                </a:lnTo>
                <a:close/>
                <a:moveTo>
                  <a:pt x="0" y="3240516"/>
                </a:moveTo>
                <a:lnTo>
                  <a:pt x="173216" y="3240516"/>
                </a:lnTo>
                <a:cubicBezTo>
                  <a:pt x="185841" y="3240516"/>
                  <a:pt x="196076" y="3250752"/>
                  <a:pt x="196076" y="3263376"/>
                </a:cubicBezTo>
                <a:lnTo>
                  <a:pt x="196075" y="3263376"/>
                </a:lnTo>
                <a:cubicBezTo>
                  <a:pt x="196075" y="3276001"/>
                  <a:pt x="185840" y="3286236"/>
                  <a:pt x="173215" y="3286236"/>
                </a:cubicBezTo>
                <a:lnTo>
                  <a:pt x="0" y="3286236"/>
                </a:lnTo>
                <a:close/>
                <a:moveTo>
                  <a:pt x="0" y="3086989"/>
                </a:moveTo>
                <a:lnTo>
                  <a:pt x="81776" y="3086989"/>
                </a:lnTo>
                <a:cubicBezTo>
                  <a:pt x="94401" y="3086989"/>
                  <a:pt x="104636" y="3097224"/>
                  <a:pt x="104636" y="3109849"/>
                </a:cubicBezTo>
                <a:lnTo>
                  <a:pt x="104635" y="3109849"/>
                </a:lnTo>
                <a:cubicBezTo>
                  <a:pt x="104635" y="3122474"/>
                  <a:pt x="94400" y="3132709"/>
                  <a:pt x="81775" y="3132709"/>
                </a:cubicBezTo>
                <a:lnTo>
                  <a:pt x="0" y="3132709"/>
                </a:lnTo>
                <a:close/>
                <a:moveTo>
                  <a:pt x="0" y="2889206"/>
                </a:moveTo>
                <a:lnTo>
                  <a:pt x="279104" y="2889206"/>
                </a:lnTo>
                <a:cubicBezTo>
                  <a:pt x="303950" y="2889206"/>
                  <a:pt x="324091" y="2909347"/>
                  <a:pt x="324091" y="2934194"/>
                </a:cubicBezTo>
                <a:cubicBezTo>
                  <a:pt x="324091" y="2959039"/>
                  <a:pt x="303950" y="2979180"/>
                  <a:pt x="279104" y="2979180"/>
                </a:cubicBezTo>
                <a:lnTo>
                  <a:pt x="0" y="2979180"/>
                </a:lnTo>
                <a:close/>
                <a:moveTo>
                  <a:pt x="0" y="2711367"/>
                </a:moveTo>
                <a:lnTo>
                  <a:pt x="81776" y="2711367"/>
                </a:lnTo>
                <a:cubicBezTo>
                  <a:pt x="94401" y="2711367"/>
                  <a:pt x="104636" y="2721602"/>
                  <a:pt x="104636" y="2734227"/>
                </a:cubicBezTo>
                <a:lnTo>
                  <a:pt x="104635" y="2734227"/>
                </a:lnTo>
                <a:cubicBezTo>
                  <a:pt x="104635" y="2746852"/>
                  <a:pt x="94400" y="2757087"/>
                  <a:pt x="81775" y="2757087"/>
                </a:cubicBezTo>
                <a:lnTo>
                  <a:pt x="0" y="2757087"/>
                </a:lnTo>
                <a:close/>
                <a:moveTo>
                  <a:pt x="0" y="2557839"/>
                </a:moveTo>
                <a:lnTo>
                  <a:pt x="173216" y="2557839"/>
                </a:lnTo>
                <a:cubicBezTo>
                  <a:pt x="185841" y="2557839"/>
                  <a:pt x="196076" y="2568074"/>
                  <a:pt x="196076" y="2580699"/>
                </a:cubicBezTo>
                <a:lnTo>
                  <a:pt x="196075" y="2580699"/>
                </a:lnTo>
                <a:cubicBezTo>
                  <a:pt x="196075" y="2593324"/>
                  <a:pt x="185840" y="2603559"/>
                  <a:pt x="173215" y="2603559"/>
                </a:cubicBezTo>
                <a:lnTo>
                  <a:pt x="0" y="2603559"/>
                </a:lnTo>
                <a:close/>
                <a:moveTo>
                  <a:pt x="0" y="2404312"/>
                </a:moveTo>
                <a:lnTo>
                  <a:pt x="81776" y="2404312"/>
                </a:lnTo>
                <a:cubicBezTo>
                  <a:pt x="94401" y="2404312"/>
                  <a:pt x="104636" y="2414546"/>
                  <a:pt x="104636" y="2427171"/>
                </a:cubicBezTo>
                <a:lnTo>
                  <a:pt x="104635" y="2427171"/>
                </a:lnTo>
                <a:cubicBezTo>
                  <a:pt x="104635" y="2439796"/>
                  <a:pt x="94400" y="2450032"/>
                  <a:pt x="81775" y="2450032"/>
                </a:cubicBezTo>
                <a:lnTo>
                  <a:pt x="0" y="2450032"/>
                </a:lnTo>
                <a:close/>
                <a:moveTo>
                  <a:pt x="0" y="2206528"/>
                </a:moveTo>
                <a:lnTo>
                  <a:pt x="279104" y="2206528"/>
                </a:lnTo>
                <a:cubicBezTo>
                  <a:pt x="303950" y="2206528"/>
                  <a:pt x="324091" y="2226669"/>
                  <a:pt x="324091" y="2251515"/>
                </a:cubicBezTo>
                <a:cubicBezTo>
                  <a:pt x="324091" y="2276362"/>
                  <a:pt x="303950" y="2296503"/>
                  <a:pt x="279104" y="2296503"/>
                </a:cubicBezTo>
                <a:lnTo>
                  <a:pt x="0" y="2296503"/>
                </a:lnTo>
                <a:close/>
                <a:moveTo>
                  <a:pt x="0" y="2028689"/>
                </a:moveTo>
                <a:lnTo>
                  <a:pt x="81776" y="2028689"/>
                </a:lnTo>
                <a:cubicBezTo>
                  <a:pt x="94401" y="2028689"/>
                  <a:pt x="104636" y="2038925"/>
                  <a:pt x="104636" y="2051550"/>
                </a:cubicBezTo>
                <a:lnTo>
                  <a:pt x="104635" y="2051550"/>
                </a:lnTo>
                <a:cubicBezTo>
                  <a:pt x="104635" y="2064175"/>
                  <a:pt x="94400" y="2074409"/>
                  <a:pt x="81775" y="2074409"/>
                </a:cubicBezTo>
                <a:lnTo>
                  <a:pt x="0" y="2074409"/>
                </a:lnTo>
                <a:close/>
                <a:moveTo>
                  <a:pt x="0" y="1875162"/>
                </a:moveTo>
                <a:lnTo>
                  <a:pt x="173216" y="1875162"/>
                </a:lnTo>
                <a:cubicBezTo>
                  <a:pt x="185841" y="1875162"/>
                  <a:pt x="196076" y="1885397"/>
                  <a:pt x="196076" y="1898022"/>
                </a:cubicBezTo>
                <a:lnTo>
                  <a:pt x="196075" y="1898022"/>
                </a:lnTo>
                <a:cubicBezTo>
                  <a:pt x="196075" y="1910647"/>
                  <a:pt x="185840" y="1920882"/>
                  <a:pt x="173215" y="1920882"/>
                </a:cubicBezTo>
                <a:lnTo>
                  <a:pt x="0" y="1920882"/>
                </a:lnTo>
                <a:close/>
                <a:moveTo>
                  <a:pt x="0" y="1721635"/>
                </a:moveTo>
                <a:lnTo>
                  <a:pt x="81776" y="1721635"/>
                </a:lnTo>
                <a:cubicBezTo>
                  <a:pt x="94401" y="1721635"/>
                  <a:pt x="104636" y="1731870"/>
                  <a:pt x="104636" y="1744495"/>
                </a:cubicBezTo>
                <a:lnTo>
                  <a:pt x="104635" y="1744495"/>
                </a:lnTo>
                <a:cubicBezTo>
                  <a:pt x="104635" y="1757120"/>
                  <a:pt x="94400" y="1767355"/>
                  <a:pt x="81775" y="1767355"/>
                </a:cubicBezTo>
                <a:lnTo>
                  <a:pt x="0" y="1767355"/>
                </a:lnTo>
                <a:close/>
                <a:moveTo>
                  <a:pt x="0" y="1523851"/>
                </a:moveTo>
                <a:lnTo>
                  <a:pt x="279104" y="1523851"/>
                </a:lnTo>
                <a:cubicBezTo>
                  <a:pt x="303950" y="1523851"/>
                  <a:pt x="324091" y="1543992"/>
                  <a:pt x="324091" y="1568838"/>
                </a:cubicBezTo>
                <a:cubicBezTo>
                  <a:pt x="324091" y="1593684"/>
                  <a:pt x="303950" y="1613826"/>
                  <a:pt x="279104" y="1613826"/>
                </a:cubicBezTo>
                <a:lnTo>
                  <a:pt x="0" y="1613826"/>
                </a:lnTo>
                <a:close/>
                <a:moveTo>
                  <a:pt x="0" y="1346012"/>
                </a:moveTo>
                <a:lnTo>
                  <a:pt x="81776" y="1346012"/>
                </a:lnTo>
                <a:cubicBezTo>
                  <a:pt x="94401" y="1346012"/>
                  <a:pt x="104636" y="1356247"/>
                  <a:pt x="104636" y="1368872"/>
                </a:cubicBezTo>
                <a:lnTo>
                  <a:pt x="104635" y="1368872"/>
                </a:lnTo>
                <a:cubicBezTo>
                  <a:pt x="104635" y="1381497"/>
                  <a:pt x="94400" y="1391732"/>
                  <a:pt x="81775" y="1391732"/>
                </a:cubicBezTo>
                <a:lnTo>
                  <a:pt x="0" y="1391732"/>
                </a:lnTo>
                <a:close/>
                <a:moveTo>
                  <a:pt x="0" y="1192484"/>
                </a:moveTo>
                <a:lnTo>
                  <a:pt x="173216" y="1192484"/>
                </a:lnTo>
                <a:cubicBezTo>
                  <a:pt x="185841" y="1192484"/>
                  <a:pt x="196076" y="1202719"/>
                  <a:pt x="196076" y="1215344"/>
                </a:cubicBezTo>
                <a:lnTo>
                  <a:pt x="196075" y="1215344"/>
                </a:lnTo>
                <a:cubicBezTo>
                  <a:pt x="196075" y="1227969"/>
                  <a:pt x="185840" y="1238205"/>
                  <a:pt x="173215" y="1238205"/>
                </a:cubicBezTo>
                <a:lnTo>
                  <a:pt x="0" y="1238205"/>
                </a:lnTo>
                <a:close/>
                <a:moveTo>
                  <a:pt x="0" y="1038956"/>
                </a:moveTo>
                <a:lnTo>
                  <a:pt x="81776" y="1038956"/>
                </a:lnTo>
                <a:cubicBezTo>
                  <a:pt x="94401" y="1038956"/>
                  <a:pt x="104636" y="1049192"/>
                  <a:pt x="104636" y="1061817"/>
                </a:cubicBezTo>
                <a:lnTo>
                  <a:pt x="104635" y="1061817"/>
                </a:lnTo>
                <a:cubicBezTo>
                  <a:pt x="104635" y="1074442"/>
                  <a:pt x="94400" y="1084677"/>
                  <a:pt x="81775" y="1084677"/>
                </a:cubicBezTo>
                <a:lnTo>
                  <a:pt x="0" y="1084677"/>
                </a:lnTo>
                <a:close/>
                <a:moveTo>
                  <a:pt x="0" y="841173"/>
                </a:moveTo>
                <a:lnTo>
                  <a:pt x="279104" y="841173"/>
                </a:lnTo>
                <a:cubicBezTo>
                  <a:pt x="303950" y="841173"/>
                  <a:pt x="324091" y="861314"/>
                  <a:pt x="324091" y="886160"/>
                </a:cubicBezTo>
                <a:cubicBezTo>
                  <a:pt x="324091" y="911007"/>
                  <a:pt x="303950" y="931147"/>
                  <a:pt x="279104" y="931147"/>
                </a:cubicBezTo>
                <a:lnTo>
                  <a:pt x="0" y="931147"/>
                </a:lnTo>
                <a:close/>
                <a:moveTo>
                  <a:pt x="0" y="663334"/>
                </a:moveTo>
                <a:lnTo>
                  <a:pt x="81776" y="663334"/>
                </a:lnTo>
                <a:cubicBezTo>
                  <a:pt x="94401" y="663334"/>
                  <a:pt x="104636" y="673569"/>
                  <a:pt x="104636" y="686194"/>
                </a:cubicBezTo>
                <a:lnTo>
                  <a:pt x="104635" y="686194"/>
                </a:lnTo>
                <a:cubicBezTo>
                  <a:pt x="104635" y="698819"/>
                  <a:pt x="94400" y="709054"/>
                  <a:pt x="81775" y="709054"/>
                </a:cubicBezTo>
                <a:lnTo>
                  <a:pt x="0" y="709054"/>
                </a:lnTo>
                <a:close/>
                <a:moveTo>
                  <a:pt x="0" y="509806"/>
                </a:moveTo>
                <a:lnTo>
                  <a:pt x="173216" y="509806"/>
                </a:lnTo>
                <a:cubicBezTo>
                  <a:pt x="185841" y="509806"/>
                  <a:pt x="196076" y="520041"/>
                  <a:pt x="196076" y="532666"/>
                </a:cubicBezTo>
                <a:lnTo>
                  <a:pt x="196075" y="532666"/>
                </a:lnTo>
                <a:cubicBezTo>
                  <a:pt x="196075" y="545291"/>
                  <a:pt x="185840" y="555526"/>
                  <a:pt x="173215" y="555526"/>
                </a:cubicBezTo>
                <a:lnTo>
                  <a:pt x="0" y="555526"/>
                </a:lnTo>
                <a:close/>
                <a:moveTo>
                  <a:pt x="0" y="356279"/>
                </a:moveTo>
                <a:lnTo>
                  <a:pt x="81776" y="356279"/>
                </a:lnTo>
                <a:cubicBezTo>
                  <a:pt x="94401" y="356279"/>
                  <a:pt x="104636" y="366514"/>
                  <a:pt x="104636" y="379139"/>
                </a:cubicBezTo>
                <a:lnTo>
                  <a:pt x="104635" y="379139"/>
                </a:lnTo>
                <a:cubicBezTo>
                  <a:pt x="104635" y="391764"/>
                  <a:pt x="94400" y="401999"/>
                  <a:pt x="81775" y="401999"/>
                </a:cubicBezTo>
                <a:lnTo>
                  <a:pt x="0" y="401999"/>
                </a:lnTo>
                <a:close/>
                <a:moveTo>
                  <a:pt x="0" y="158496"/>
                </a:moveTo>
                <a:lnTo>
                  <a:pt x="279104" y="158496"/>
                </a:lnTo>
                <a:cubicBezTo>
                  <a:pt x="303950" y="158496"/>
                  <a:pt x="324091" y="178637"/>
                  <a:pt x="324091" y="203483"/>
                </a:cubicBezTo>
                <a:cubicBezTo>
                  <a:pt x="324091" y="228329"/>
                  <a:pt x="303950" y="248470"/>
                  <a:pt x="279104" y="248470"/>
                </a:cubicBezTo>
                <a:lnTo>
                  <a:pt x="0" y="248470"/>
                </a:lnTo>
                <a:close/>
                <a:moveTo>
                  <a:pt x="0" y="0"/>
                </a:moveTo>
                <a:lnTo>
                  <a:pt x="81776" y="0"/>
                </a:lnTo>
                <a:cubicBezTo>
                  <a:pt x="94401" y="0"/>
                  <a:pt x="104636" y="10235"/>
                  <a:pt x="104636" y="22860"/>
                </a:cubicBezTo>
                <a:lnTo>
                  <a:pt x="104635" y="22860"/>
                </a:lnTo>
                <a:cubicBezTo>
                  <a:pt x="104635" y="35485"/>
                  <a:pt x="94400" y="45720"/>
                  <a:pt x="81775" y="45720"/>
                </a:cubicBezTo>
                <a:lnTo>
                  <a:pt x="0" y="45720"/>
                </a:lnTo>
                <a:close/>
              </a:path>
            </a:pathLst>
          </a:custGeom>
          <a:solidFill>
            <a:schemeClr val="bg1">
              <a:alpha val="3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331113" y="2211598"/>
            <a:ext cx="9108607" cy="165576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3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5D1A231-0B26-4848-A731-3CAF26252843}"/>
              </a:ext>
            </a:extLst>
          </p:cNvPr>
          <p:cNvGrpSpPr/>
          <p:nvPr userDrawn="1"/>
        </p:nvGrpSpPr>
        <p:grpSpPr>
          <a:xfrm>
            <a:off x="11803080" y="979776"/>
            <a:ext cx="221196" cy="228600"/>
            <a:chOff x="11806154" y="979776"/>
            <a:chExt cx="221254" cy="228600"/>
          </a:xfrm>
        </p:grpSpPr>
        <p:sp>
          <p:nvSpPr>
            <p:cNvPr id="13" name="Round Same-side Corner of Rectangle 79">
              <a:extLst>
                <a:ext uri="{FF2B5EF4-FFF2-40B4-BE49-F238E27FC236}">
                  <a16:creationId xmlns:a16="http://schemas.microsoft.com/office/drawing/2014/main" id="{466EA5B2-8C8E-47CB-A17F-0572059A1022}"/>
                </a:ext>
              </a:extLst>
            </p:cNvPr>
            <p:cNvSpPr/>
            <p:nvPr/>
          </p:nvSpPr>
          <p:spPr>
            <a:xfrm rot="5400000">
              <a:off x="11802481" y="983449"/>
              <a:ext cx="228600" cy="221254"/>
            </a:xfrm>
            <a:prstGeom prst="round2SameRect">
              <a:avLst>
                <a:gd name="adj1" fmla="val 0"/>
                <a:gd name="adj2" fmla="val 50000"/>
              </a:avLst>
            </a:prstGeom>
            <a:solidFill>
              <a:schemeClr val="tx2"/>
            </a:solidFill>
            <a:ln w="9525">
              <a:noFill/>
            </a:ln>
            <a:effectLst>
              <a:innerShdw blurRad="63500" dist="25400" dir="5400000">
                <a:prstClr val="black">
                  <a:alpha val="32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66914AF1-9E53-4341-B9E5-EB819576AA0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843840" y="1010005"/>
              <a:ext cx="155448" cy="155448"/>
            </a:xfrm>
            <a:prstGeom prst="rect">
              <a:avLst/>
            </a:prstGeom>
          </p:spPr>
        </p:pic>
      </p:grp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05FE9ECE-569E-4A37-B87F-6081243B63FF}"/>
              </a:ext>
            </a:extLst>
          </p:cNvPr>
          <p:cNvSpPr/>
          <p:nvPr userDrawn="1"/>
        </p:nvSpPr>
        <p:spPr>
          <a:xfrm>
            <a:off x="558654" y="706397"/>
            <a:ext cx="4812047" cy="977900"/>
          </a:xfrm>
          <a:prstGeom prst="roundRect">
            <a:avLst>
              <a:gd name="adj" fmla="val 50000"/>
            </a:avLst>
          </a:prstGeom>
          <a:solidFill>
            <a:schemeClr val="bg1">
              <a:alpha val="39000"/>
            </a:schemeClr>
          </a:solidFill>
          <a:ln w="190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293027" y="552617"/>
            <a:ext cx="9385073" cy="1304513"/>
          </a:xfrm>
        </p:spPr>
        <p:txBody>
          <a:bodyPr anchor="ctr">
            <a:noAutofit/>
          </a:bodyPr>
          <a:lstStyle>
            <a:lvl1pPr algn="l">
              <a:defRPr sz="3999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reeform 25">
            <a:extLst>
              <a:ext uri="{FF2B5EF4-FFF2-40B4-BE49-F238E27FC236}">
                <a16:creationId xmlns:a16="http://schemas.microsoft.com/office/drawing/2014/main" id="{8E29C404-BB09-4C55-8561-29C8423B0E8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51667" y="834460"/>
            <a:ext cx="646129" cy="717249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E603599F-D8FC-413A-8DB1-47A1E401132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32883" y="6120714"/>
            <a:ext cx="1017656" cy="420241"/>
          </a:xfrm>
          <a:prstGeom prst="rect">
            <a:avLst/>
          </a:prstGeom>
        </p:spPr>
      </p:pic>
      <p:sp>
        <p:nvSpPr>
          <p:cNvPr id="18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6E1713B3-247D-43CE-8120-2C8AAAA3805A}"/>
              </a:ext>
            </a:extLst>
          </p:cNvPr>
          <p:cNvSpPr/>
          <p:nvPr userDrawn="1"/>
        </p:nvSpPr>
        <p:spPr>
          <a:xfrm rot="5400000">
            <a:off x="11809682" y="871594"/>
            <a:ext cx="320468" cy="437817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4495684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endix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2AA29EF-1A83-4920-8837-4ADB789F9454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795CF7A-A928-4BA8-8F3A-421AD587EC5F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DF7DCE60-60E8-492F-9BC3-393A93D6A4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F9523832-2660-419C-8A14-188EB3B4F5F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6706" y="918349"/>
            <a:ext cx="9963591" cy="5673283"/>
          </a:xfrm>
        </p:spPr>
        <p:txBody>
          <a:bodyPr/>
          <a:lstStyle>
            <a:lvl1pPr marL="0" indent="0">
              <a:spcBef>
                <a:spcPts val="1200"/>
              </a:spcBef>
              <a:buFontTx/>
              <a:buNone/>
              <a:defRPr sz="1799" b="1">
                <a:solidFill>
                  <a:schemeClr val="accent1">
                    <a:lumMod val="75000"/>
                  </a:schemeClr>
                </a:solidFill>
              </a:defRPr>
            </a:lvl1pPr>
            <a:lvl2pPr marL="228531" indent="-228531">
              <a:spcBef>
                <a:spcPts val="1200"/>
              </a:spcBef>
              <a:buFont typeface="+mj-lt"/>
              <a:buAutoNum type="alphaUcPeriod"/>
              <a:defRPr/>
            </a:lvl2pPr>
            <a:lvl3pPr marL="511910" indent="-173684">
              <a:spcBef>
                <a:spcPts val="600"/>
              </a:spcBef>
              <a:buFont typeface="+mj-lt"/>
              <a:buAutoNum type="romanLcPeriod"/>
              <a:defRPr sz="1300"/>
            </a:lvl3pPr>
            <a:lvl4pPr marL="795289" indent="-173684">
              <a:spcBef>
                <a:spcPts val="400"/>
              </a:spcBef>
              <a:buFont typeface="+mj-lt"/>
              <a:buAutoNum type="alphaLcPeriod"/>
              <a:defRPr sz="1300"/>
            </a:lvl4pPr>
            <a:lvl5pPr marL="1144245" indent="-115853">
              <a:spcBef>
                <a:spcPts val="200"/>
              </a:spcBef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0" name="Round Same-side Corner of Rectangle 79">
            <a:extLst>
              <a:ext uri="{FF2B5EF4-FFF2-40B4-BE49-F238E27FC236}">
                <a16:creationId xmlns:a16="http://schemas.microsoft.com/office/drawing/2014/main" id="{54954E15-A103-4A62-A88F-A2D7355FEF38}"/>
              </a:ext>
            </a:extLst>
          </p:cNvPr>
          <p:cNvSpPr/>
          <p:nvPr userDrawn="1"/>
        </p:nvSpPr>
        <p:spPr>
          <a:xfrm rot="5400000">
            <a:off x="11223833" y="1145017"/>
            <a:ext cx="357978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tx2">
              <a:alpha val="2100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3" name="TextBox 92">
            <a:hlinkClick r:id="" action="ppaction://noaction"/>
            <a:extLst>
              <a:ext uri="{FF2B5EF4-FFF2-40B4-BE49-F238E27FC236}">
                <a16:creationId xmlns:a16="http://schemas.microsoft.com/office/drawing/2014/main" id="{7D10290F-A592-4DEA-B1F3-EB889E261015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94" name="Round Same-side Corner of Rectangle 79">
            <a:extLst>
              <a:ext uri="{FF2B5EF4-FFF2-40B4-BE49-F238E27FC236}">
                <a16:creationId xmlns:a16="http://schemas.microsoft.com/office/drawing/2014/main" id="{CBCE6B91-9E93-4BBD-B227-5CC2CDCA1EDB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5" name="TextBox 94">
            <a:hlinkClick r:id="" action="ppaction://noaction"/>
            <a:extLst>
              <a:ext uri="{FF2B5EF4-FFF2-40B4-BE49-F238E27FC236}">
                <a16:creationId xmlns:a16="http://schemas.microsoft.com/office/drawing/2014/main" id="{9C45D954-3B04-4D17-80AF-5CE603112CBB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97" name="Round Same-side Corner of Rectangle 79">
            <a:extLst>
              <a:ext uri="{FF2B5EF4-FFF2-40B4-BE49-F238E27FC236}">
                <a16:creationId xmlns:a16="http://schemas.microsoft.com/office/drawing/2014/main" id="{015BCDBD-78AD-4B5B-83BA-4A7E9F0C6D9D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9" name="Round Same-side Corner of Rectangle 79">
            <a:extLst>
              <a:ext uri="{FF2B5EF4-FFF2-40B4-BE49-F238E27FC236}">
                <a16:creationId xmlns:a16="http://schemas.microsoft.com/office/drawing/2014/main" id="{550E210F-EB80-47AD-8EA0-3E5C45072BE2}"/>
              </a:ext>
            </a:extLst>
          </p:cNvPr>
          <p:cNvSpPr/>
          <p:nvPr userDrawn="1"/>
        </p:nvSpPr>
        <p:spPr>
          <a:xfrm rot="5400000">
            <a:off x="10613117" y="1819454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0" name="TextBox 99">
            <a:hlinkClick r:id="" action="ppaction://noaction"/>
            <a:extLst>
              <a:ext uri="{FF2B5EF4-FFF2-40B4-BE49-F238E27FC236}">
                <a16:creationId xmlns:a16="http://schemas.microsoft.com/office/drawing/2014/main" id="{958C3C00-7CBE-4514-B02C-2A961C64ADF0}"/>
              </a:ext>
            </a:extLst>
          </p:cNvPr>
          <p:cNvSpPr txBox="1"/>
          <p:nvPr userDrawn="1"/>
        </p:nvSpPr>
        <p:spPr>
          <a:xfrm>
            <a:off x="10870644" y="1860803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101" name="Round Same-side Corner of Rectangle 79">
            <a:extLst>
              <a:ext uri="{FF2B5EF4-FFF2-40B4-BE49-F238E27FC236}">
                <a16:creationId xmlns:a16="http://schemas.microsoft.com/office/drawing/2014/main" id="{1335A8C6-D39B-4D9D-9323-4221A2117FE5}"/>
              </a:ext>
            </a:extLst>
          </p:cNvPr>
          <p:cNvSpPr/>
          <p:nvPr userDrawn="1"/>
        </p:nvSpPr>
        <p:spPr>
          <a:xfrm rot="5400000">
            <a:off x="10613117" y="2180288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2" name="TextBox 101">
            <a:hlinkClick r:id="" action="ppaction://noaction"/>
            <a:extLst>
              <a:ext uri="{FF2B5EF4-FFF2-40B4-BE49-F238E27FC236}">
                <a16:creationId xmlns:a16="http://schemas.microsoft.com/office/drawing/2014/main" id="{FC35DD77-0637-4265-AA0D-228593075CBC}"/>
              </a:ext>
            </a:extLst>
          </p:cNvPr>
          <p:cNvSpPr txBox="1"/>
          <p:nvPr userDrawn="1"/>
        </p:nvSpPr>
        <p:spPr>
          <a:xfrm>
            <a:off x="10870644" y="2221637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103" name="Freeform 5">
            <a:extLst>
              <a:ext uri="{FF2B5EF4-FFF2-40B4-BE49-F238E27FC236}">
                <a16:creationId xmlns:a16="http://schemas.microsoft.com/office/drawing/2014/main" id="{59B94288-461D-4F2F-8CF4-CE0D3663457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104" name="Graphic 103">
            <a:extLst>
              <a:ext uri="{FF2B5EF4-FFF2-40B4-BE49-F238E27FC236}">
                <a16:creationId xmlns:a16="http://schemas.microsoft.com/office/drawing/2014/main" id="{8C95F544-D51E-4D0B-9B8A-F930F59710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105" name="Freeform 25">
            <a:extLst>
              <a:ext uri="{FF2B5EF4-FFF2-40B4-BE49-F238E27FC236}">
                <a16:creationId xmlns:a16="http://schemas.microsoft.com/office/drawing/2014/main" id="{CC49B896-BF44-490E-9D81-3837AFA58F1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1859118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106" name="Round Same-side Corner of Rectangle 79">
            <a:extLst>
              <a:ext uri="{FF2B5EF4-FFF2-40B4-BE49-F238E27FC236}">
                <a16:creationId xmlns:a16="http://schemas.microsoft.com/office/drawing/2014/main" id="{07317064-B5DD-44A6-97EF-3298F70A7ADB}"/>
              </a:ext>
            </a:extLst>
          </p:cNvPr>
          <p:cNvSpPr/>
          <p:nvPr userDrawn="1"/>
        </p:nvSpPr>
        <p:spPr>
          <a:xfrm rot="5400000">
            <a:off x="10615976" y="2552213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7" name="TextBox 106">
            <a:hlinkClick r:id="" action="ppaction://noaction"/>
            <a:extLst>
              <a:ext uri="{FF2B5EF4-FFF2-40B4-BE49-F238E27FC236}">
                <a16:creationId xmlns:a16="http://schemas.microsoft.com/office/drawing/2014/main" id="{08A75E20-7C4D-487C-BCE3-FC9EC19F4367}"/>
              </a:ext>
            </a:extLst>
          </p:cNvPr>
          <p:cNvSpPr txBox="1"/>
          <p:nvPr userDrawn="1"/>
        </p:nvSpPr>
        <p:spPr>
          <a:xfrm>
            <a:off x="10873503" y="2593562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108" name="Freeform 21">
            <a:extLst>
              <a:ext uri="{FF2B5EF4-FFF2-40B4-BE49-F238E27FC236}">
                <a16:creationId xmlns:a16="http://schemas.microsoft.com/office/drawing/2014/main" id="{5E48DDAD-E706-4F3D-9083-709F195719CD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2601787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109" name="Graphic 28" descr="List">
            <a:extLst>
              <a:ext uri="{FF2B5EF4-FFF2-40B4-BE49-F238E27FC236}">
                <a16:creationId xmlns:a16="http://schemas.microsoft.com/office/drawing/2014/main" id="{1DEA7FCC-DDB5-4FB1-A296-E6C5D436AAE2}"/>
              </a:ext>
            </a:extLst>
          </p:cNvPr>
          <p:cNvGrpSpPr/>
          <p:nvPr userDrawn="1"/>
        </p:nvGrpSpPr>
        <p:grpSpPr>
          <a:xfrm>
            <a:off x="10657446" y="2213495"/>
            <a:ext cx="103548" cy="146640"/>
            <a:chOff x="981871" y="1231905"/>
            <a:chExt cx="246063" cy="317501"/>
          </a:xfrm>
        </p:grpSpPr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420CDB65-0D61-48A2-B1C5-8302BF92A4EE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F934049F-66A2-4299-8E1E-2C861BEF6DA3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1C2E3A0D-8FAF-4461-B26C-246BFF8394A1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5C91AA5C-BAB4-4967-B347-3A5695AA94D6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5A8294F5-4344-4D4A-AFFE-38C634B7B137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6FB251D9-5ABC-4D7F-8D54-8403C763A015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A4F083DF-6DB1-4F96-B577-10D4A281F960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EF94DBC1-F69F-4233-BCCC-BE7438B90A16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C2087777-0C9F-40B4-B54A-11545ECE7D53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33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093106D1-B1C6-419C-9A07-74441A053D85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E57EE14B-3401-4FBC-A3CC-688DC3DBA614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5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1905789A-45D8-47E8-9990-5000BAAF2A0B}"/>
              </a:ext>
            </a:extLst>
          </p:cNvPr>
          <p:cNvSpPr/>
          <p:nvPr userDrawn="1"/>
        </p:nvSpPr>
        <p:spPr>
          <a:xfrm rot="5400000">
            <a:off x="11240796" y="1145266"/>
            <a:ext cx="324054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8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546DE7E9-A5ED-409F-92F5-1926C76536AC}"/>
              </a:ext>
            </a:extLst>
          </p:cNvPr>
          <p:cNvSpPr/>
          <p:nvPr userDrawn="1"/>
        </p:nvSpPr>
        <p:spPr>
          <a:xfrm rot="5400000">
            <a:off x="11240796" y="1505253"/>
            <a:ext cx="324054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9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309604F1-583B-438B-9CCC-EF336DBC9BD7}"/>
              </a:ext>
            </a:extLst>
          </p:cNvPr>
          <p:cNvSpPr/>
          <p:nvPr userDrawn="1"/>
        </p:nvSpPr>
        <p:spPr>
          <a:xfrm rot="5400000">
            <a:off x="11240796" y="1879254"/>
            <a:ext cx="324054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7225957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Appendix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A24BABF-905D-4FE9-A70E-D80E25FCE4F2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C38E70A-AB57-4D32-A2DC-A19C438AB79B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3" name="Round Same-side Corner of Rectangle 79">
            <a:extLst>
              <a:ext uri="{FF2B5EF4-FFF2-40B4-BE49-F238E27FC236}">
                <a16:creationId xmlns:a16="http://schemas.microsoft.com/office/drawing/2014/main" id="{2ECBAE96-C7A6-4C08-A0C9-6BAA9D0415FF}"/>
              </a:ext>
            </a:extLst>
          </p:cNvPr>
          <p:cNvSpPr/>
          <p:nvPr userDrawn="1"/>
        </p:nvSpPr>
        <p:spPr>
          <a:xfrm rot="5400000">
            <a:off x="11223833" y="1145017"/>
            <a:ext cx="357978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tx2">
              <a:alpha val="2100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3BEF0042-5916-4E3E-8FD7-5A6200245D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TextBox 19">
            <a:hlinkClick r:id="" action="ppaction://noaction"/>
            <a:extLst>
              <a:ext uri="{FF2B5EF4-FFF2-40B4-BE49-F238E27FC236}">
                <a16:creationId xmlns:a16="http://schemas.microsoft.com/office/drawing/2014/main" id="{9117A3AE-B593-49CE-8EF5-30C8284ACBA5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21" name="Round Same-side Corner of Rectangle 79">
            <a:extLst>
              <a:ext uri="{FF2B5EF4-FFF2-40B4-BE49-F238E27FC236}">
                <a16:creationId xmlns:a16="http://schemas.microsoft.com/office/drawing/2014/main" id="{4270BB2A-4433-483A-B317-9895D066C01B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2" name="TextBox 21">
            <a:hlinkClick r:id="" action="ppaction://noaction"/>
            <a:extLst>
              <a:ext uri="{FF2B5EF4-FFF2-40B4-BE49-F238E27FC236}">
                <a16:creationId xmlns:a16="http://schemas.microsoft.com/office/drawing/2014/main" id="{7FAD614A-E6A4-43FF-B216-2F235FEE4AE8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23" name="Round Same-side Corner of Rectangle 79">
            <a:extLst>
              <a:ext uri="{FF2B5EF4-FFF2-40B4-BE49-F238E27FC236}">
                <a16:creationId xmlns:a16="http://schemas.microsoft.com/office/drawing/2014/main" id="{13B9C9E1-B307-400F-AEC8-C1106B34E1B7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4" name="Round Same-side Corner of Rectangle 79">
            <a:extLst>
              <a:ext uri="{FF2B5EF4-FFF2-40B4-BE49-F238E27FC236}">
                <a16:creationId xmlns:a16="http://schemas.microsoft.com/office/drawing/2014/main" id="{3CB6185E-CE10-46E4-BC8F-B3D3DA6EFB0D}"/>
              </a:ext>
            </a:extLst>
          </p:cNvPr>
          <p:cNvSpPr/>
          <p:nvPr userDrawn="1"/>
        </p:nvSpPr>
        <p:spPr>
          <a:xfrm rot="5400000">
            <a:off x="10613117" y="1819454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5" name="TextBox 24">
            <a:hlinkClick r:id="" action="ppaction://noaction"/>
            <a:extLst>
              <a:ext uri="{FF2B5EF4-FFF2-40B4-BE49-F238E27FC236}">
                <a16:creationId xmlns:a16="http://schemas.microsoft.com/office/drawing/2014/main" id="{A14399E8-C824-4227-B524-20C236335E08}"/>
              </a:ext>
            </a:extLst>
          </p:cNvPr>
          <p:cNvSpPr txBox="1"/>
          <p:nvPr userDrawn="1"/>
        </p:nvSpPr>
        <p:spPr>
          <a:xfrm>
            <a:off x="10870644" y="1860803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26" name="Round Same-side Corner of Rectangle 79">
            <a:extLst>
              <a:ext uri="{FF2B5EF4-FFF2-40B4-BE49-F238E27FC236}">
                <a16:creationId xmlns:a16="http://schemas.microsoft.com/office/drawing/2014/main" id="{06131A3E-0D75-444A-A209-B12352A17ECE}"/>
              </a:ext>
            </a:extLst>
          </p:cNvPr>
          <p:cNvSpPr/>
          <p:nvPr userDrawn="1"/>
        </p:nvSpPr>
        <p:spPr>
          <a:xfrm rot="5400000">
            <a:off x="10613117" y="2180288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7" name="TextBox 26">
            <a:hlinkClick r:id="" action="ppaction://noaction"/>
            <a:extLst>
              <a:ext uri="{FF2B5EF4-FFF2-40B4-BE49-F238E27FC236}">
                <a16:creationId xmlns:a16="http://schemas.microsoft.com/office/drawing/2014/main" id="{876971FC-9FDF-4E4F-BB05-B6A42FE4F8FE}"/>
              </a:ext>
            </a:extLst>
          </p:cNvPr>
          <p:cNvSpPr txBox="1"/>
          <p:nvPr userDrawn="1"/>
        </p:nvSpPr>
        <p:spPr>
          <a:xfrm>
            <a:off x="10870644" y="2221637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28" name="Freeform 5">
            <a:extLst>
              <a:ext uri="{FF2B5EF4-FFF2-40B4-BE49-F238E27FC236}">
                <a16:creationId xmlns:a16="http://schemas.microsoft.com/office/drawing/2014/main" id="{A209221A-07F5-4216-B9A2-CF864495A5F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2C037EB1-29C3-4B2C-AAB2-6B68795358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30" name="Freeform 25">
            <a:extLst>
              <a:ext uri="{FF2B5EF4-FFF2-40B4-BE49-F238E27FC236}">
                <a16:creationId xmlns:a16="http://schemas.microsoft.com/office/drawing/2014/main" id="{5C9228F0-11BC-4DF9-8EE3-D493C965797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1859118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31" name="Round Same-side Corner of Rectangle 79">
            <a:extLst>
              <a:ext uri="{FF2B5EF4-FFF2-40B4-BE49-F238E27FC236}">
                <a16:creationId xmlns:a16="http://schemas.microsoft.com/office/drawing/2014/main" id="{C5EFD175-10D3-4477-B5C9-F04124A08133}"/>
              </a:ext>
            </a:extLst>
          </p:cNvPr>
          <p:cNvSpPr/>
          <p:nvPr userDrawn="1"/>
        </p:nvSpPr>
        <p:spPr>
          <a:xfrm rot="5400000">
            <a:off x="10615976" y="2552213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2" name="TextBox 31">
            <a:hlinkClick r:id="" action="ppaction://noaction"/>
            <a:extLst>
              <a:ext uri="{FF2B5EF4-FFF2-40B4-BE49-F238E27FC236}">
                <a16:creationId xmlns:a16="http://schemas.microsoft.com/office/drawing/2014/main" id="{AADD3716-499D-45D8-B8B2-96017935FCBA}"/>
              </a:ext>
            </a:extLst>
          </p:cNvPr>
          <p:cNvSpPr txBox="1"/>
          <p:nvPr userDrawn="1"/>
        </p:nvSpPr>
        <p:spPr>
          <a:xfrm>
            <a:off x="10873503" y="2593562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34" name="Freeform 21">
            <a:extLst>
              <a:ext uri="{FF2B5EF4-FFF2-40B4-BE49-F238E27FC236}">
                <a16:creationId xmlns:a16="http://schemas.microsoft.com/office/drawing/2014/main" id="{42BF0978-3F6D-47C6-B4D5-95C500FFED3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2601787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35" name="Graphic 28" descr="List">
            <a:extLst>
              <a:ext uri="{FF2B5EF4-FFF2-40B4-BE49-F238E27FC236}">
                <a16:creationId xmlns:a16="http://schemas.microsoft.com/office/drawing/2014/main" id="{DBD112FA-B174-40AB-BA33-EE7927D64080}"/>
              </a:ext>
            </a:extLst>
          </p:cNvPr>
          <p:cNvGrpSpPr/>
          <p:nvPr userDrawn="1"/>
        </p:nvGrpSpPr>
        <p:grpSpPr>
          <a:xfrm>
            <a:off x="10657446" y="2213495"/>
            <a:ext cx="103548" cy="146640"/>
            <a:chOff x="981871" y="1231905"/>
            <a:chExt cx="246063" cy="317501"/>
          </a:xfrm>
        </p:grpSpPr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9D42DD06-72B3-4F21-AFAB-3A5CFF14CACF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869327DC-0495-4270-9D82-A07F6135E796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7AC8800E-AC88-4505-A24E-3C695AA13063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946688CE-4A96-46D5-9B4D-F3577DA3959E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BF26DE68-E040-44C5-B8A9-5C7A0A75848F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4C0877E-EBD7-40D5-B1EF-AF2C9480E944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AA689BA8-D8A9-48E1-AE08-E6A9ED636FB4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285C1E96-38A5-4A1B-8489-6CACFFB007E4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B79C5303-C9AE-4CEC-A331-2C82BBD5229C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45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92C973EF-1CAE-44D1-934A-9AC1C8B6A715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46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AC73EC98-8F8C-4170-A45F-193AEDBD5FBF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47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7108D2DB-05A8-4D2A-A8E5-920B7574CDF0}"/>
              </a:ext>
            </a:extLst>
          </p:cNvPr>
          <p:cNvSpPr/>
          <p:nvPr userDrawn="1"/>
        </p:nvSpPr>
        <p:spPr>
          <a:xfrm rot="5400000">
            <a:off x="11240796" y="1145266"/>
            <a:ext cx="324054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48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BAED6CAB-4BD1-40B5-9D4E-0347B84D1AB6}"/>
              </a:ext>
            </a:extLst>
          </p:cNvPr>
          <p:cNvSpPr/>
          <p:nvPr userDrawn="1"/>
        </p:nvSpPr>
        <p:spPr>
          <a:xfrm rot="5400000">
            <a:off x="11240796" y="1505253"/>
            <a:ext cx="324054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49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D505EC75-871B-42BF-89C7-05FE417DCBB2}"/>
              </a:ext>
            </a:extLst>
          </p:cNvPr>
          <p:cNvSpPr/>
          <p:nvPr userDrawn="1"/>
        </p:nvSpPr>
        <p:spPr>
          <a:xfrm rot="5400000">
            <a:off x="11240796" y="1879254"/>
            <a:ext cx="324054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428854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Pillar Abbrevi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Medium shot of a person and a doctor&#10;&#10;Description automatically generated with medium confidence">
            <a:extLst>
              <a:ext uri="{FF2B5EF4-FFF2-40B4-BE49-F238E27FC236}">
                <a16:creationId xmlns:a16="http://schemas.microsoft.com/office/drawing/2014/main" id="{BA1C8AAF-EF1F-45D5-8221-71A1F51C4B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99983" y="0"/>
            <a:ext cx="10279192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52DACC8-F68A-4E7E-B68C-7F1399D9114E}"/>
              </a:ext>
            </a:extLst>
          </p:cNvPr>
          <p:cNvSpPr/>
          <p:nvPr userDrawn="1"/>
        </p:nvSpPr>
        <p:spPr>
          <a:xfrm>
            <a:off x="2072100" y="6705600"/>
            <a:ext cx="8044625" cy="15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800">
                <a:solidFill>
                  <a:schemeClr val="bg1"/>
                </a:solidFill>
                <a:ea typeface="MS PGothic" pitchFamily="34" charset="-128"/>
              </a:rPr>
              <a:t>Pfizer Confidential – Internal Use Only, Not for Further Distribution</a:t>
            </a:r>
            <a:endParaRPr lang="en-US" sz="800">
              <a:solidFill>
                <a:schemeClr val="bg1"/>
              </a:solidFill>
              <a:ea typeface="MS PGothic" pitchFamily="34" charset="-128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C514C5-2143-4E16-837F-CF028230C903}"/>
              </a:ext>
            </a:extLst>
          </p:cNvPr>
          <p:cNvSpPr/>
          <p:nvPr userDrawn="1"/>
        </p:nvSpPr>
        <p:spPr>
          <a:xfrm>
            <a:off x="0" y="0"/>
            <a:ext cx="2011157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E1FD921-B9B9-4E01-8593-A27B37592D89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27281B-F7F1-4E3B-B238-0D64683B763A}"/>
              </a:ext>
            </a:extLst>
          </p:cNvPr>
          <p:cNvSpPr/>
          <p:nvPr userDrawn="1"/>
        </p:nvSpPr>
        <p:spPr>
          <a:xfrm>
            <a:off x="1897132" y="0"/>
            <a:ext cx="138452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3941344-CBA3-46F5-9801-595985401D8A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D2612D66-723A-4927-9CE6-16C13A003646}"/>
              </a:ext>
            </a:extLst>
          </p:cNvPr>
          <p:cNvSpPr/>
          <p:nvPr/>
        </p:nvSpPr>
        <p:spPr>
          <a:xfrm>
            <a:off x="0" y="141677"/>
            <a:ext cx="324007" cy="6853150"/>
          </a:xfrm>
          <a:custGeom>
            <a:avLst/>
            <a:gdLst>
              <a:gd name="connsiteX0" fmla="*/ 0 w 324091"/>
              <a:gd name="connsiteY0" fmla="*/ 6807430 h 6853150"/>
              <a:gd name="connsiteX1" fmla="*/ 81776 w 324091"/>
              <a:gd name="connsiteY1" fmla="*/ 6807430 h 6853150"/>
              <a:gd name="connsiteX2" fmla="*/ 104636 w 324091"/>
              <a:gd name="connsiteY2" fmla="*/ 6830290 h 6853150"/>
              <a:gd name="connsiteX3" fmla="*/ 104635 w 324091"/>
              <a:gd name="connsiteY3" fmla="*/ 6830290 h 6853150"/>
              <a:gd name="connsiteX4" fmla="*/ 81775 w 324091"/>
              <a:gd name="connsiteY4" fmla="*/ 6853150 h 6853150"/>
              <a:gd name="connsiteX5" fmla="*/ 0 w 324091"/>
              <a:gd name="connsiteY5" fmla="*/ 6853150 h 6853150"/>
              <a:gd name="connsiteX6" fmla="*/ 0 w 324091"/>
              <a:gd name="connsiteY6" fmla="*/ 6653902 h 6853150"/>
              <a:gd name="connsiteX7" fmla="*/ 173216 w 324091"/>
              <a:gd name="connsiteY7" fmla="*/ 6653902 h 6853150"/>
              <a:gd name="connsiteX8" fmla="*/ 196076 w 324091"/>
              <a:gd name="connsiteY8" fmla="*/ 6676762 h 6853150"/>
              <a:gd name="connsiteX9" fmla="*/ 196075 w 324091"/>
              <a:gd name="connsiteY9" fmla="*/ 6676762 h 6853150"/>
              <a:gd name="connsiteX10" fmla="*/ 173215 w 324091"/>
              <a:gd name="connsiteY10" fmla="*/ 6699622 h 6853150"/>
              <a:gd name="connsiteX11" fmla="*/ 0 w 324091"/>
              <a:gd name="connsiteY11" fmla="*/ 6699622 h 6853150"/>
              <a:gd name="connsiteX12" fmla="*/ 0 w 324091"/>
              <a:gd name="connsiteY12" fmla="*/ 6500374 h 6853150"/>
              <a:gd name="connsiteX13" fmla="*/ 81776 w 324091"/>
              <a:gd name="connsiteY13" fmla="*/ 6500374 h 6853150"/>
              <a:gd name="connsiteX14" fmla="*/ 104636 w 324091"/>
              <a:gd name="connsiteY14" fmla="*/ 6523234 h 6853150"/>
              <a:gd name="connsiteX15" fmla="*/ 104635 w 324091"/>
              <a:gd name="connsiteY15" fmla="*/ 6523234 h 6853150"/>
              <a:gd name="connsiteX16" fmla="*/ 81775 w 324091"/>
              <a:gd name="connsiteY16" fmla="*/ 6546094 h 6853150"/>
              <a:gd name="connsiteX17" fmla="*/ 0 w 324091"/>
              <a:gd name="connsiteY17" fmla="*/ 6546094 h 6853150"/>
              <a:gd name="connsiteX18" fmla="*/ 0 w 324091"/>
              <a:gd name="connsiteY18" fmla="*/ 6302591 h 6853150"/>
              <a:gd name="connsiteX19" fmla="*/ 279104 w 324091"/>
              <a:gd name="connsiteY19" fmla="*/ 6302591 h 6853150"/>
              <a:gd name="connsiteX20" fmla="*/ 324091 w 324091"/>
              <a:gd name="connsiteY20" fmla="*/ 6347578 h 6853150"/>
              <a:gd name="connsiteX21" fmla="*/ 279104 w 324091"/>
              <a:gd name="connsiteY21" fmla="*/ 6392565 h 6853150"/>
              <a:gd name="connsiteX22" fmla="*/ 0 w 324091"/>
              <a:gd name="connsiteY22" fmla="*/ 6392565 h 6853150"/>
              <a:gd name="connsiteX23" fmla="*/ 0 w 324091"/>
              <a:gd name="connsiteY23" fmla="*/ 6124755 h 6853150"/>
              <a:gd name="connsiteX24" fmla="*/ 81776 w 324091"/>
              <a:gd name="connsiteY24" fmla="*/ 6124755 h 6853150"/>
              <a:gd name="connsiteX25" fmla="*/ 104636 w 324091"/>
              <a:gd name="connsiteY25" fmla="*/ 6147615 h 6853150"/>
              <a:gd name="connsiteX26" fmla="*/ 104635 w 324091"/>
              <a:gd name="connsiteY26" fmla="*/ 6147615 h 6853150"/>
              <a:gd name="connsiteX27" fmla="*/ 81775 w 324091"/>
              <a:gd name="connsiteY27" fmla="*/ 6170475 h 6853150"/>
              <a:gd name="connsiteX28" fmla="*/ 0 w 324091"/>
              <a:gd name="connsiteY28" fmla="*/ 6170475 h 6853150"/>
              <a:gd name="connsiteX29" fmla="*/ 0 w 324091"/>
              <a:gd name="connsiteY29" fmla="*/ 5971227 h 6853150"/>
              <a:gd name="connsiteX30" fmla="*/ 173216 w 324091"/>
              <a:gd name="connsiteY30" fmla="*/ 5971227 h 6853150"/>
              <a:gd name="connsiteX31" fmla="*/ 196076 w 324091"/>
              <a:gd name="connsiteY31" fmla="*/ 5994087 h 6853150"/>
              <a:gd name="connsiteX32" fmla="*/ 196075 w 324091"/>
              <a:gd name="connsiteY32" fmla="*/ 5994087 h 6853150"/>
              <a:gd name="connsiteX33" fmla="*/ 173215 w 324091"/>
              <a:gd name="connsiteY33" fmla="*/ 6016947 h 6853150"/>
              <a:gd name="connsiteX34" fmla="*/ 0 w 324091"/>
              <a:gd name="connsiteY34" fmla="*/ 6016947 h 6853150"/>
              <a:gd name="connsiteX35" fmla="*/ 0 w 324091"/>
              <a:gd name="connsiteY35" fmla="*/ 5817699 h 6853150"/>
              <a:gd name="connsiteX36" fmla="*/ 81776 w 324091"/>
              <a:gd name="connsiteY36" fmla="*/ 5817699 h 6853150"/>
              <a:gd name="connsiteX37" fmla="*/ 104636 w 324091"/>
              <a:gd name="connsiteY37" fmla="*/ 5840559 h 6853150"/>
              <a:gd name="connsiteX38" fmla="*/ 104635 w 324091"/>
              <a:gd name="connsiteY38" fmla="*/ 5840559 h 6853150"/>
              <a:gd name="connsiteX39" fmla="*/ 81775 w 324091"/>
              <a:gd name="connsiteY39" fmla="*/ 5863419 h 6853150"/>
              <a:gd name="connsiteX40" fmla="*/ 0 w 324091"/>
              <a:gd name="connsiteY40" fmla="*/ 5863419 h 6853150"/>
              <a:gd name="connsiteX41" fmla="*/ 0 w 324091"/>
              <a:gd name="connsiteY41" fmla="*/ 5619916 h 6853150"/>
              <a:gd name="connsiteX42" fmla="*/ 279104 w 324091"/>
              <a:gd name="connsiteY42" fmla="*/ 5619916 h 6853150"/>
              <a:gd name="connsiteX43" fmla="*/ 324091 w 324091"/>
              <a:gd name="connsiteY43" fmla="*/ 5664903 h 6853150"/>
              <a:gd name="connsiteX44" fmla="*/ 279104 w 324091"/>
              <a:gd name="connsiteY44" fmla="*/ 5709890 h 6853150"/>
              <a:gd name="connsiteX45" fmla="*/ 0 w 324091"/>
              <a:gd name="connsiteY45" fmla="*/ 5709890 h 6853150"/>
              <a:gd name="connsiteX46" fmla="*/ 0 w 324091"/>
              <a:gd name="connsiteY46" fmla="*/ 5442077 h 6853150"/>
              <a:gd name="connsiteX47" fmla="*/ 81776 w 324091"/>
              <a:gd name="connsiteY47" fmla="*/ 5442077 h 6853150"/>
              <a:gd name="connsiteX48" fmla="*/ 104636 w 324091"/>
              <a:gd name="connsiteY48" fmla="*/ 5464937 h 6853150"/>
              <a:gd name="connsiteX49" fmla="*/ 104635 w 324091"/>
              <a:gd name="connsiteY49" fmla="*/ 5464937 h 6853150"/>
              <a:gd name="connsiteX50" fmla="*/ 81775 w 324091"/>
              <a:gd name="connsiteY50" fmla="*/ 5487797 h 6853150"/>
              <a:gd name="connsiteX51" fmla="*/ 0 w 324091"/>
              <a:gd name="connsiteY51" fmla="*/ 5487797 h 6853150"/>
              <a:gd name="connsiteX52" fmla="*/ 0 w 324091"/>
              <a:gd name="connsiteY52" fmla="*/ 5288549 h 6853150"/>
              <a:gd name="connsiteX53" fmla="*/ 173216 w 324091"/>
              <a:gd name="connsiteY53" fmla="*/ 5288549 h 6853150"/>
              <a:gd name="connsiteX54" fmla="*/ 196076 w 324091"/>
              <a:gd name="connsiteY54" fmla="*/ 5311409 h 6853150"/>
              <a:gd name="connsiteX55" fmla="*/ 196075 w 324091"/>
              <a:gd name="connsiteY55" fmla="*/ 5311409 h 6853150"/>
              <a:gd name="connsiteX56" fmla="*/ 173215 w 324091"/>
              <a:gd name="connsiteY56" fmla="*/ 5334269 h 6853150"/>
              <a:gd name="connsiteX57" fmla="*/ 0 w 324091"/>
              <a:gd name="connsiteY57" fmla="*/ 5334269 h 6853150"/>
              <a:gd name="connsiteX58" fmla="*/ 0 w 324091"/>
              <a:gd name="connsiteY58" fmla="*/ 5135021 h 6853150"/>
              <a:gd name="connsiteX59" fmla="*/ 81776 w 324091"/>
              <a:gd name="connsiteY59" fmla="*/ 5135021 h 6853150"/>
              <a:gd name="connsiteX60" fmla="*/ 104636 w 324091"/>
              <a:gd name="connsiteY60" fmla="*/ 5157881 h 6853150"/>
              <a:gd name="connsiteX61" fmla="*/ 104635 w 324091"/>
              <a:gd name="connsiteY61" fmla="*/ 5157881 h 6853150"/>
              <a:gd name="connsiteX62" fmla="*/ 81775 w 324091"/>
              <a:gd name="connsiteY62" fmla="*/ 5180741 h 6853150"/>
              <a:gd name="connsiteX63" fmla="*/ 0 w 324091"/>
              <a:gd name="connsiteY63" fmla="*/ 5180741 h 6853150"/>
              <a:gd name="connsiteX64" fmla="*/ 0 w 324091"/>
              <a:gd name="connsiteY64" fmla="*/ 4937238 h 6853150"/>
              <a:gd name="connsiteX65" fmla="*/ 279104 w 324091"/>
              <a:gd name="connsiteY65" fmla="*/ 4937238 h 6853150"/>
              <a:gd name="connsiteX66" fmla="*/ 324091 w 324091"/>
              <a:gd name="connsiteY66" fmla="*/ 4982225 h 6853150"/>
              <a:gd name="connsiteX67" fmla="*/ 279104 w 324091"/>
              <a:gd name="connsiteY67" fmla="*/ 5027212 h 6853150"/>
              <a:gd name="connsiteX68" fmla="*/ 0 w 324091"/>
              <a:gd name="connsiteY68" fmla="*/ 5027212 h 6853150"/>
              <a:gd name="connsiteX69" fmla="*/ 0 w 324091"/>
              <a:gd name="connsiteY69" fmla="*/ 4759399 h 6853150"/>
              <a:gd name="connsiteX70" fmla="*/ 81776 w 324091"/>
              <a:gd name="connsiteY70" fmla="*/ 4759399 h 6853150"/>
              <a:gd name="connsiteX71" fmla="*/ 104636 w 324091"/>
              <a:gd name="connsiteY71" fmla="*/ 4782259 h 6853150"/>
              <a:gd name="connsiteX72" fmla="*/ 104635 w 324091"/>
              <a:gd name="connsiteY72" fmla="*/ 4782259 h 6853150"/>
              <a:gd name="connsiteX73" fmla="*/ 81775 w 324091"/>
              <a:gd name="connsiteY73" fmla="*/ 4805119 h 6853150"/>
              <a:gd name="connsiteX74" fmla="*/ 0 w 324091"/>
              <a:gd name="connsiteY74" fmla="*/ 4805119 h 6853150"/>
              <a:gd name="connsiteX75" fmla="*/ 0 w 324091"/>
              <a:gd name="connsiteY75" fmla="*/ 4605871 h 6853150"/>
              <a:gd name="connsiteX76" fmla="*/ 173216 w 324091"/>
              <a:gd name="connsiteY76" fmla="*/ 4605871 h 6853150"/>
              <a:gd name="connsiteX77" fmla="*/ 196076 w 324091"/>
              <a:gd name="connsiteY77" fmla="*/ 4628731 h 6853150"/>
              <a:gd name="connsiteX78" fmla="*/ 196075 w 324091"/>
              <a:gd name="connsiteY78" fmla="*/ 4628731 h 6853150"/>
              <a:gd name="connsiteX79" fmla="*/ 173215 w 324091"/>
              <a:gd name="connsiteY79" fmla="*/ 4651591 h 6853150"/>
              <a:gd name="connsiteX80" fmla="*/ 0 w 324091"/>
              <a:gd name="connsiteY80" fmla="*/ 4651591 h 6853150"/>
              <a:gd name="connsiteX81" fmla="*/ 0 w 324091"/>
              <a:gd name="connsiteY81" fmla="*/ 4452343 h 6853150"/>
              <a:gd name="connsiteX82" fmla="*/ 81776 w 324091"/>
              <a:gd name="connsiteY82" fmla="*/ 4452343 h 6853150"/>
              <a:gd name="connsiteX83" fmla="*/ 104636 w 324091"/>
              <a:gd name="connsiteY83" fmla="*/ 4475203 h 6853150"/>
              <a:gd name="connsiteX84" fmla="*/ 104635 w 324091"/>
              <a:gd name="connsiteY84" fmla="*/ 4475203 h 6853150"/>
              <a:gd name="connsiteX85" fmla="*/ 81775 w 324091"/>
              <a:gd name="connsiteY85" fmla="*/ 4498063 h 6853150"/>
              <a:gd name="connsiteX86" fmla="*/ 0 w 324091"/>
              <a:gd name="connsiteY86" fmla="*/ 4498063 h 6853150"/>
              <a:gd name="connsiteX87" fmla="*/ 0 w 324091"/>
              <a:gd name="connsiteY87" fmla="*/ 4254560 h 6853150"/>
              <a:gd name="connsiteX88" fmla="*/ 279104 w 324091"/>
              <a:gd name="connsiteY88" fmla="*/ 4254560 h 6853150"/>
              <a:gd name="connsiteX89" fmla="*/ 324091 w 324091"/>
              <a:gd name="connsiteY89" fmla="*/ 4299547 h 6853150"/>
              <a:gd name="connsiteX90" fmla="*/ 279104 w 324091"/>
              <a:gd name="connsiteY90" fmla="*/ 4344534 h 6853150"/>
              <a:gd name="connsiteX91" fmla="*/ 0 w 324091"/>
              <a:gd name="connsiteY91" fmla="*/ 4344534 h 6853150"/>
              <a:gd name="connsiteX92" fmla="*/ 0 w 324091"/>
              <a:gd name="connsiteY92" fmla="*/ 4076721 h 6853150"/>
              <a:gd name="connsiteX93" fmla="*/ 81776 w 324091"/>
              <a:gd name="connsiteY93" fmla="*/ 4076721 h 6853150"/>
              <a:gd name="connsiteX94" fmla="*/ 104636 w 324091"/>
              <a:gd name="connsiteY94" fmla="*/ 4099581 h 6853150"/>
              <a:gd name="connsiteX95" fmla="*/ 104635 w 324091"/>
              <a:gd name="connsiteY95" fmla="*/ 4099581 h 6853150"/>
              <a:gd name="connsiteX96" fmla="*/ 81775 w 324091"/>
              <a:gd name="connsiteY96" fmla="*/ 4122441 h 6853150"/>
              <a:gd name="connsiteX97" fmla="*/ 0 w 324091"/>
              <a:gd name="connsiteY97" fmla="*/ 4122441 h 6853150"/>
              <a:gd name="connsiteX98" fmla="*/ 0 w 324091"/>
              <a:gd name="connsiteY98" fmla="*/ 3923193 h 6853150"/>
              <a:gd name="connsiteX99" fmla="*/ 173216 w 324091"/>
              <a:gd name="connsiteY99" fmla="*/ 3923193 h 6853150"/>
              <a:gd name="connsiteX100" fmla="*/ 196076 w 324091"/>
              <a:gd name="connsiteY100" fmla="*/ 3946053 h 6853150"/>
              <a:gd name="connsiteX101" fmla="*/ 196075 w 324091"/>
              <a:gd name="connsiteY101" fmla="*/ 3946053 h 6853150"/>
              <a:gd name="connsiteX102" fmla="*/ 173215 w 324091"/>
              <a:gd name="connsiteY102" fmla="*/ 3968913 h 6853150"/>
              <a:gd name="connsiteX103" fmla="*/ 0 w 324091"/>
              <a:gd name="connsiteY103" fmla="*/ 3968913 h 6853150"/>
              <a:gd name="connsiteX104" fmla="*/ 0 w 324091"/>
              <a:gd name="connsiteY104" fmla="*/ 3769665 h 6853150"/>
              <a:gd name="connsiteX105" fmla="*/ 81776 w 324091"/>
              <a:gd name="connsiteY105" fmla="*/ 3769665 h 6853150"/>
              <a:gd name="connsiteX106" fmla="*/ 104636 w 324091"/>
              <a:gd name="connsiteY106" fmla="*/ 3792525 h 6853150"/>
              <a:gd name="connsiteX107" fmla="*/ 104635 w 324091"/>
              <a:gd name="connsiteY107" fmla="*/ 3792525 h 6853150"/>
              <a:gd name="connsiteX108" fmla="*/ 81775 w 324091"/>
              <a:gd name="connsiteY108" fmla="*/ 3815385 h 6853150"/>
              <a:gd name="connsiteX109" fmla="*/ 0 w 324091"/>
              <a:gd name="connsiteY109" fmla="*/ 3815385 h 6853150"/>
              <a:gd name="connsiteX110" fmla="*/ 0 w 324091"/>
              <a:gd name="connsiteY110" fmla="*/ 3571882 h 6853150"/>
              <a:gd name="connsiteX111" fmla="*/ 279104 w 324091"/>
              <a:gd name="connsiteY111" fmla="*/ 3571882 h 6853150"/>
              <a:gd name="connsiteX112" fmla="*/ 324091 w 324091"/>
              <a:gd name="connsiteY112" fmla="*/ 3616869 h 6853150"/>
              <a:gd name="connsiteX113" fmla="*/ 279104 w 324091"/>
              <a:gd name="connsiteY113" fmla="*/ 3661856 h 6853150"/>
              <a:gd name="connsiteX114" fmla="*/ 0 w 324091"/>
              <a:gd name="connsiteY114" fmla="*/ 3661856 h 6853150"/>
              <a:gd name="connsiteX115" fmla="*/ 0 w 324091"/>
              <a:gd name="connsiteY115" fmla="*/ 3394043 h 6853150"/>
              <a:gd name="connsiteX116" fmla="*/ 81776 w 324091"/>
              <a:gd name="connsiteY116" fmla="*/ 3394043 h 6853150"/>
              <a:gd name="connsiteX117" fmla="*/ 104636 w 324091"/>
              <a:gd name="connsiteY117" fmla="*/ 3416905 h 6853150"/>
              <a:gd name="connsiteX118" fmla="*/ 104635 w 324091"/>
              <a:gd name="connsiteY118" fmla="*/ 3416905 h 6853150"/>
              <a:gd name="connsiteX119" fmla="*/ 81775 w 324091"/>
              <a:gd name="connsiteY119" fmla="*/ 3439763 h 6853150"/>
              <a:gd name="connsiteX120" fmla="*/ 0 w 324091"/>
              <a:gd name="connsiteY120" fmla="*/ 3439763 h 6853150"/>
              <a:gd name="connsiteX121" fmla="*/ 0 w 324091"/>
              <a:gd name="connsiteY121" fmla="*/ 3240516 h 6853150"/>
              <a:gd name="connsiteX122" fmla="*/ 173216 w 324091"/>
              <a:gd name="connsiteY122" fmla="*/ 3240516 h 6853150"/>
              <a:gd name="connsiteX123" fmla="*/ 196076 w 324091"/>
              <a:gd name="connsiteY123" fmla="*/ 3263376 h 6853150"/>
              <a:gd name="connsiteX124" fmla="*/ 196075 w 324091"/>
              <a:gd name="connsiteY124" fmla="*/ 3263376 h 6853150"/>
              <a:gd name="connsiteX125" fmla="*/ 173215 w 324091"/>
              <a:gd name="connsiteY125" fmla="*/ 3286236 h 6853150"/>
              <a:gd name="connsiteX126" fmla="*/ 0 w 324091"/>
              <a:gd name="connsiteY126" fmla="*/ 3286236 h 6853150"/>
              <a:gd name="connsiteX127" fmla="*/ 0 w 324091"/>
              <a:gd name="connsiteY127" fmla="*/ 3086989 h 6853150"/>
              <a:gd name="connsiteX128" fmla="*/ 81776 w 324091"/>
              <a:gd name="connsiteY128" fmla="*/ 3086989 h 6853150"/>
              <a:gd name="connsiteX129" fmla="*/ 104636 w 324091"/>
              <a:gd name="connsiteY129" fmla="*/ 3109849 h 6853150"/>
              <a:gd name="connsiteX130" fmla="*/ 104635 w 324091"/>
              <a:gd name="connsiteY130" fmla="*/ 3109849 h 6853150"/>
              <a:gd name="connsiteX131" fmla="*/ 81775 w 324091"/>
              <a:gd name="connsiteY131" fmla="*/ 3132709 h 6853150"/>
              <a:gd name="connsiteX132" fmla="*/ 0 w 324091"/>
              <a:gd name="connsiteY132" fmla="*/ 3132709 h 6853150"/>
              <a:gd name="connsiteX133" fmla="*/ 0 w 324091"/>
              <a:gd name="connsiteY133" fmla="*/ 2889206 h 6853150"/>
              <a:gd name="connsiteX134" fmla="*/ 279104 w 324091"/>
              <a:gd name="connsiteY134" fmla="*/ 2889206 h 6853150"/>
              <a:gd name="connsiteX135" fmla="*/ 324091 w 324091"/>
              <a:gd name="connsiteY135" fmla="*/ 2934194 h 6853150"/>
              <a:gd name="connsiteX136" fmla="*/ 279104 w 324091"/>
              <a:gd name="connsiteY136" fmla="*/ 2979180 h 6853150"/>
              <a:gd name="connsiteX137" fmla="*/ 0 w 324091"/>
              <a:gd name="connsiteY137" fmla="*/ 2979180 h 6853150"/>
              <a:gd name="connsiteX138" fmla="*/ 0 w 324091"/>
              <a:gd name="connsiteY138" fmla="*/ 2711367 h 6853150"/>
              <a:gd name="connsiteX139" fmla="*/ 81776 w 324091"/>
              <a:gd name="connsiteY139" fmla="*/ 2711367 h 6853150"/>
              <a:gd name="connsiteX140" fmla="*/ 104636 w 324091"/>
              <a:gd name="connsiteY140" fmla="*/ 2734227 h 6853150"/>
              <a:gd name="connsiteX141" fmla="*/ 104635 w 324091"/>
              <a:gd name="connsiteY141" fmla="*/ 2734227 h 6853150"/>
              <a:gd name="connsiteX142" fmla="*/ 81775 w 324091"/>
              <a:gd name="connsiteY142" fmla="*/ 2757087 h 6853150"/>
              <a:gd name="connsiteX143" fmla="*/ 0 w 324091"/>
              <a:gd name="connsiteY143" fmla="*/ 2757087 h 6853150"/>
              <a:gd name="connsiteX144" fmla="*/ 0 w 324091"/>
              <a:gd name="connsiteY144" fmla="*/ 2557839 h 6853150"/>
              <a:gd name="connsiteX145" fmla="*/ 173216 w 324091"/>
              <a:gd name="connsiteY145" fmla="*/ 2557839 h 6853150"/>
              <a:gd name="connsiteX146" fmla="*/ 196076 w 324091"/>
              <a:gd name="connsiteY146" fmla="*/ 2580699 h 6853150"/>
              <a:gd name="connsiteX147" fmla="*/ 196075 w 324091"/>
              <a:gd name="connsiteY147" fmla="*/ 2580699 h 6853150"/>
              <a:gd name="connsiteX148" fmla="*/ 173215 w 324091"/>
              <a:gd name="connsiteY148" fmla="*/ 2603559 h 6853150"/>
              <a:gd name="connsiteX149" fmla="*/ 0 w 324091"/>
              <a:gd name="connsiteY149" fmla="*/ 2603559 h 6853150"/>
              <a:gd name="connsiteX150" fmla="*/ 0 w 324091"/>
              <a:gd name="connsiteY150" fmla="*/ 2404312 h 6853150"/>
              <a:gd name="connsiteX151" fmla="*/ 81776 w 324091"/>
              <a:gd name="connsiteY151" fmla="*/ 2404312 h 6853150"/>
              <a:gd name="connsiteX152" fmla="*/ 104636 w 324091"/>
              <a:gd name="connsiteY152" fmla="*/ 2427171 h 6853150"/>
              <a:gd name="connsiteX153" fmla="*/ 104635 w 324091"/>
              <a:gd name="connsiteY153" fmla="*/ 2427171 h 6853150"/>
              <a:gd name="connsiteX154" fmla="*/ 81775 w 324091"/>
              <a:gd name="connsiteY154" fmla="*/ 2450032 h 6853150"/>
              <a:gd name="connsiteX155" fmla="*/ 0 w 324091"/>
              <a:gd name="connsiteY155" fmla="*/ 2450032 h 6853150"/>
              <a:gd name="connsiteX156" fmla="*/ 0 w 324091"/>
              <a:gd name="connsiteY156" fmla="*/ 2206528 h 6853150"/>
              <a:gd name="connsiteX157" fmla="*/ 279104 w 324091"/>
              <a:gd name="connsiteY157" fmla="*/ 2206528 h 6853150"/>
              <a:gd name="connsiteX158" fmla="*/ 324091 w 324091"/>
              <a:gd name="connsiteY158" fmla="*/ 2251515 h 6853150"/>
              <a:gd name="connsiteX159" fmla="*/ 279104 w 324091"/>
              <a:gd name="connsiteY159" fmla="*/ 2296503 h 6853150"/>
              <a:gd name="connsiteX160" fmla="*/ 0 w 324091"/>
              <a:gd name="connsiteY160" fmla="*/ 2296503 h 6853150"/>
              <a:gd name="connsiteX161" fmla="*/ 0 w 324091"/>
              <a:gd name="connsiteY161" fmla="*/ 2028689 h 6853150"/>
              <a:gd name="connsiteX162" fmla="*/ 81776 w 324091"/>
              <a:gd name="connsiteY162" fmla="*/ 2028689 h 6853150"/>
              <a:gd name="connsiteX163" fmla="*/ 104636 w 324091"/>
              <a:gd name="connsiteY163" fmla="*/ 2051550 h 6853150"/>
              <a:gd name="connsiteX164" fmla="*/ 104635 w 324091"/>
              <a:gd name="connsiteY164" fmla="*/ 2051550 h 6853150"/>
              <a:gd name="connsiteX165" fmla="*/ 81775 w 324091"/>
              <a:gd name="connsiteY165" fmla="*/ 2074409 h 6853150"/>
              <a:gd name="connsiteX166" fmla="*/ 0 w 324091"/>
              <a:gd name="connsiteY166" fmla="*/ 2074409 h 6853150"/>
              <a:gd name="connsiteX167" fmla="*/ 0 w 324091"/>
              <a:gd name="connsiteY167" fmla="*/ 1875162 h 6853150"/>
              <a:gd name="connsiteX168" fmla="*/ 173216 w 324091"/>
              <a:gd name="connsiteY168" fmla="*/ 1875162 h 6853150"/>
              <a:gd name="connsiteX169" fmla="*/ 196076 w 324091"/>
              <a:gd name="connsiteY169" fmla="*/ 1898022 h 6853150"/>
              <a:gd name="connsiteX170" fmla="*/ 196075 w 324091"/>
              <a:gd name="connsiteY170" fmla="*/ 1898022 h 6853150"/>
              <a:gd name="connsiteX171" fmla="*/ 173215 w 324091"/>
              <a:gd name="connsiteY171" fmla="*/ 1920882 h 6853150"/>
              <a:gd name="connsiteX172" fmla="*/ 0 w 324091"/>
              <a:gd name="connsiteY172" fmla="*/ 1920882 h 6853150"/>
              <a:gd name="connsiteX173" fmla="*/ 0 w 324091"/>
              <a:gd name="connsiteY173" fmla="*/ 1721635 h 6853150"/>
              <a:gd name="connsiteX174" fmla="*/ 81776 w 324091"/>
              <a:gd name="connsiteY174" fmla="*/ 1721635 h 6853150"/>
              <a:gd name="connsiteX175" fmla="*/ 104636 w 324091"/>
              <a:gd name="connsiteY175" fmla="*/ 1744495 h 6853150"/>
              <a:gd name="connsiteX176" fmla="*/ 104635 w 324091"/>
              <a:gd name="connsiteY176" fmla="*/ 1744495 h 6853150"/>
              <a:gd name="connsiteX177" fmla="*/ 81775 w 324091"/>
              <a:gd name="connsiteY177" fmla="*/ 1767355 h 6853150"/>
              <a:gd name="connsiteX178" fmla="*/ 0 w 324091"/>
              <a:gd name="connsiteY178" fmla="*/ 1767355 h 6853150"/>
              <a:gd name="connsiteX179" fmla="*/ 0 w 324091"/>
              <a:gd name="connsiteY179" fmla="*/ 1523851 h 6853150"/>
              <a:gd name="connsiteX180" fmla="*/ 279104 w 324091"/>
              <a:gd name="connsiteY180" fmla="*/ 1523851 h 6853150"/>
              <a:gd name="connsiteX181" fmla="*/ 324091 w 324091"/>
              <a:gd name="connsiteY181" fmla="*/ 1568838 h 6853150"/>
              <a:gd name="connsiteX182" fmla="*/ 279104 w 324091"/>
              <a:gd name="connsiteY182" fmla="*/ 1613826 h 6853150"/>
              <a:gd name="connsiteX183" fmla="*/ 0 w 324091"/>
              <a:gd name="connsiteY183" fmla="*/ 1613826 h 6853150"/>
              <a:gd name="connsiteX184" fmla="*/ 0 w 324091"/>
              <a:gd name="connsiteY184" fmla="*/ 1346012 h 6853150"/>
              <a:gd name="connsiteX185" fmla="*/ 81776 w 324091"/>
              <a:gd name="connsiteY185" fmla="*/ 1346012 h 6853150"/>
              <a:gd name="connsiteX186" fmla="*/ 104636 w 324091"/>
              <a:gd name="connsiteY186" fmla="*/ 1368872 h 6853150"/>
              <a:gd name="connsiteX187" fmla="*/ 104635 w 324091"/>
              <a:gd name="connsiteY187" fmla="*/ 1368872 h 6853150"/>
              <a:gd name="connsiteX188" fmla="*/ 81775 w 324091"/>
              <a:gd name="connsiteY188" fmla="*/ 1391732 h 6853150"/>
              <a:gd name="connsiteX189" fmla="*/ 0 w 324091"/>
              <a:gd name="connsiteY189" fmla="*/ 1391732 h 6853150"/>
              <a:gd name="connsiteX190" fmla="*/ 0 w 324091"/>
              <a:gd name="connsiteY190" fmla="*/ 1192484 h 6853150"/>
              <a:gd name="connsiteX191" fmla="*/ 173216 w 324091"/>
              <a:gd name="connsiteY191" fmla="*/ 1192484 h 6853150"/>
              <a:gd name="connsiteX192" fmla="*/ 196076 w 324091"/>
              <a:gd name="connsiteY192" fmla="*/ 1215344 h 6853150"/>
              <a:gd name="connsiteX193" fmla="*/ 196075 w 324091"/>
              <a:gd name="connsiteY193" fmla="*/ 1215344 h 6853150"/>
              <a:gd name="connsiteX194" fmla="*/ 173215 w 324091"/>
              <a:gd name="connsiteY194" fmla="*/ 1238205 h 6853150"/>
              <a:gd name="connsiteX195" fmla="*/ 0 w 324091"/>
              <a:gd name="connsiteY195" fmla="*/ 1238205 h 6853150"/>
              <a:gd name="connsiteX196" fmla="*/ 0 w 324091"/>
              <a:gd name="connsiteY196" fmla="*/ 1038956 h 6853150"/>
              <a:gd name="connsiteX197" fmla="*/ 81776 w 324091"/>
              <a:gd name="connsiteY197" fmla="*/ 1038956 h 6853150"/>
              <a:gd name="connsiteX198" fmla="*/ 104636 w 324091"/>
              <a:gd name="connsiteY198" fmla="*/ 1061817 h 6853150"/>
              <a:gd name="connsiteX199" fmla="*/ 104635 w 324091"/>
              <a:gd name="connsiteY199" fmla="*/ 1061817 h 6853150"/>
              <a:gd name="connsiteX200" fmla="*/ 81775 w 324091"/>
              <a:gd name="connsiteY200" fmla="*/ 1084677 h 6853150"/>
              <a:gd name="connsiteX201" fmla="*/ 0 w 324091"/>
              <a:gd name="connsiteY201" fmla="*/ 1084677 h 6853150"/>
              <a:gd name="connsiteX202" fmla="*/ 0 w 324091"/>
              <a:gd name="connsiteY202" fmla="*/ 841173 h 6853150"/>
              <a:gd name="connsiteX203" fmla="*/ 279104 w 324091"/>
              <a:gd name="connsiteY203" fmla="*/ 841173 h 6853150"/>
              <a:gd name="connsiteX204" fmla="*/ 324091 w 324091"/>
              <a:gd name="connsiteY204" fmla="*/ 886160 h 6853150"/>
              <a:gd name="connsiteX205" fmla="*/ 279104 w 324091"/>
              <a:gd name="connsiteY205" fmla="*/ 931147 h 6853150"/>
              <a:gd name="connsiteX206" fmla="*/ 0 w 324091"/>
              <a:gd name="connsiteY206" fmla="*/ 931147 h 6853150"/>
              <a:gd name="connsiteX207" fmla="*/ 0 w 324091"/>
              <a:gd name="connsiteY207" fmla="*/ 663334 h 6853150"/>
              <a:gd name="connsiteX208" fmla="*/ 81776 w 324091"/>
              <a:gd name="connsiteY208" fmla="*/ 663334 h 6853150"/>
              <a:gd name="connsiteX209" fmla="*/ 104636 w 324091"/>
              <a:gd name="connsiteY209" fmla="*/ 686194 h 6853150"/>
              <a:gd name="connsiteX210" fmla="*/ 104635 w 324091"/>
              <a:gd name="connsiteY210" fmla="*/ 686194 h 6853150"/>
              <a:gd name="connsiteX211" fmla="*/ 81775 w 324091"/>
              <a:gd name="connsiteY211" fmla="*/ 709054 h 6853150"/>
              <a:gd name="connsiteX212" fmla="*/ 0 w 324091"/>
              <a:gd name="connsiteY212" fmla="*/ 709054 h 6853150"/>
              <a:gd name="connsiteX213" fmla="*/ 0 w 324091"/>
              <a:gd name="connsiteY213" fmla="*/ 509806 h 6853150"/>
              <a:gd name="connsiteX214" fmla="*/ 173216 w 324091"/>
              <a:gd name="connsiteY214" fmla="*/ 509806 h 6853150"/>
              <a:gd name="connsiteX215" fmla="*/ 196076 w 324091"/>
              <a:gd name="connsiteY215" fmla="*/ 532666 h 6853150"/>
              <a:gd name="connsiteX216" fmla="*/ 196075 w 324091"/>
              <a:gd name="connsiteY216" fmla="*/ 532666 h 6853150"/>
              <a:gd name="connsiteX217" fmla="*/ 173215 w 324091"/>
              <a:gd name="connsiteY217" fmla="*/ 555526 h 6853150"/>
              <a:gd name="connsiteX218" fmla="*/ 0 w 324091"/>
              <a:gd name="connsiteY218" fmla="*/ 555526 h 6853150"/>
              <a:gd name="connsiteX219" fmla="*/ 0 w 324091"/>
              <a:gd name="connsiteY219" fmla="*/ 356279 h 6853150"/>
              <a:gd name="connsiteX220" fmla="*/ 81776 w 324091"/>
              <a:gd name="connsiteY220" fmla="*/ 356279 h 6853150"/>
              <a:gd name="connsiteX221" fmla="*/ 104636 w 324091"/>
              <a:gd name="connsiteY221" fmla="*/ 379139 h 6853150"/>
              <a:gd name="connsiteX222" fmla="*/ 104635 w 324091"/>
              <a:gd name="connsiteY222" fmla="*/ 379139 h 6853150"/>
              <a:gd name="connsiteX223" fmla="*/ 81775 w 324091"/>
              <a:gd name="connsiteY223" fmla="*/ 401999 h 6853150"/>
              <a:gd name="connsiteX224" fmla="*/ 0 w 324091"/>
              <a:gd name="connsiteY224" fmla="*/ 401999 h 6853150"/>
              <a:gd name="connsiteX225" fmla="*/ 0 w 324091"/>
              <a:gd name="connsiteY225" fmla="*/ 158496 h 6853150"/>
              <a:gd name="connsiteX226" fmla="*/ 279104 w 324091"/>
              <a:gd name="connsiteY226" fmla="*/ 158496 h 6853150"/>
              <a:gd name="connsiteX227" fmla="*/ 324091 w 324091"/>
              <a:gd name="connsiteY227" fmla="*/ 203483 h 6853150"/>
              <a:gd name="connsiteX228" fmla="*/ 279104 w 324091"/>
              <a:gd name="connsiteY228" fmla="*/ 248470 h 6853150"/>
              <a:gd name="connsiteX229" fmla="*/ 0 w 324091"/>
              <a:gd name="connsiteY229" fmla="*/ 248470 h 6853150"/>
              <a:gd name="connsiteX230" fmla="*/ 0 w 324091"/>
              <a:gd name="connsiteY230" fmla="*/ 0 h 6853150"/>
              <a:gd name="connsiteX231" fmla="*/ 81776 w 324091"/>
              <a:gd name="connsiteY231" fmla="*/ 0 h 6853150"/>
              <a:gd name="connsiteX232" fmla="*/ 104636 w 324091"/>
              <a:gd name="connsiteY232" fmla="*/ 22860 h 6853150"/>
              <a:gd name="connsiteX233" fmla="*/ 104635 w 324091"/>
              <a:gd name="connsiteY233" fmla="*/ 22860 h 6853150"/>
              <a:gd name="connsiteX234" fmla="*/ 81775 w 324091"/>
              <a:gd name="connsiteY234" fmla="*/ 45720 h 6853150"/>
              <a:gd name="connsiteX235" fmla="*/ 0 w 324091"/>
              <a:gd name="connsiteY235" fmla="*/ 45720 h 6853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</a:cxnLst>
            <a:rect l="l" t="t" r="r" b="b"/>
            <a:pathLst>
              <a:path w="324091" h="6853150">
                <a:moveTo>
                  <a:pt x="0" y="6807430"/>
                </a:moveTo>
                <a:lnTo>
                  <a:pt x="81776" y="6807430"/>
                </a:lnTo>
                <a:cubicBezTo>
                  <a:pt x="94401" y="6807430"/>
                  <a:pt x="104636" y="6817665"/>
                  <a:pt x="104636" y="6830290"/>
                </a:cubicBezTo>
                <a:lnTo>
                  <a:pt x="104635" y="6830290"/>
                </a:lnTo>
                <a:cubicBezTo>
                  <a:pt x="104635" y="6842915"/>
                  <a:pt x="94400" y="6853150"/>
                  <a:pt x="81775" y="6853150"/>
                </a:cubicBezTo>
                <a:lnTo>
                  <a:pt x="0" y="6853150"/>
                </a:lnTo>
                <a:close/>
                <a:moveTo>
                  <a:pt x="0" y="6653902"/>
                </a:moveTo>
                <a:lnTo>
                  <a:pt x="173216" y="6653902"/>
                </a:lnTo>
                <a:cubicBezTo>
                  <a:pt x="185841" y="6653902"/>
                  <a:pt x="196076" y="6664137"/>
                  <a:pt x="196076" y="6676762"/>
                </a:cubicBezTo>
                <a:lnTo>
                  <a:pt x="196075" y="6676762"/>
                </a:lnTo>
                <a:cubicBezTo>
                  <a:pt x="196075" y="6689387"/>
                  <a:pt x="185840" y="6699622"/>
                  <a:pt x="173215" y="6699622"/>
                </a:cubicBezTo>
                <a:lnTo>
                  <a:pt x="0" y="6699622"/>
                </a:lnTo>
                <a:close/>
                <a:moveTo>
                  <a:pt x="0" y="6500374"/>
                </a:moveTo>
                <a:lnTo>
                  <a:pt x="81776" y="6500374"/>
                </a:lnTo>
                <a:cubicBezTo>
                  <a:pt x="94401" y="6500374"/>
                  <a:pt x="104636" y="6510609"/>
                  <a:pt x="104636" y="6523234"/>
                </a:cubicBezTo>
                <a:lnTo>
                  <a:pt x="104635" y="6523234"/>
                </a:lnTo>
                <a:cubicBezTo>
                  <a:pt x="104635" y="6535859"/>
                  <a:pt x="94400" y="6546094"/>
                  <a:pt x="81775" y="6546094"/>
                </a:cubicBezTo>
                <a:lnTo>
                  <a:pt x="0" y="6546094"/>
                </a:lnTo>
                <a:close/>
                <a:moveTo>
                  <a:pt x="0" y="6302591"/>
                </a:moveTo>
                <a:lnTo>
                  <a:pt x="279104" y="6302591"/>
                </a:lnTo>
                <a:cubicBezTo>
                  <a:pt x="303950" y="6302591"/>
                  <a:pt x="324091" y="6322732"/>
                  <a:pt x="324091" y="6347578"/>
                </a:cubicBezTo>
                <a:cubicBezTo>
                  <a:pt x="324091" y="6372424"/>
                  <a:pt x="303950" y="6392565"/>
                  <a:pt x="279104" y="6392565"/>
                </a:cubicBezTo>
                <a:lnTo>
                  <a:pt x="0" y="6392565"/>
                </a:lnTo>
                <a:close/>
                <a:moveTo>
                  <a:pt x="0" y="6124755"/>
                </a:moveTo>
                <a:lnTo>
                  <a:pt x="81776" y="6124755"/>
                </a:lnTo>
                <a:cubicBezTo>
                  <a:pt x="94401" y="6124755"/>
                  <a:pt x="104636" y="6134990"/>
                  <a:pt x="104636" y="6147615"/>
                </a:cubicBezTo>
                <a:lnTo>
                  <a:pt x="104635" y="6147615"/>
                </a:lnTo>
                <a:cubicBezTo>
                  <a:pt x="104635" y="6160240"/>
                  <a:pt x="94400" y="6170475"/>
                  <a:pt x="81775" y="6170475"/>
                </a:cubicBezTo>
                <a:lnTo>
                  <a:pt x="0" y="6170475"/>
                </a:lnTo>
                <a:close/>
                <a:moveTo>
                  <a:pt x="0" y="5971227"/>
                </a:moveTo>
                <a:lnTo>
                  <a:pt x="173216" y="5971227"/>
                </a:lnTo>
                <a:cubicBezTo>
                  <a:pt x="185841" y="5971227"/>
                  <a:pt x="196076" y="5981462"/>
                  <a:pt x="196076" y="5994087"/>
                </a:cubicBezTo>
                <a:lnTo>
                  <a:pt x="196075" y="5994087"/>
                </a:lnTo>
                <a:cubicBezTo>
                  <a:pt x="196075" y="6006712"/>
                  <a:pt x="185840" y="6016947"/>
                  <a:pt x="173215" y="6016947"/>
                </a:cubicBezTo>
                <a:lnTo>
                  <a:pt x="0" y="6016947"/>
                </a:lnTo>
                <a:close/>
                <a:moveTo>
                  <a:pt x="0" y="5817699"/>
                </a:moveTo>
                <a:lnTo>
                  <a:pt x="81776" y="5817699"/>
                </a:lnTo>
                <a:cubicBezTo>
                  <a:pt x="94401" y="5817699"/>
                  <a:pt x="104636" y="5827934"/>
                  <a:pt x="104636" y="5840559"/>
                </a:cubicBezTo>
                <a:lnTo>
                  <a:pt x="104635" y="5840559"/>
                </a:lnTo>
                <a:cubicBezTo>
                  <a:pt x="104635" y="5853184"/>
                  <a:pt x="94400" y="5863419"/>
                  <a:pt x="81775" y="5863419"/>
                </a:cubicBezTo>
                <a:lnTo>
                  <a:pt x="0" y="5863419"/>
                </a:lnTo>
                <a:close/>
                <a:moveTo>
                  <a:pt x="0" y="5619916"/>
                </a:moveTo>
                <a:lnTo>
                  <a:pt x="279104" y="5619916"/>
                </a:lnTo>
                <a:cubicBezTo>
                  <a:pt x="303950" y="5619916"/>
                  <a:pt x="324091" y="5640057"/>
                  <a:pt x="324091" y="5664903"/>
                </a:cubicBezTo>
                <a:cubicBezTo>
                  <a:pt x="324091" y="5689749"/>
                  <a:pt x="303950" y="5709890"/>
                  <a:pt x="279104" y="5709890"/>
                </a:cubicBezTo>
                <a:lnTo>
                  <a:pt x="0" y="5709890"/>
                </a:lnTo>
                <a:close/>
                <a:moveTo>
                  <a:pt x="0" y="5442077"/>
                </a:moveTo>
                <a:lnTo>
                  <a:pt x="81776" y="5442077"/>
                </a:lnTo>
                <a:cubicBezTo>
                  <a:pt x="94401" y="5442077"/>
                  <a:pt x="104636" y="5452312"/>
                  <a:pt x="104636" y="5464937"/>
                </a:cubicBezTo>
                <a:lnTo>
                  <a:pt x="104635" y="5464937"/>
                </a:lnTo>
                <a:cubicBezTo>
                  <a:pt x="104635" y="5477562"/>
                  <a:pt x="94400" y="5487797"/>
                  <a:pt x="81775" y="5487797"/>
                </a:cubicBezTo>
                <a:lnTo>
                  <a:pt x="0" y="5487797"/>
                </a:lnTo>
                <a:close/>
                <a:moveTo>
                  <a:pt x="0" y="5288549"/>
                </a:moveTo>
                <a:lnTo>
                  <a:pt x="173216" y="5288549"/>
                </a:lnTo>
                <a:cubicBezTo>
                  <a:pt x="185841" y="5288549"/>
                  <a:pt x="196076" y="5298784"/>
                  <a:pt x="196076" y="5311409"/>
                </a:cubicBezTo>
                <a:lnTo>
                  <a:pt x="196075" y="5311409"/>
                </a:lnTo>
                <a:cubicBezTo>
                  <a:pt x="196075" y="5324034"/>
                  <a:pt x="185840" y="5334269"/>
                  <a:pt x="173215" y="5334269"/>
                </a:cubicBezTo>
                <a:lnTo>
                  <a:pt x="0" y="5334269"/>
                </a:lnTo>
                <a:close/>
                <a:moveTo>
                  <a:pt x="0" y="5135021"/>
                </a:moveTo>
                <a:lnTo>
                  <a:pt x="81776" y="5135021"/>
                </a:lnTo>
                <a:cubicBezTo>
                  <a:pt x="94401" y="5135021"/>
                  <a:pt x="104636" y="5145256"/>
                  <a:pt x="104636" y="5157881"/>
                </a:cubicBezTo>
                <a:lnTo>
                  <a:pt x="104635" y="5157881"/>
                </a:lnTo>
                <a:cubicBezTo>
                  <a:pt x="104635" y="5170506"/>
                  <a:pt x="94400" y="5180741"/>
                  <a:pt x="81775" y="5180741"/>
                </a:cubicBezTo>
                <a:lnTo>
                  <a:pt x="0" y="5180741"/>
                </a:lnTo>
                <a:close/>
                <a:moveTo>
                  <a:pt x="0" y="4937238"/>
                </a:moveTo>
                <a:lnTo>
                  <a:pt x="279104" y="4937238"/>
                </a:lnTo>
                <a:cubicBezTo>
                  <a:pt x="303950" y="4937238"/>
                  <a:pt x="324091" y="4957379"/>
                  <a:pt x="324091" y="4982225"/>
                </a:cubicBezTo>
                <a:cubicBezTo>
                  <a:pt x="324091" y="5007071"/>
                  <a:pt x="303950" y="5027212"/>
                  <a:pt x="279104" y="5027212"/>
                </a:cubicBezTo>
                <a:lnTo>
                  <a:pt x="0" y="5027212"/>
                </a:lnTo>
                <a:close/>
                <a:moveTo>
                  <a:pt x="0" y="4759399"/>
                </a:moveTo>
                <a:lnTo>
                  <a:pt x="81776" y="4759399"/>
                </a:lnTo>
                <a:cubicBezTo>
                  <a:pt x="94401" y="4759399"/>
                  <a:pt x="104636" y="4769634"/>
                  <a:pt x="104636" y="4782259"/>
                </a:cubicBezTo>
                <a:lnTo>
                  <a:pt x="104635" y="4782259"/>
                </a:lnTo>
                <a:cubicBezTo>
                  <a:pt x="104635" y="4794884"/>
                  <a:pt x="94400" y="4805119"/>
                  <a:pt x="81775" y="4805119"/>
                </a:cubicBezTo>
                <a:lnTo>
                  <a:pt x="0" y="4805119"/>
                </a:lnTo>
                <a:close/>
                <a:moveTo>
                  <a:pt x="0" y="4605871"/>
                </a:moveTo>
                <a:lnTo>
                  <a:pt x="173216" y="4605871"/>
                </a:lnTo>
                <a:cubicBezTo>
                  <a:pt x="185841" y="4605871"/>
                  <a:pt x="196076" y="4616106"/>
                  <a:pt x="196076" y="4628731"/>
                </a:cubicBezTo>
                <a:lnTo>
                  <a:pt x="196075" y="4628731"/>
                </a:lnTo>
                <a:cubicBezTo>
                  <a:pt x="196075" y="4641356"/>
                  <a:pt x="185840" y="4651591"/>
                  <a:pt x="173215" y="4651591"/>
                </a:cubicBezTo>
                <a:lnTo>
                  <a:pt x="0" y="4651591"/>
                </a:lnTo>
                <a:close/>
                <a:moveTo>
                  <a:pt x="0" y="4452343"/>
                </a:moveTo>
                <a:lnTo>
                  <a:pt x="81776" y="4452343"/>
                </a:lnTo>
                <a:cubicBezTo>
                  <a:pt x="94401" y="4452343"/>
                  <a:pt x="104636" y="4462578"/>
                  <a:pt x="104636" y="4475203"/>
                </a:cubicBezTo>
                <a:lnTo>
                  <a:pt x="104635" y="4475203"/>
                </a:lnTo>
                <a:cubicBezTo>
                  <a:pt x="104635" y="4487828"/>
                  <a:pt x="94400" y="4498063"/>
                  <a:pt x="81775" y="4498063"/>
                </a:cubicBezTo>
                <a:lnTo>
                  <a:pt x="0" y="4498063"/>
                </a:lnTo>
                <a:close/>
                <a:moveTo>
                  <a:pt x="0" y="4254560"/>
                </a:moveTo>
                <a:lnTo>
                  <a:pt x="279104" y="4254560"/>
                </a:lnTo>
                <a:cubicBezTo>
                  <a:pt x="303950" y="4254560"/>
                  <a:pt x="324091" y="4274701"/>
                  <a:pt x="324091" y="4299547"/>
                </a:cubicBezTo>
                <a:cubicBezTo>
                  <a:pt x="324091" y="4324393"/>
                  <a:pt x="303950" y="4344534"/>
                  <a:pt x="279104" y="4344534"/>
                </a:cubicBezTo>
                <a:lnTo>
                  <a:pt x="0" y="4344534"/>
                </a:lnTo>
                <a:close/>
                <a:moveTo>
                  <a:pt x="0" y="4076721"/>
                </a:moveTo>
                <a:lnTo>
                  <a:pt x="81776" y="4076721"/>
                </a:lnTo>
                <a:cubicBezTo>
                  <a:pt x="94401" y="4076721"/>
                  <a:pt x="104636" y="4086956"/>
                  <a:pt x="104636" y="4099581"/>
                </a:cubicBezTo>
                <a:lnTo>
                  <a:pt x="104635" y="4099581"/>
                </a:lnTo>
                <a:cubicBezTo>
                  <a:pt x="104635" y="4112206"/>
                  <a:pt x="94400" y="4122441"/>
                  <a:pt x="81775" y="4122441"/>
                </a:cubicBezTo>
                <a:lnTo>
                  <a:pt x="0" y="4122441"/>
                </a:lnTo>
                <a:close/>
                <a:moveTo>
                  <a:pt x="0" y="3923193"/>
                </a:moveTo>
                <a:lnTo>
                  <a:pt x="173216" y="3923193"/>
                </a:lnTo>
                <a:cubicBezTo>
                  <a:pt x="185841" y="3923193"/>
                  <a:pt x="196076" y="3933428"/>
                  <a:pt x="196076" y="3946053"/>
                </a:cubicBezTo>
                <a:lnTo>
                  <a:pt x="196075" y="3946053"/>
                </a:lnTo>
                <a:cubicBezTo>
                  <a:pt x="196075" y="3958678"/>
                  <a:pt x="185840" y="3968913"/>
                  <a:pt x="173215" y="3968913"/>
                </a:cubicBezTo>
                <a:lnTo>
                  <a:pt x="0" y="3968913"/>
                </a:lnTo>
                <a:close/>
                <a:moveTo>
                  <a:pt x="0" y="3769665"/>
                </a:moveTo>
                <a:lnTo>
                  <a:pt x="81776" y="3769665"/>
                </a:lnTo>
                <a:cubicBezTo>
                  <a:pt x="94401" y="3769665"/>
                  <a:pt x="104636" y="3779900"/>
                  <a:pt x="104636" y="3792525"/>
                </a:cubicBezTo>
                <a:lnTo>
                  <a:pt x="104635" y="3792525"/>
                </a:lnTo>
                <a:cubicBezTo>
                  <a:pt x="104635" y="3805150"/>
                  <a:pt x="94400" y="3815385"/>
                  <a:pt x="81775" y="3815385"/>
                </a:cubicBezTo>
                <a:lnTo>
                  <a:pt x="0" y="3815385"/>
                </a:lnTo>
                <a:close/>
                <a:moveTo>
                  <a:pt x="0" y="3571882"/>
                </a:moveTo>
                <a:lnTo>
                  <a:pt x="279104" y="3571882"/>
                </a:lnTo>
                <a:cubicBezTo>
                  <a:pt x="303950" y="3571882"/>
                  <a:pt x="324091" y="3592023"/>
                  <a:pt x="324091" y="3616869"/>
                </a:cubicBezTo>
                <a:cubicBezTo>
                  <a:pt x="324091" y="3641715"/>
                  <a:pt x="303950" y="3661856"/>
                  <a:pt x="279104" y="3661856"/>
                </a:cubicBezTo>
                <a:lnTo>
                  <a:pt x="0" y="3661856"/>
                </a:lnTo>
                <a:close/>
                <a:moveTo>
                  <a:pt x="0" y="3394043"/>
                </a:moveTo>
                <a:lnTo>
                  <a:pt x="81776" y="3394043"/>
                </a:lnTo>
                <a:cubicBezTo>
                  <a:pt x="94401" y="3394043"/>
                  <a:pt x="104636" y="3404279"/>
                  <a:pt x="104636" y="3416905"/>
                </a:cubicBezTo>
                <a:lnTo>
                  <a:pt x="104635" y="3416905"/>
                </a:lnTo>
                <a:cubicBezTo>
                  <a:pt x="104635" y="3429528"/>
                  <a:pt x="94400" y="3439763"/>
                  <a:pt x="81775" y="3439763"/>
                </a:cubicBezTo>
                <a:lnTo>
                  <a:pt x="0" y="3439763"/>
                </a:lnTo>
                <a:close/>
                <a:moveTo>
                  <a:pt x="0" y="3240516"/>
                </a:moveTo>
                <a:lnTo>
                  <a:pt x="173216" y="3240516"/>
                </a:lnTo>
                <a:cubicBezTo>
                  <a:pt x="185841" y="3240516"/>
                  <a:pt x="196076" y="3250752"/>
                  <a:pt x="196076" y="3263376"/>
                </a:cubicBezTo>
                <a:lnTo>
                  <a:pt x="196075" y="3263376"/>
                </a:lnTo>
                <a:cubicBezTo>
                  <a:pt x="196075" y="3276001"/>
                  <a:pt x="185840" y="3286236"/>
                  <a:pt x="173215" y="3286236"/>
                </a:cubicBezTo>
                <a:lnTo>
                  <a:pt x="0" y="3286236"/>
                </a:lnTo>
                <a:close/>
                <a:moveTo>
                  <a:pt x="0" y="3086989"/>
                </a:moveTo>
                <a:lnTo>
                  <a:pt x="81776" y="3086989"/>
                </a:lnTo>
                <a:cubicBezTo>
                  <a:pt x="94401" y="3086989"/>
                  <a:pt x="104636" y="3097224"/>
                  <a:pt x="104636" y="3109849"/>
                </a:cubicBezTo>
                <a:lnTo>
                  <a:pt x="104635" y="3109849"/>
                </a:lnTo>
                <a:cubicBezTo>
                  <a:pt x="104635" y="3122474"/>
                  <a:pt x="94400" y="3132709"/>
                  <a:pt x="81775" y="3132709"/>
                </a:cubicBezTo>
                <a:lnTo>
                  <a:pt x="0" y="3132709"/>
                </a:lnTo>
                <a:close/>
                <a:moveTo>
                  <a:pt x="0" y="2889206"/>
                </a:moveTo>
                <a:lnTo>
                  <a:pt x="279104" y="2889206"/>
                </a:lnTo>
                <a:cubicBezTo>
                  <a:pt x="303950" y="2889206"/>
                  <a:pt x="324091" y="2909347"/>
                  <a:pt x="324091" y="2934194"/>
                </a:cubicBezTo>
                <a:cubicBezTo>
                  <a:pt x="324091" y="2959039"/>
                  <a:pt x="303950" y="2979180"/>
                  <a:pt x="279104" y="2979180"/>
                </a:cubicBezTo>
                <a:lnTo>
                  <a:pt x="0" y="2979180"/>
                </a:lnTo>
                <a:close/>
                <a:moveTo>
                  <a:pt x="0" y="2711367"/>
                </a:moveTo>
                <a:lnTo>
                  <a:pt x="81776" y="2711367"/>
                </a:lnTo>
                <a:cubicBezTo>
                  <a:pt x="94401" y="2711367"/>
                  <a:pt x="104636" y="2721602"/>
                  <a:pt x="104636" y="2734227"/>
                </a:cubicBezTo>
                <a:lnTo>
                  <a:pt x="104635" y="2734227"/>
                </a:lnTo>
                <a:cubicBezTo>
                  <a:pt x="104635" y="2746852"/>
                  <a:pt x="94400" y="2757087"/>
                  <a:pt x="81775" y="2757087"/>
                </a:cubicBezTo>
                <a:lnTo>
                  <a:pt x="0" y="2757087"/>
                </a:lnTo>
                <a:close/>
                <a:moveTo>
                  <a:pt x="0" y="2557839"/>
                </a:moveTo>
                <a:lnTo>
                  <a:pt x="173216" y="2557839"/>
                </a:lnTo>
                <a:cubicBezTo>
                  <a:pt x="185841" y="2557839"/>
                  <a:pt x="196076" y="2568074"/>
                  <a:pt x="196076" y="2580699"/>
                </a:cubicBezTo>
                <a:lnTo>
                  <a:pt x="196075" y="2580699"/>
                </a:lnTo>
                <a:cubicBezTo>
                  <a:pt x="196075" y="2593324"/>
                  <a:pt x="185840" y="2603559"/>
                  <a:pt x="173215" y="2603559"/>
                </a:cubicBezTo>
                <a:lnTo>
                  <a:pt x="0" y="2603559"/>
                </a:lnTo>
                <a:close/>
                <a:moveTo>
                  <a:pt x="0" y="2404312"/>
                </a:moveTo>
                <a:lnTo>
                  <a:pt x="81776" y="2404312"/>
                </a:lnTo>
                <a:cubicBezTo>
                  <a:pt x="94401" y="2404312"/>
                  <a:pt x="104636" y="2414546"/>
                  <a:pt x="104636" y="2427171"/>
                </a:cubicBezTo>
                <a:lnTo>
                  <a:pt x="104635" y="2427171"/>
                </a:lnTo>
                <a:cubicBezTo>
                  <a:pt x="104635" y="2439796"/>
                  <a:pt x="94400" y="2450032"/>
                  <a:pt x="81775" y="2450032"/>
                </a:cubicBezTo>
                <a:lnTo>
                  <a:pt x="0" y="2450032"/>
                </a:lnTo>
                <a:close/>
                <a:moveTo>
                  <a:pt x="0" y="2206528"/>
                </a:moveTo>
                <a:lnTo>
                  <a:pt x="279104" y="2206528"/>
                </a:lnTo>
                <a:cubicBezTo>
                  <a:pt x="303950" y="2206528"/>
                  <a:pt x="324091" y="2226669"/>
                  <a:pt x="324091" y="2251515"/>
                </a:cubicBezTo>
                <a:cubicBezTo>
                  <a:pt x="324091" y="2276362"/>
                  <a:pt x="303950" y="2296503"/>
                  <a:pt x="279104" y="2296503"/>
                </a:cubicBezTo>
                <a:lnTo>
                  <a:pt x="0" y="2296503"/>
                </a:lnTo>
                <a:close/>
                <a:moveTo>
                  <a:pt x="0" y="2028689"/>
                </a:moveTo>
                <a:lnTo>
                  <a:pt x="81776" y="2028689"/>
                </a:lnTo>
                <a:cubicBezTo>
                  <a:pt x="94401" y="2028689"/>
                  <a:pt x="104636" y="2038925"/>
                  <a:pt x="104636" y="2051550"/>
                </a:cubicBezTo>
                <a:lnTo>
                  <a:pt x="104635" y="2051550"/>
                </a:lnTo>
                <a:cubicBezTo>
                  <a:pt x="104635" y="2064175"/>
                  <a:pt x="94400" y="2074409"/>
                  <a:pt x="81775" y="2074409"/>
                </a:cubicBezTo>
                <a:lnTo>
                  <a:pt x="0" y="2074409"/>
                </a:lnTo>
                <a:close/>
                <a:moveTo>
                  <a:pt x="0" y="1875162"/>
                </a:moveTo>
                <a:lnTo>
                  <a:pt x="173216" y="1875162"/>
                </a:lnTo>
                <a:cubicBezTo>
                  <a:pt x="185841" y="1875162"/>
                  <a:pt x="196076" y="1885397"/>
                  <a:pt x="196076" y="1898022"/>
                </a:cubicBezTo>
                <a:lnTo>
                  <a:pt x="196075" y="1898022"/>
                </a:lnTo>
                <a:cubicBezTo>
                  <a:pt x="196075" y="1910647"/>
                  <a:pt x="185840" y="1920882"/>
                  <a:pt x="173215" y="1920882"/>
                </a:cubicBezTo>
                <a:lnTo>
                  <a:pt x="0" y="1920882"/>
                </a:lnTo>
                <a:close/>
                <a:moveTo>
                  <a:pt x="0" y="1721635"/>
                </a:moveTo>
                <a:lnTo>
                  <a:pt x="81776" y="1721635"/>
                </a:lnTo>
                <a:cubicBezTo>
                  <a:pt x="94401" y="1721635"/>
                  <a:pt x="104636" y="1731870"/>
                  <a:pt x="104636" y="1744495"/>
                </a:cubicBezTo>
                <a:lnTo>
                  <a:pt x="104635" y="1744495"/>
                </a:lnTo>
                <a:cubicBezTo>
                  <a:pt x="104635" y="1757120"/>
                  <a:pt x="94400" y="1767355"/>
                  <a:pt x="81775" y="1767355"/>
                </a:cubicBezTo>
                <a:lnTo>
                  <a:pt x="0" y="1767355"/>
                </a:lnTo>
                <a:close/>
                <a:moveTo>
                  <a:pt x="0" y="1523851"/>
                </a:moveTo>
                <a:lnTo>
                  <a:pt x="279104" y="1523851"/>
                </a:lnTo>
                <a:cubicBezTo>
                  <a:pt x="303950" y="1523851"/>
                  <a:pt x="324091" y="1543992"/>
                  <a:pt x="324091" y="1568838"/>
                </a:cubicBezTo>
                <a:cubicBezTo>
                  <a:pt x="324091" y="1593684"/>
                  <a:pt x="303950" y="1613826"/>
                  <a:pt x="279104" y="1613826"/>
                </a:cubicBezTo>
                <a:lnTo>
                  <a:pt x="0" y="1613826"/>
                </a:lnTo>
                <a:close/>
                <a:moveTo>
                  <a:pt x="0" y="1346012"/>
                </a:moveTo>
                <a:lnTo>
                  <a:pt x="81776" y="1346012"/>
                </a:lnTo>
                <a:cubicBezTo>
                  <a:pt x="94401" y="1346012"/>
                  <a:pt x="104636" y="1356247"/>
                  <a:pt x="104636" y="1368872"/>
                </a:cubicBezTo>
                <a:lnTo>
                  <a:pt x="104635" y="1368872"/>
                </a:lnTo>
                <a:cubicBezTo>
                  <a:pt x="104635" y="1381497"/>
                  <a:pt x="94400" y="1391732"/>
                  <a:pt x="81775" y="1391732"/>
                </a:cubicBezTo>
                <a:lnTo>
                  <a:pt x="0" y="1391732"/>
                </a:lnTo>
                <a:close/>
                <a:moveTo>
                  <a:pt x="0" y="1192484"/>
                </a:moveTo>
                <a:lnTo>
                  <a:pt x="173216" y="1192484"/>
                </a:lnTo>
                <a:cubicBezTo>
                  <a:pt x="185841" y="1192484"/>
                  <a:pt x="196076" y="1202719"/>
                  <a:pt x="196076" y="1215344"/>
                </a:cubicBezTo>
                <a:lnTo>
                  <a:pt x="196075" y="1215344"/>
                </a:lnTo>
                <a:cubicBezTo>
                  <a:pt x="196075" y="1227969"/>
                  <a:pt x="185840" y="1238205"/>
                  <a:pt x="173215" y="1238205"/>
                </a:cubicBezTo>
                <a:lnTo>
                  <a:pt x="0" y="1238205"/>
                </a:lnTo>
                <a:close/>
                <a:moveTo>
                  <a:pt x="0" y="1038956"/>
                </a:moveTo>
                <a:lnTo>
                  <a:pt x="81776" y="1038956"/>
                </a:lnTo>
                <a:cubicBezTo>
                  <a:pt x="94401" y="1038956"/>
                  <a:pt x="104636" y="1049192"/>
                  <a:pt x="104636" y="1061817"/>
                </a:cubicBezTo>
                <a:lnTo>
                  <a:pt x="104635" y="1061817"/>
                </a:lnTo>
                <a:cubicBezTo>
                  <a:pt x="104635" y="1074442"/>
                  <a:pt x="94400" y="1084677"/>
                  <a:pt x="81775" y="1084677"/>
                </a:cubicBezTo>
                <a:lnTo>
                  <a:pt x="0" y="1084677"/>
                </a:lnTo>
                <a:close/>
                <a:moveTo>
                  <a:pt x="0" y="841173"/>
                </a:moveTo>
                <a:lnTo>
                  <a:pt x="279104" y="841173"/>
                </a:lnTo>
                <a:cubicBezTo>
                  <a:pt x="303950" y="841173"/>
                  <a:pt x="324091" y="861314"/>
                  <a:pt x="324091" y="886160"/>
                </a:cubicBezTo>
                <a:cubicBezTo>
                  <a:pt x="324091" y="911007"/>
                  <a:pt x="303950" y="931147"/>
                  <a:pt x="279104" y="931147"/>
                </a:cubicBezTo>
                <a:lnTo>
                  <a:pt x="0" y="931147"/>
                </a:lnTo>
                <a:close/>
                <a:moveTo>
                  <a:pt x="0" y="663334"/>
                </a:moveTo>
                <a:lnTo>
                  <a:pt x="81776" y="663334"/>
                </a:lnTo>
                <a:cubicBezTo>
                  <a:pt x="94401" y="663334"/>
                  <a:pt x="104636" y="673569"/>
                  <a:pt x="104636" y="686194"/>
                </a:cubicBezTo>
                <a:lnTo>
                  <a:pt x="104635" y="686194"/>
                </a:lnTo>
                <a:cubicBezTo>
                  <a:pt x="104635" y="698819"/>
                  <a:pt x="94400" y="709054"/>
                  <a:pt x="81775" y="709054"/>
                </a:cubicBezTo>
                <a:lnTo>
                  <a:pt x="0" y="709054"/>
                </a:lnTo>
                <a:close/>
                <a:moveTo>
                  <a:pt x="0" y="509806"/>
                </a:moveTo>
                <a:lnTo>
                  <a:pt x="173216" y="509806"/>
                </a:lnTo>
                <a:cubicBezTo>
                  <a:pt x="185841" y="509806"/>
                  <a:pt x="196076" y="520041"/>
                  <a:pt x="196076" y="532666"/>
                </a:cubicBezTo>
                <a:lnTo>
                  <a:pt x="196075" y="532666"/>
                </a:lnTo>
                <a:cubicBezTo>
                  <a:pt x="196075" y="545291"/>
                  <a:pt x="185840" y="555526"/>
                  <a:pt x="173215" y="555526"/>
                </a:cubicBezTo>
                <a:lnTo>
                  <a:pt x="0" y="555526"/>
                </a:lnTo>
                <a:close/>
                <a:moveTo>
                  <a:pt x="0" y="356279"/>
                </a:moveTo>
                <a:lnTo>
                  <a:pt x="81776" y="356279"/>
                </a:lnTo>
                <a:cubicBezTo>
                  <a:pt x="94401" y="356279"/>
                  <a:pt x="104636" y="366514"/>
                  <a:pt x="104636" y="379139"/>
                </a:cubicBezTo>
                <a:lnTo>
                  <a:pt x="104635" y="379139"/>
                </a:lnTo>
                <a:cubicBezTo>
                  <a:pt x="104635" y="391764"/>
                  <a:pt x="94400" y="401999"/>
                  <a:pt x="81775" y="401999"/>
                </a:cubicBezTo>
                <a:lnTo>
                  <a:pt x="0" y="401999"/>
                </a:lnTo>
                <a:close/>
                <a:moveTo>
                  <a:pt x="0" y="158496"/>
                </a:moveTo>
                <a:lnTo>
                  <a:pt x="279104" y="158496"/>
                </a:lnTo>
                <a:cubicBezTo>
                  <a:pt x="303950" y="158496"/>
                  <a:pt x="324091" y="178637"/>
                  <a:pt x="324091" y="203483"/>
                </a:cubicBezTo>
                <a:cubicBezTo>
                  <a:pt x="324091" y="228329"/>
                  <a:pt x="303950" y="248470"/>
                  <a:pt x="279104" y="248470"/>
                </a:cubicBezTo>
                <a:lnTo>
                  <a:pt x="0" y="248470"/>
                </a:lnTo>
                <a:close/>
                <a:moveTo>
                  <a:pt x="0" y="0"/>
                </a:moveTo>
                <a:lnTo>
                  <a:pt x="81776" y="0"/>
                </a:lnTo>
                <a:cubicBezTo>
                  <a:pt x="94401" y="0"/>
                  <a:pt x="104636" y="10235"/>
                  <a:pt x="104636" y="22860"/>
                </a:cubicBezTo>
                <a:lnTo>
                  <a:pt x="104635" y="22860"/>
                </a:lnTo>
                <a:cubicBezTo>
                  <a:pt x="104635" y="35485"/>
                  <a:pt x="94400" y="45720"/>
                  <a:pt x="81775" y="45720"/>
                </a:cubicBezTo>
                <a:lnTo>
                  <a:pt x="0" y="45720"/>
                </a:lnTo>
                <a:close/>
              </a:path>
            </a:pathLst>
          </a:custGeom>
          <a:solidFill>
            <a:schemeClr val="bg1">
              <a:alpha val="3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331113" y="2211598"/>
            <a:ext cx="9108607" cy="165576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3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5D1A231-0B26-4848-A731-3CAF26252843}"/>
              </a:ext>
            </a:extLst>
          </p:cNvPr>
          <p:cNvGrpSpPr/>
          <p:nvPr userDrawn="1"/>
        </p:nvGrpSpPr>
        <p:grpSpPr>
          <a:xfrm>
            <a:off x="11803080" y="979776"/>
            <a:ext cx="221196" cy="228600"/>
            <a:chOff x="11806154" y="979776"/>
            <a:chExt cx="221254" cy="228600"/>
          </a:xfrm>
        </p:grpSpPr>
        <p:sp>
          <p:nvSpPr>
            <p:cNvPr id="13" name="Round Same-side Corner of Rectangle 79">
              <a:extLst>
                <a:ext uri="{FF2B5EF4-FFF2-40B4-BE49-F238E27FC236}">
                  <a16:creationId xmlns:a16="http://schemas.microsoft.com/office/drawing/2014/main" id="{466EA5B2-8C8E-47CB-A17F-0572059A1022}"/>
                </a:ext>
              </a:extLst>
            </p:cNvPr>
            <p:cNvSpPr/>
            <p:nvPr/>
          </p:nvSpPr>
          <p:spPr>
            <a:xfrm rot="5400000">
              <a:off x="11802481" y="983449"/>
              <a:ext cx="228600" cy="221254"/>
            </a:xfrm>
            <a:prstGeom prst="round2SameRect">
              <a:avLst>
                <a:gd name="adj1" fmla="val 0"/>
                <a:gd name="adj2" fmla="val 50000"/>
              </a:avLst>
            </a:prstGeom>
            <a:solidFill>
              <a:schemeClr val="tx2"/>
            </a:solidFill>
            <a:ln w="9525">
              <a:noFill/>
            </a:ln>
            <a:effectLst>
              <a:innerShdw blurRad="63500" dist="25400" dir="5400000">
                <a:prstClr val="black">
                  <a:alpha val="32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66914AF1-9E53-4341-B9E5-EB819576AA0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843840" y="1010005"/>
              <a:ext cx="155448" cy="155448"/>
            </a:xfrm>
            <a:prstGeom prst="rect">
              <a:avLst/>
            </a:prstGeom>
          </p:spPr>
        </p:pic>
      </p:grp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05FE9ECE-569E-4A37-B87F-6081243B63FF}"/>
              </a:ext>
            </a:extLst>
          </p:cNvPr>
          <p:cNvSpPr/>
          <p:nvPr userDrawn="1"/>
        </p:nvSpPr>
        <p:spPr>
          <a:xfrm>
            <a:off x="558654" y="706397"/>
            <a:ext cx="4812047" cy="977900"/>
          </a:xfrm>
          <a:prstGeom prst="roundRect">
            <a:avLst>
              <a:gd name="adj" fmla="val 50000"/>
            </a:avLst>
          </a:prstGeom>
          <a:solidFill>
            <a:schemeClr val="bg1">
              <a:alpha val="39000"/>
            </a:schemeClr>
          </a:solidFill>
          <a:ln w="190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293027" y="552617"/>
            <a:ext cx="9385073" cy="1304513"/>
          </a:xfrm>
        </p:spPr>
        <p:txBody>
          <a:bodyPr anchor="ctr">
            <a:noAutofit/>
          </a:bodyPr>
          <a:lstStyle>
            <a:lvl1pPr algn="l">
              <a:defRPr sz="3999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reeform 25">
            <a:extLst>
              <a:ext uri="{FF2B5EF4-FFF2-40B4-BE49-F238E27FC236}">
                <a16:creationId xmlns:a16="http://schemas.microsoft.com/office/drawing/2014/main" id="{8E29C404-BB09-4C55-8561-29C8423B0E8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51667" y="834460"/>
            <a:ext cx="646129" cy="717249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87BC633E-B887-4F61-B021-8F42D845AC4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32883" y="6120714"/>
            <a:ext cx="1017656" cy="420241"/>
          </a:xfrm>
          <a:prstGeom prst="rect">
            <a:avLst/>
          </a:prstGeom>
        </p:spPr>
      </p:pic>
      <p:sp>
        <p:nvSpPr>
          <p:cNvPr id="18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6EC7EA18-1445-48BB-8D29-85E51493D0FE}"/>
              </a:ext>
            </a:extLst>
          </p:cNvPr>
          <p:cNvSpPr/>
          <p:nvPr userDrawn="1"/>
        </p:nvSpPr>
        <p:spPr>
          <a:xfrm rot="5400000">
            <a:off x="11809682" y="871594"/>
            <a:ext cx="320468" cy="437817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6892519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breviations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2AA29EF-1A83-4920-8837-4ADB789F9454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795CF7A-A928-4BA8-8F3A-421AD587EC5F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DF7DCE60-60E8-492F-9BC3-393A93D6A4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F9523832-2660-419C-8A14-188EB3B4F5F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6706" y="918349"/>
            <a:ext cx="9963591" cy="5673283"/>
          </a:xfrm>
        </p:spPr>
        <p:txBody>
          <a:bodyPr/>
          <a:lstStyle>
            <a:lvl1pPr marL="0" indent="0">
              <a:spcBef>
                <a:spcPts val="1200"/>
              </a:spcBef>
              <a:buFontTx/>
              <a:buNone/>
              <a:defRPr sz="1799" b="1">
                <a:solidFill>
                  <a:schemeClr val="accent1">
                    <a:lumMod val="75000"/>
                  </a:schemeClr>
                </a:solidFill>
              </a:defRPr>
            </a:lvl1pPr>
            <a:lvl2pPr marL="168225" indent="-168225">
              <a:spcBef>
                <a:spcPts val="1200"/>
              </a:spcBef>
              <a:buFont typeface="Arial" panose="020B0604020202020204" pitchFamily="34" charset="0"/>
              <a:buChar char="•"/>
              <a:defRPr/>
            </a:lvl2pPr>
            <a:lvl3pPr marL="512609" indent="-171399">
              <a:spcBef>
                <a:spcPts val="600"/>
              </a:spcBef>
              <a:buFont typeface="Arial" panose="020B0604020202020204" pitchFamily="34" charset="0"/>
              <a:buChar char="‒"/>
              <a:defRPr sz="1300"/>
            </a:lvl3pPr>
            <a:lvl4pPr marL="798273" indent="-169812">
              <a:spcBef>
                <a:spcPts val="400"/>
              </a:spcBef>
              <a:buFont typeface="Arial" panose="020B0604020202020204" pitchFamily="34" charset="0"/>
              <a:buChar char="-"/>
              <a:defRPr sz="1300"/>
            </a:lvl4pPr>
            <a:lvl5pPr marL="1144245" indent="-115853">
              <a:spcBef>
                <a:spcPts val="200"/>
              </a:spcBef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Round Same-side Corner of Rectangle 79">
            <a:extLst>
              <a:ext uri="{FF2B5EF4-FFF2-40B4-BE49-F238E27FC236}">
                <a16:creationId xmlns:a16="http://schemas.microsoft.com/office/drawing/2014/main" id="{5DDFA094-B8B4-42E3-9DEB-F70E50E6E948}"/>
              </a:ext>
            </a:extLst>
          </p:cNvPr>
          <p:cNvSpPr/>
          <p:nvPr userDrawn="1"/>
        </p:nvSpPr>
        <p:spPr>
          <a:xfrm rot="5400000">
            <a:off x="11223833" y="1145017"/>
            <a:ext cx="357978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tx2">
              <a:alpha val="2100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4" name="TextBox 33">
            <a:hlinkClick r:id="" action="ppaction://noaction"/>
            <a:extLst>
              <a:ext uri="{FF2B5EF4-FFF2-40B4-BE49-F238E27FC236}">
                <a16:creationId xmlns:a16="http://schemas.microsoft.com/office/drawing/2014/main" id="{147B344E-1BE2-43B2-91FC-7DCCAEC332EA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35" name="Round Same-side Corner of Rectangle 79">
            <a:extLst>
              <a:ext uri="{FF2B5EF4-FFF2-40B4-BE49-F238E27FC236}">
                <a16:creationId xmlns:a16="http://schemas.microsoft.com/office/drawing/2014/main" id="{FF544925-9759-442E-9618-8AD533DF6569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8" name="TextBox 37">
            <a:hlinkClick r:id="" action="ppaction://noaction"/>
            <a:extLst>
              <a:ext uri="{FF2B5EF4-FFF2-40B4-BE49-F238E27FC236}">
                <a16:creationId xmlns:a16="http://schemas.microsoft.com/office/drawing/2014/main" id="{8EC6817D-04BB-4C9E-8230-C7166EF03087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39" name="Round Same-side Corner of Rectangle 79">
            <a:extLst>
              <a:ext uri="{FF2B5EF4-FFF2-40B4-BE49-F238E27FC236}">
                <a16:creationId xmlns:a16="http://schemas.microsoft.com/office/drawing/2014/main" id="{16C7ACC5-5825-4843-ADB6-A9C3BE1C3C69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40" name="Round Same-side Corner of Rectangle 79">
            <a:extLst>
              <a:ext uri="{FF2B5EF4-FFF2-40B4-BE49-F238E27FC236}">
                <a16:creationId xmlns:a16="http://schemas.microsoft.com/office/drawing/2014/main" id="{BEB0BD52-7998-47C6-8DDD-D806373BE125}"/>
              </a:ext>
            </a:extLst>
          </p:cNvPr>
          <p:cNvSpPr/>
          <p:nvPr userDrawn="1"/>
        </p:nvSpPr>
        <p:spPr>
          <a:xfrm rot="5400000">
            <a:off x="10613117" y="1819454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41" name="TextBox 40">
            <a:hlinkClick r:id="" action="ppaction://noaction"/>
            <a:extLst>
              <a:ext uri="{FF2B5EF4-FFF2-40B4-BE49-F238E27FC236}">
                <a16:creationId xmlns:a16="http://schemas.microsoft.com/office/drawing/2014/main" id="{8CF99FEE-19AD-40F7-BA7B-E6EBD6495459}"/>
              </a:ext>
            </a:extLst>
          </p:cNvPr>
          <p:cNvSpPr txBox="1"/>
          <p:nvPr userDrawn="1"/>
        </p:nvSpPr>
        <p:spPr>
          <a:xfrm>
            <a:off x="10870644" y="1860803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42" name="Round Same-side Corner of Rectangle 79">
            <a:extLst>
              <a:ext uri="{FF2B5EF4-FFF2-40B4-BE49-F238E27FC236}">
                <a16:creationId xmlns:a16="http://schemas.microsoft.com/office/drawing/2014/main" id="{F52BA67D-2D31-43F9-84F3-CEF3D723E802}"/>
              </a:ext>
            </a:extLst>
          </p:cNvPr>
          <p:cNvSpPr/>
          <p:nvPr userDrawn="1"/>
        </p:nvSpPr>
        <p:spPr>
          <a:xfrm rot="5400000">
            <a:off x="10613117" y="2180288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43" name="TextBox 42">
            <a:hlinkClick r:id="" action="ppaction://noaction"/>
            <a:extLst>
              <a:ext uri="{FF2B5EF4-FFF2-40B4-BE49-F238E27FC236}">
                <a16:creationId xmlns:a16="http://schemas.microsoft.com/office/drawing/2014/main" id="{35A3F299-417D-40F9-9248-072AEE9388BB}"/>
              </a:ext>
            </a:extLst>
          </p:cNvPr>
          <p:cNvSpPr txBox="1"/>
          <p:nvPr userDrawn="1"/>
        </p:nvSpPr>
        <p:spPr>
          <a:xfrm>
            <a:off x="10870644" y="2221637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44" name="Freeform 5">
            <a:extLst>
              <a:ext uri="{FF2B5EF4-FFF2-40B4-BE49-F238E27FC236}">
                <a16:creationId xmlns:a16="http://schemas.microsoft.com/office/drawing/2014/main" id="{769D3822-D008-47D7-BB20-7AABBE67603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45" name="Graphic 44">
            <a:extLst>
              <a:ext uri="{FF2B5EF4-FFF2-40B4-BE49-F238E27FC236}">
                <a16:creationId xmlns:a16="http://schemas.microsoft.com/office/drawing/2014/main" id="{CA552C88-FA7B-4DC5-980B-0027339F2D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46" name="Freeform 25">
            <a:extLst>
              <a:ext uri="{FF2B5EF4-FFF2-40B4-BE49-F238E27FC236}">
                <a16:creationId xmlns:a16="http://schemas.microsoft.com/office/drawing/2014/main" id="{B7657F0E-E6CB-4194-B896-7088FC43489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1859118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47" name="Round Same-side Corner of Rectangle 79">
            <a:extLst>
              <a:ext uri="{FF2B5EF4-FFF2-40B4-BE49-F238E27FC236}">
                <a16:creationId xmlns:a16="http://schemas.microsoft.com/office/drawing/2014/main" id="{2D9988AB-E77E-4A55-AB5D-BF9B375CC9D1}"/>
              </a:ext>
            </a:extLst>
          </p:cNvPr>
          <p:cNvSpPr/>
          <p:nvPr userDrawn="1"/>
        </p:nvSpPr>
        <p:spPr>
          <a:xfrm rot="5400000">
            <a:off x="10615976" y="2552213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48" name="TextBox 47">
            <a:hlinkClick r:id="" action="ppaction://noaction"/>
            <a:extLst>
              <a:ext uri="{FF2B5EF4-FFF2-40B4-BE49-F238E27FC236}">
                <a16:creationId xmlns:a16="http://schemas.microsoft.com/office/drawing/2014/main" id="{45A75B1A-5DD5-459F-9081-6F553D823D81}"/>
              </a:ext>
            </a:extLst>
          </p:cNvPr>
          <p:cNvSpPr txBox="1"/>
          <p:nvPr userDrawn="1"/>
        </p:nvSpPr>
        <p:spPr>
          <a:xfrm>
            <a:off x="10873503" y="2593562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49" name="Freeform 21">
            <a:extLst>
              <a:ext uri="{FF2B5EF4-FFF2-40B4-BE49-F238E27FC236}">
                <a16:creationId xmlns:a16="http://schemas.microsoft.com/office/drawing/2014/main" id="{11F1736E-3802-480A-981B-3FCCB556CEF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2601787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50" name="Graphic 28" descr="List">
            <a:extLst>
              <a:ext uri="{FF2B5EF4-FFF2-40B4-BE49-F238E27FC236}">
                <a16:creationId xmlns:a16="http://schemas.microsoft.com/office/drawing/2014/main" id="{0906BE2F-80AD-4763-BF95-C5047043CD9C}"/>
              </a:ext>
            </a:extLst>
          </p:cNvPr>
          <p:cNvGrpSpPr/>
          <p:nvPr userDrawn="1"/>
        </p:nvGrpSpPr>
        <p:grpSpPr>
          <a:xfrm>
            <a:off x="10657446" y="2213495"/>
            <a:ext cx="103548" cy="146640"/>
            <a:chOff x="981871" y="1231905"/>
            <a:chExt cx="246063" cy="317501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6AB077B1-44AC-45F5-A4AE-359530135E2C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64C05DE-505A-4D58-A342-D1F4DFD84E3C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073ADBE9-A8BD-43D3-B86C-3377571D421B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6CFAFAB-7F73-45F6-887D-999A30F5B129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4E4A5E27-4304-4D07-8788-99A58E333CFE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B5481595-AC5D-4F0C-97B1-38B9F5B0F81F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A604F2D-9053-47E5-B0E7-C6BF3AEEB331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3F5E971A-BD44-42B4-91BC-156E6D98C48D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07B748FF-BE9E-43B5-BBD3-ADE0482A7224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60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F736608C-EF04-4056-9ADA-A66E7FF62424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1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E3FF6605-1A30-4594-8A51-4A9AFFD73BFA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2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02AE7701-90A0-4A17-8737-B9E69CEC5436}"/>
              </a:ext>
            </a:extLst>
          </p:cNvPr>
          <p:cNvSpPr/>
          <p:nvPr userDrawn="1"/>
        </p:nvSpPr>
        <p:spPr>
          <a:xfrm rot="5400000">
            <a:off x="11240796" y="1145266"/>
            <a:ext cx="324054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87A76432-3794-46BB-BCDC-79A6F5542830}"/>
              </a:ext>
            </a:extLst>
          </p:cNvPr>
          <p:cNvSpPr/>
          <p:nvPr userDrawn="1"/>
        </p:nvSpPr>
        <p:spPr>
          <a:xfrm rot="5400000">
            <a:off x="11240796" y="1505253"/>
            <a:ext cx="324054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0F734339-3B7B-498C-9E69-E4F594A9C423}"/>
              </a:ext>
            </a:extLst>
          </p:cNvPr>
          <p:cNvSpPr/>
          <p:nvPr userDrawn="1"/>
        </p:nvSpPr>
        <p:spPr>
          <a:xfrm rot="5400000">
            <a:off x="11240796" y="1879254"/>
            <a:ext cx="324054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8860772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Abbreviataions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A24BABF-905D-4FE9-A70E-D80E25FCE4F2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C38E70A-AB57-4D32-A2DC-A19C438AB79B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3" name="Round Same-side Corner of Rectangle 79">
            <a:extLst>
              <a:ext uri="{FF2B5EF4-FFF2-40B4-BE49-F238E27FC236}">
                <a16:creationId xmlns:a16="http://schemas.microsoft.com/office/drawing/2014/main" id="{2ECBAE96-C7A6-4C08-A0C9-6BAA9D0415FF}"/>
              </a:ext>
            </a:extLst>
          </p:cNvPr>
          <p:cNvSpPr/>
          <p:nvPr userDrawn="1"/>
        </p:nvSpPr>
        <p:spPr>
          <a:xfrm rot="5400000">
            <a:off x="11223833" y="1493479"/>
            <a:ext cx="357978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tx2">
              <a:alpha val="2100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3BEF0042-5916-4E3E-8FD7-5A6200245D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TextBox 19">
            <a:hlinkClick r:id="" action="ppaction://noaction"/>
            <a:extLst>
              <a:ext uri="{FF2B5EF4-FFF2-40B4-BE49-F238E27FC236}">
                <a16:creationId xmlns:a16="http://schemas.microsoft.com/office/drawing/2014/main" id="{9117A3AE-B593-49CE-8EF5-30C8284ACBA5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21" name="Round Same-side Corner of Rectangle 79">
            <a:extLst>
              <a:ext uri="{FF2B5EF4-FFF2-40B4-BE49-F238E27FC236}">
                <a16:creationId xmlns:a16="http://schemas.microsoft.com/office/drawing/2014/main" id="{4270BB2A-4433-483A-B317-9895D066C01B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2" name="TextBox 21">
            <a:hlinkClick r:id="" action="ppaction://noaction"/>
            <a:extLst>
              <a:ext uri="{FF2B5EF4-FFF2-40B4-BE49-F238E27FC236}">
                <a16:creationId xmlns:a16="http://schemas.microsoft.com/office/drawing/2014/main" id="{7FAD614A-E6A4-43FF-B216-2F235FEE4AE8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23" name="Round Same-side Corner of Rectangle 79">
            <a:extLst>
              <a:ext uri="{FF2B5EF4-FFF2-40B4-BE49-F238E27FC236}">
                <a16:creationId xmlns:a16="http://schemas.microsoft.com/office/drawing/2014/main" id="{13B9C9E1-B307-400F-AEC8-C1106B34E1B7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4" name="Round Same-side Corner of Rectangle 79">
            <a:extLst>
              <a:ext uri="{FF2B5EF4-FFF2-40B4-BE49-F238E27FC236}">
                <a16:creationId xmlns:a16="http://schemas.microsoft.com/office/drawing/2014/main" id="{3CB6185E-CE10-46E4-BC8F-B3D3DA6EFB0D}"/>
              </a:ext>
            </a:extLst>
          </p:cNvPr>
          <p:cNvSpPr/>
          <p:nvPr userDrawn="1"/>
        </p:nvSpPr>
        <p:spPr>
          <a:xfrm rot="5400000">
            <a:off x="10613117" y="1819454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5" name="TextBox 24">
            <a:hlinkClick r:id="" action="ppaction://noaction"/>
            <a:extLst>
              <a:ext uri="{FF2B5EF4-FFF2-40B4-BE49-F238E27FC236}">
                <a16:creationId xmlns:a16="http://schemas.microsoft.com/office/drawing/2014/main" id="{A14399E8-C824-4227-B524-20C236335E08}"/>
              </a:ext>
            </a:extLst>
          </p:cNvPr>
          <p:cNvSpPr txBox="1"/>
          <p:nvPr userDrawn="1"/>
        </p:nvSpPr>
        <p:spPr>
          <a:xfrm>
            <a:off x="10870644" y="1860803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26" name="Round Same-side Corner of Rectangle 79">
            <a:extLst>
              <a:ext uri="{FF2B5EF4-FFF2-40B4-BE49-F238E27FC236}">
                <a16:creationId xmlns:a16="http://schemas.microsoft.com/office/drawing/2014/main" id="{06131A3E-0D75-444A-A209-B12352A17ECE}"/>
              </a:ext>
            </a:extLst>
          </p:cNvPr>
          <p:cNvSpPr/>
          <p:nvPr userDrawn="1"/>
        </p:nvSpPr>
        <p:spPr>
          <a:xfrm rot="5400000">
            <a:off x="10613117" y="2180288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7" name="TextBox 26">
            <a:hlinkClick r:id="" action="ppaction://noaction"/>
            <a:extLst>
              <a:ext uri="{FF2B5EF4-FFF2-40B4-BE49-F238E27FC236}">
                <a16:creationId xmlns:a16="http://schemas.microsoft.com/office/drawing/2014/main" id="{876971FC-9FDF-4E4F-BB05-B6A42FE4F8FE}"/>
              </a:ext>
            </a:extLst>
          </p:cNvPr>
          <p:cNvSpPr txBox="1"/>
          <p:nvPr userDrawn="1"/>
        </p:nvSpPr>
        <p:spPr>
          <a:xfrm>
            <a:off x="10870644" y="2221637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28" name="Freeform 5">
            <a:extLst>
              <a:ext uri="{FF2B5EF4-FFF2-40B4-BE49-F238E27FC236}">
                <a16:creationId xmlns:a16="http://schemas.microsoft.com/office/drawing/2014/main" id="{A209221A-07F5-4216-B9A2-CF864495A5F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2C037EB1-29C3-4B2C-AAB2-6B68795358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30" name="Freeform 25">
            <a:extLst>
              <a:ext uri="{FF2B5EF4-FFF2-40B4-BE49-F238E27FC236}">
                <a16:creationId xmlns:a16="http://schemas.microsoft.com/office/drawing/2014/main" id="{5C9228F0-11BC-4DF9-8EE3-D493C965797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1859118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31" name="Round Same-side Corner of Rectangle 79">
            <a:extLst>
              <a:ext uri="{FF2B5EF4-FFF2-40B4-BE49-F238E27FC236}">
                <a16:creationId xmlns:a16="http://schemas.microsoft.com/office/drawing/2014/main" id="{C5EFD175-10D3-4477-B5C9-F04124A08133}"/>
              </a:ext>
            </a:extLst>
          </p:cNvPr>
          <p:cNvSpPr/>
          <p:nvPr userDrawn="1"/>
        </p:nvSpPr>
        <p:spPr>
          <a:xfrm rot="5400000">
            <a:off x="10615976" y="2552213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2" name="TextBox 31">
            <a:hlinkClick r:id="" action="ppaction://noaction"/>
            <a:extLst>
              <a:ext uri="{FF2B5EF4-FFF2-40B4-BE49-F238E27FC236}">
                <a16:creationId xmlns:a16="http://schemas.microsoft.com/office/drawing/2014/main" id="{AADD3716-499D-45D8-B8B2-96017935FCBA}"/>
              </a:ext>
            </a:extLst>
          </p:cNvPr>
          <p:cNvSpPr txBox="1"/>
          <p:nvPr userDrawn="1"/>
        </p:nvSpPr>
        <p:spPr>
          <a:xfrm>
            <a:off x="10873503" y="2593562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34" name="Freeform 21">
            <a:extLst>
              <a:ext uri="{FF2B5EF4-FFF2-40B4-BE49-F238E27FC236}">
                <a16:creationId xmlns:a16="http://schemas.microsoft.com/office/drawing/2014/main" id="{42BF0978-3F6D-47C6-B4D5-95C500FFED3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2601787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35" name="Graphic 28" descr="List">
            <a:extLst>
              <a:ext uri="{FF2B5EF4-FFF2-40B4-BE49-F238E27FC236}">
                <a16:creationId xmlns:a16="http://schemas.microsoft.com/office/drawing/2014/main" id="{DBD112FA-B174-40AB-BA33-EE7927D64080}"/>
              </a:ext>
            </a:extLst>
          </p:cNvPr>
          <p:cNvGrpSpPr/>
          <p:nvPr userDrawn="1"/>
        </p:nvGrpSpPr>
        <p:grpSpPr>
          <a:xfrm>
            <a:off x="10657446" y="2213495"/>
            <a:ext cx="103548" cy="146640"/>
            <a:chOff x="981871" y="1231905"/>
            <a:chExt cx="246063" cy="317501"/>
          </a:xfrm>
        </p:grpSpPr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9D42DD06-72B3-4F21-AFAB-3A5CFF14CACF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869327DC-0495-4270-9D82-A07F6135E796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7AC8800E-AC88-4505-A24E-3C695AA13063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946688CE-4A96-46D5-9B4D-F3577DA3959E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BF26DE68-E040-44C5-B8A9-5C7A0A75848F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4C0877E-EBD7-40D5-B1EF-AF2C9480E944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AA689BA8-D8A9-48E1-AE08-E6A9ED636FB4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285C1E96-38A5-4A1B-8489-6CACFFB007E4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B79C5303-C9AE-4CEC-A331-2C82BBD5229C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45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006FB331-C148-460B-B29B-0BAD3E1287DF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46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AE3C262B-0E06-4239-903F-41A6685D52D5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47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B8C7831B-0464-4B72-8FA0-AAA90BA9A68E}"/>
              </a:ext>
            </a:extLst>
          </p:cNvPr>
          <p:cNvSpPr/>
          <p:nvPr userDrawn="1"/>
        </p:nvSpPr>
        <p:spPr>
          <a:xfrm rot="5400000">
            <a:off x="11240796" y="1145266"/>
            <a:ext cx="324054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48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0FBBDD19-AFCF-4C43-B311-7BCDE288E2DA}"/>
              </a:ext>
            </a:extLst>
          </p:cNvPr>
          <p:cNvSpPr/>
          <p:nvPr userDrawn="1"/>
        </p:nvSpPr>
        <p:spPr>
          <a:xfrm rot="5400000">
            <a:off x="11240796" y="1505253"/>
            <a:ext cx="324054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49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BBCCCE03-7832-4C20-ACBD-CBE606937CD5}"/>
              </a:ext>
            </a:extLst>
          </p:cNvPr>
          <p:cNvSpPr/>
          <p:nvPr userDrawn="1"/>
        </p:nvSpPr>
        <p:spPr>
          <a:xfrm rot="5400000">
            <a:off x="11240796" y="1879254"/>
            <a:ext cx="324054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5284767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Pillar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A31574C6-D4D3-4BAF-900D-A4FD36E2CF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843403" y="0"/>
            <a:ext cx="10284321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52DACC8-F68A-4E7E-B68C-7F1399D9114E}"/>
              </a:ext>
            </a:extLst>
          </p:cNvPr>
          <p:cNvSpPr/>
          <p:nvPr userDrawn="1"/>
        </p:nvSpPr>
        <p:spPr>
          <a:xfrm>
            <a:off x="2072100" y="6705600"/>
            <a:ext cx="8044625" cy="15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800">
                <a:solidFill>
                  <a:schemeClr val="bg1"/>
                </a:solidFill>
                <a:ea typeface="MS PGothic" pitchFamily="34" charset="-128"/>
              </a:rPr>
              <a:t>Pfizer Confidential – Internal Use Only, Not for Further Distribution</a:t>
            </a:r>
            <a:endParaRPr lang="en-US" sz="800">
              <a:solidFill>
                <a:schemeClr val="bg1"/>
              </a:solidFill>
              <a:ea typeface="MS PGothic" pitchFamily="34" charset="-128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C514C5-2143-4E16-837F-CF028230C903}"/>
              </a:ext>
            </a:extLst>
          </p:cNvPr>
          <p:cNvSpPr/>
          <p:nvPr userDrawn="1"/>
        </p:nvSpPr>
        <p:spPr>
          <a:xfrm>
            <a:off x="0" y="0"/>
            <a:ext cx="2011157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E1FD921-B9B9-4E01-8593-A27B37592D89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27281B-F7F1-4E3B-B238-0D64683B763A}"/>
              </a:ext>
            </a:extLst>
          </p:cNvPr>
          <p:cNvSpPr/>
          <p:nvPr userDrawn="1"/>
        </p:nvSpPr>
        <p:spPr>
          <a:xfrm>
            <a:off x="1897132" y="0"/>
            <a:ext cx="138452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3941344-CBA3-46F5-9801-595985401D8A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D2612D66-723A-4927-9CE6-16C13A003646}"/>
              </a:ext>
            </a:extLst>
          </p:cNvPr>
          <p:cNvSpPr/>
          <p:nvPr/>
        </p:nvSpPr>
        <p:spPr>
          <a:xfrm>
            <a:off x="0" y="141677"/>
            <a:ext cx="324007" cy="6853150"/>
          </a:xfrm>
          <a:custGeom>
            <a:avLst/>
            <a:gdLst>
              <a:gd name="connsiteX0" fmla="*/ 0 w 324091"/>
              <a:gd name="connsiteY0" fmla="*/ 6807430 h 6853150"/>
              <a:gd name="connsiteX1" fmla="*/ 81776 w 324091"/>
              <a:gd name="connsiteY1" fmla="*/ 6807430 h 6853150"/>
              <a:gd name="connsiteX2" fmla="*/ 104636 w 324091"/>
              <a:gd name="connsiteY2" fmla="*/ 6830290 h 6853150"/>
              <a:gd name="connsiteX3" fmla="*/ 104635 w 324091"/>
              <a:gd name="connsiteY3" fmla="*/ 6830290 h 6853150"/>
              <a:gd name="connsiteX4" fmla="*/ 81775 w 324091"/>
              <a:gd name="connsiteY4" fmla="*/ 6853150 h 6853150"/>
              <a:gd name="connsiteX5" fmla="*/ 0 w 324091"/>
              <a:gd name="connsiteY5" fmla="*/ 6853150 h 6853150"/>
              <a:gd name="connsiteX6" fmla="*/ 0 w 324091"/>
              <a:gd name="connsiteY6" fmla="*/ 6653902 h 6853150"/>
              <a:gd name="connsiteX7" fmla="*/ 173216 w 324091"/>
              <a:gd name="connsiteY7" fmla="*/ 6653902 h 6853150"/>
              <a:gd name="connsiteX8" fmla="*/ 196076 w 324091"/>
              <a:gd name="connsiteY8" fmla="*/ 6676762 h 6853150"/>
              <a:gd name="connsiteX9" fmla="*/ 196075 w 324091"/>
              <a:gd name="connsiteY9" fmla="*/ 6676762 h 6853150"/>
              <a:gd name="connsiteX10" fmla="*/ 173215 w 324091"/>
              <a:gd name="connsiteY10" fmla="*/ 6699622 h 6853150"/>
              <a:gd name="connsiteX11" fmla="*/ 0 w 324091"/>
              <a:gd name="connsiteY11" fmla="*/ 6699622 h 6853150"/>
              <a:gd name="connsiteX12" fmla="*/ 0 w 324091"/>
              <a:gd name="connsiteY12" fmla="*/ 6500374 h 6853150"/>
              <a:gd name="connsiteX13" fmla="*/ 81776 w 324091"/>
              <a:gd name="connsiteY13" fmla="*/ 6500374 h 6853150"/>
              <a:gd name="connsiteX14" fmla="*/ 104636 w 324091"/>
              <a:gd name="connsiteY14" fmla="*/ 6523234 h 6853150"/>
              <a:gd name="connsiteX15" fmla="*/ 104635 w 324091"/>
              <a:gd name="connsiteY15" fmla="*/ 6523234 h 6853150"/>
              <a:gd name="connsiteX16" fmla="*/ 81775 w 324091"/>
              <a:gd name="connsiteY16" fmla="*/ 6546094 h 6853150"/>
              <a:gd name="connsiteX17" fmla="*/ 0 w 324091"/>
              <a:gd name="connsiteY17" fmla="*/ 6546094 h 6853150"/>
              <a:gd name="connsiteX18" fmla="*/ 0 w 324091"/>
              <a:gd name="connsiteY18" fmla="*/ 6302591 h 6853150"/>
              <a:gd name="connsiteX19" fmla="*/ 279104 w 324091"/>
              <a:gd name="connsiteY19" fmla="*/ 6302591 h 6853150"/>
              <a:gd name="connsiteX20" fmla="*/ 324091 w 324091"/>
              <a:gd name="connsiteY20" fmla="*/ 6347578 h 6853150"/>
              <a:gd name="connsiteX21" fmla="*/ 279104 w 324091"/>
              <a:gd name="connsiteY21" fmla="*/ 6392565 h 6853150"/>
              <a:gd name="connsiteX22" fmla="*/ 0 w 324091"/>
              <a:gd name="connsiteY22" fmla="*/ 6392565 h 6853150"/>
              <a:gd name="connsiteX23" fmla="*/ 0 w 324091"/>
              <a:gd name="connsiteY23" fmla="*/ 6124755 h 6853150"/>
              <a:gd name="connsiteX24" fmla="*/ 81776 w 324091"/>
              <a:gd name="connsiteY24" fmla="*/ 6124755 h 6853150"/>
              <a:gd name="connsiteX25" fmla="*/ 104636 w 324091"/>
              <a:gd name="connsiteY25" fmla="*/ 6147615 h 6853150"/>
              <a:gd name="connsiteX26" fmla="*/ 104635 w 324091"/>
              <a:gd name="connsiteY26" fmla="*/ 6147615 h 6853150"/>
              <a:gd name="connsiteX27" fmla="*/ 81775 w 324091"/>
              <a:gd name="connsiteY27" fmla="*/ 6170475 h 6853150"/>
              <a:gd name="connsiteX28" fmla="*/ 0 w 324091"/>
              <a:gd name="connsiteY28" fmla="*/ 6170475 h 6853150"/>
              <a:gd name="connsiteX29" fmla="*/ 0 w 324091"/>
              <a:gd name="connsiteY29" fmla="*/ 5971227 h 6853150"/>
              <a:gd name="connsiteX30" fmla="*/ 173216 w 324091"/>
              <a:gd name="connsiteY30" fmla="*/ 5971227 h 6853150"/>
              <a:gd name="connsiteX31" fmla="*/ 196076 w 324091"/>
              <a:gd name="connsiteY31" fmla="*/ 5994087 h 6853150"/>
              <a:gd name="connsiteX32" fmla="*/ 196075 w 324091"/>
              <a:gd name="connsiteY32" fmla="*/ 5994087 h 6853150"/>
              <a:gd name="connsiteX33" fmla="*/ 173215 w 324091"/>
              <a:gd name="connsiteY33" fmla="*/ 6016947 h 6853150"/>
              <a:gd name="connsiteX34" fmla="*/ 0 w 324091"/>
              <a:gd name="connsiteY34" fmla="*/ 6016947 h 6853150"/>
              <a:gd name="connsiteX35" fmla="*/ 0 w 324091"/>
              <a:gd name="connsiteY35" fmla="*/ 5817699 h 6853150"/>
              <a:gd name="connsiteX36" fmla="*/ 81776 w 324091"/>
              <a:gd name="connsiteY36" fmla="*/ 5817699 h 6853150"/>
              <a:gd name="connsiteX37" fmla="*/ 104636 w 324091"/>
              <a:gd name="connsiteY37" fmla="*/ 5840559 h 6853150"/>
              <a:gd name="connsiteX38" fmla="*/ 104635 w 324091"/>
              <a:gd name="connsiteY38" fmla="*/ 5840559 h 6853150"/>
              <a:gd name="connsiteX39" fmla="*/ 81775 w 324091"/>
              <a:gd name="connsiteY39" fmla="*/ 5863419 h 6853150"/>
              <a:gd name="connsiteX40" fmla="*/ 0 w 324091"/>
              <a:gd name="connsiteY40" fmla="*/ 5863419 h 6853150"/>
              <a:gd name="connsiteX41" fmla="*/ 0 w 324091"/>
              <a:gd name="connsiteY41" fmla="*/ 5619916 h 6853150"/>
              <a:gd name="connsiteX42" fmla="*/ 279104 w 324091"/>
              <a:gd name="connsiteY42" fmla="*/ 5619916 h 6853150"/>
              <a:gd name="connsiteX43" fmla="*/ 324091 w 324091"/>
              <a:gd name="connsiteY43" fmla="*/ 5664903 h 6853150"/>
              <a:gd name="connsiteX44" fmla="*/ 279104 w 324091"/>
              <a:gd name="connsiteY44" fmla="*/ 5709890 h 6853150"/>
              <a:gd name="connsiteX45" fmla="*/ 0 w 324091"/>
              <a:gd name="connsiteY45" fmla="*/ 5709890 h 6853150"/>
              <a:gd name="connsiteX46" fmla="*/ 0 w 324091"/>
              <a:gd name="connsiteY46" fmla="*/ 5442077 h 6853150"/>
              <a:gd name="connsiteX47" fmla="*/ 81776 w 324091"/>
              <a:gd name="connsiteY47" fmla="*/ 5442077 h 6853150"/>
              <a:gd name="connsiteX48" fmla="*/ 104636 w 324091"/>
              <a:gd name="connsiteY48" fmla="*/ 5464937 h 6853150"/>
              <a:gd name="connsiteX49" fmla="*/ 104635 w 324091"/>
              <a:gd name="connsiteY49" fmla="*/ 5464937 h 6853150"/>
              <a:gd name="connsiteX50" fmla="*/ 81775 w 324091"/>
              <a:gd name="connsiteY50" fmla="*/ 5487797 h 6853150"/>
              <a:gd name="connsiteX51" fmla="*/ 0 w 324091"/>
              <a:gd name="connsiteY51" fmla="*/ 5487797 h 6853150"/>
              <a:gd name="connsiteX52" fmla="*/ 0 w 324091"/>
              <a:gd name="connsiteY52" fmla="*/ 5288549 h 6853150"/>
              <a:gd name="connsiteX53" fmla="*/ 173216 w 324091"/>
              <a:gd name="connsiteY53" fmla="*/ 5288549 h 6853150"/>
              <a:gd name="connsiteX54" fmla="*/ 196076 w 324091"/>
              <a:gd name="connsiteY54" fmla="*/ 5311409 h 6853150"/>
              <a:gd name="connsiteX55" fmla="*/ 196075 w 324091"/>
              <a:gd name="connsiteY55" fmla="*/ 5311409 h 6853150"/>
              <a:gd name="connsiteX56" fmla="*/ 173215 w 324091"/>
              <a:gd name="connsiteY56" fmla="*/ 5334269 h 6853150"/>
              <a:gd name="connsiteX57" fmla="*/ 0 w 324091"/>
              <a:gd name="connsiteY57" fmla="*/ 5334269 h 6853150"/>
              <a:gd name="connsiteX58" fmla="*/ 0 w 324091"/>
              <a:gd name="connsiteY58" fmla="*/ 5135021 h 6853150"/>
              <a:gd name="connsiteX59" fmla="*/ 81776 w 324091"/>
              <a:gd name="connsiteY59" fmla="*/ 5135021 h 6853150"/>
              <a:gd name="connsiteX60" fmla="*/ 104636 w 324091"/>
              <a:gd name="connsiteY60" fmla="*/ 5157881 h 6853150"/>
              <a:gd name="connsiteX61" fmla="*/ 104635 w 324091"/>
              <a:gd name="connsiteY61" fmla="*/ 5157881 h 6853150"/>
              <a:gd name="connsiteX62" fmla="*/ 81775 w 324091"/>
              <a:gd name="connsiteY62" fmla="*/ 5180741 h 6853150"/>
              <a:gd name="connsiteX63" fmla="*/ 0 w 324091"/>
              <a:gd name="connsiteY63" fmla="*/ 5180741 h 6853150"/>
              <a:gd name="connsiteX64" fmla="*/ 0 w 324091"/>
              <a:gd name="connsiteY64" fmla="*/ 4937238 h 6853150"/>
              <a:gd name="connsiteX65" fmla="*/ 279104 w 324091"/>
              <a:gd name="connsiteY65" fmla="*/ 4937238 h 6853150"/>
              <a:gd name="connsiteX66" fmla="*/ 324091 w 324091"/>
              <a:gd name="connsiteY66" fmla="*/ 4982225 h 6853150"/>
              <a:gd name="connsiteX67" fmla="*/ 279104 w 324091"/>
              <a:gd name="connsiteY67" fmla="*/ 5027212 h 6853150"/>
              <a:gd name="connsiteX68" fmla="*/ 0 w 324091"/>
              <a:gd name="connsiteY68" fmla="*/ 5027212 h 6853150"/>
              <a:gd name="connsiteX69" fmla="*/ 0 w 324091"/>
              <a:gd name="connsiteY69" fmla="*/ 4759399 h 6853150"/>
              <a:gd name="connsiteX70" fmla="*/ 81776 w 324091"/>
              <a:gd name="connsiteY70" fmla="*/ 4759399 h 6853150"/>
              <a:gd name="connsiteX71" fmla="*/ 104636 w 324091"/>
              <a:gd name="connsiteY71" fmla="*/ 4782259 h 6853150"/>
              <a:gd name="connsiteX72" fmla="*/ 104635 w 324091"/>
              <a:gd name="connsiteY72" fmla="*/ 4782259 h 6853150"/>
              <a:gd name="connsiteX73" fmla="*/ 81775 w 324091"/>
              <a:gd name="connsiteY73" fmla="*/ 4805119 h 6853150"/>
              <a:gd name="connsiteX74" fmla="*/ 0 w 324091"/>
              <a:gd name="connsiteY74" fmla="*/ 4805119 h 6853150"/>
              <a:gd name="connsiteX75" fmla="*/ 0 w 324091"/>
              <a:gd name="connsiteY75" fmla="*/ 4605871 h 6853150"/>
              <a:gd name="connsiteX76" fmla="*/ 173216 w 324091"/>
              <a:gd name="connsiteY76" fmla="*/ 4605871 h 6853150"/>
              <a:gd name="connsiteX77" fmla="*/ 196076 w 324091"/>
              <a:gd name="connsiteY77" fmla="*/ 4628731 h 6853150"/>
              <a:gd name="connsiteX78" fmla="*/ 196075 w 324091"/>
              <a:gd name="connsiteY78" fmla="*/ 4628731 h 6853150"/>
              <a:gd name="connsiteX79" fmla="*/ 173215 w 324091"/>
              <a:gd name="connsiteY79" fmla="*/ 4651591 h 6853150"/>
              <a:gd name="connsiteX80" fmla="*/ 0 w 324091"/>
              <a:gd name="connsiteY80" fmla="*/ 4651591 h 6853150"/>
              <a:gd name="connsiteX81" fmla="*/ 0 w 324091"/>
              <a:gd name="connsiteY81" fmla="*/ 4452343 h 6853150"/>
              <a:gd name="connsiteX82" fmla="*/ 81776 w 324091"/>
              <a:gd name="connsiteY82" fmla="*/ 4452343 h 6853150"/>
              <a:gd name="connsiteX83" fmla="*/ 104636 w 324091"/>
              <a:gd name="connsiteY83" fmla="*/ 4475203 h 6853150"/>
              <a:gd name="connsiteX84" fmla="*/ 104635 w 324091"/>
              <a:gd name="connsiteY84" fmla="*/ 4475203 h 6853150"/>
              <a:gd name="connsiteX85" fmla="*/ 81775 w 324091"/>
              <a:gd name="connsiteY85" fmla="*/ 4498063 h 6853150"/>
              <a:gd name="connsiteX86" fmla="*/ 0 w 324091"/>
              <a:gd name="connsiteY86" fmla="*/ 4498063 h 6853150"/>
              <a:gd name="connsiteX87" fmla="*/ 0 w 324091"/>
              <a:gd name="connsiteY87" fmla="*/ 4254560 h 6853150"/>
              <a:gd name="connsiteX88" fmla="*/ 279104 w 324091"/>
              <a:gd name="connsiteY88" fmla="*/ 4254560 h 6853150"/>
              <a:gd name="connsiteX89" fmla="*/ 324091 w 324091"/>
              <a:gd name="connsiteY89" fmla="*/ 4299547 h 6853150"/>
              <a:gd name="connsiteX90" fmla="*/ 279104 w 324091"/>
              <a:gd name="connsiteY90" fmla="*/ 4344534 h 6853150"/>
              <a:gd name="connsiteX91" fmla="*/ 0 w 324091"/>
              <a:gd name="connsiteY91" fmla="*/ 4344534 h 6853150"/>
              <a:gd name="connsiteX92" fmla="*/ 0 w 324091"/>
              <a:gd name="connsiteY92" fmla="*/ 4076721 h 6853150"/>
              <a:gd name="connsiteX93" fmla="*/ 81776 w 324091"/>
              <a:gd name="connsiteY93" fmla="*/ 4076721 h 6853150"/>
              <a:gd name="connsiteX94" fmla="*/ 104636 w 324091"/>
              <a:gd name="connsiteY94" fmla="*/ 4099581 h 6853150"/>
              <a:gd name="connsiteX95" fmla="*/ 104635 w 324091"/>
              <a:gd name="connsiteY95" fmla="*/ 4099581 h 6853150"/>
              <a:gd name="connsiteX96" fmla="*/ 81775 w 324091"/>
              <a:gd name="connsiteY96" fmla="*/ 4122441 h 6853150"/>
              <a:gd name="connsiteX97" fmla="*/ 0 w 324091"/>
              <a:gd name="connsiteY97" fmla="*/ 4122441 h 6853150"/>
              <a:gd name="connsiteX98" fmla="*/ 0 w 324091"/>
              <a:gd name="connsiteY98" fmla="*/ 3923193 h 6853150"/>
              <a:gd name="connsiteX99" fmla="*/ 173216 w 324091"/>
              <a:gd name="connsiteY99" fmla="*/ 3923193 h 6853150"/>
              <a:gd name="connsiteX100" fmla="*/ 196076 w 324091"/>
              <a:gd name="connsiteY100" fmla="*/ 3946053 h 6853150"/>
              <a:gd name="connsiteX101" fmla="*/ 196075 w 324091"/>
              <a:gd name="connsiteY101" fmla="*/ 3946053 h 6853150"/>
              <a:gd name="connsiteX102" fmla="*/ 173215 w 324091"/>
              <a:gd name="connsiteY102" fmla="*/ 3968913 h 6853150"/>
              <a:gd name="connsiteX103" fmla="*/ 0 w 324091"/>
              <a:gd name="connsiteY103" fmla="*/ 3968913 h 6853150"/>
              <a:gd name="connsiteX104" fmla="*/ 0 w 324091"/>
              <a:gd name="connsiteY104" fmla="*/ 3769665 h 6853150"/>
              <a:gd name="connsiteX105" fmla="*/ 81776 w 324091"/>
              <a:gd name="connsiteY105" fmla="*/ 3769665 h 6853150"/>
              <a:gd name="connsiteX106" fmla="*/ 104636 w 324091"/>
              <a:gd name="connsiteY106" fmla="*/ 3792525 h 6853150"/>
              <a:gd name="connsiteX107" fmla="*/ 104635 w 324091"/>
              <a:gd name="connsiteY107" fmla="*/ 3792525 h 6853150"/>
              <a:gd name="connsiteX108" fmla="*/ 81775 w 324091"/>
              <a:gd name="connsiteY108" fmla="*/ 3815385 h 6853150"/>
              <a:gd name="connsiteX109" fmla="*/ 0 w 324091"/>
              <a:gd name="connsiteY109" fmla="*/ 3815385 h 6853150"/>
              <a:gd name="connsiteX110" fmla="*/ 0 w 324091"/>
              <a:gd name="connsiteY110" fmla="*/ 3571882 h 6853150"/>
              <a:gd name="connsiteX111" fmla="*/ 279104 w 324091"/>
              <a:gd name="connsiteY111" fmla="*/ 3571882 h 6853150"/>
              <a:gd name="connsiteX112" fmla="*/ 324091 w 324091"/>
              <a:gd name="connsiteY112" fmla="*/ 3616869 h 6853150"/>
              <a:gd name="connsiteX113" fmla="*/ 279104 w 324091"/>
              <a:gd name="connsiteY113" fmla="*/ 3661856 h 6853150"/>
              <a:gd name="connsiteX114" fmla="*/ 0 w 324091"/>
              <a:gd name="connsiteY114" fmla="*/ 3661856 h 6853150"/>
              <a:gd name="connsiteX115" fmla="*/ 0 w 324091"/>
              <a:gd name="connsiteY115" fmla="*/ 3394043 h 6853150"/>
              <a:gd name="connsiteX116" fmla="*/ 81776 w 324091"/>
              <a:gd name="connsiteY116" fmla="*/ 3394043 h 6853150"/>
              <a:gd name="connsiteX117" fmla="*/ 104636 w 324091"/>
              <a:gd name="connsiteY117" fmla="*/ 3416905 h 6853150"/>
              <a:gd name="connsiteX118" fmla="*/ 104635 w 324091"/>
              <a:gd name="connsiteY118" fmla="*/ 3416905 h 6853150"/>
              <a:gd name="connsiteX119" fmla="*/ 81775 w 324091"/>
              <a:gd name="connsiteY119" fmla="*/ 3439763 h 6853150"/>
              <a:gd name="connsiteX120" fmla="*/ 0 w 324091"/>
              <a:gd name="connsiteY120" fmla="*/ 3439763 h 6853150"/>
              <a:gd name="connsiteX121" fmla="*/ 0 w 324091"/>
              <a:gd name="connsiteY121" fmla="*/ 3240516 h 6853150"/>
              <a:gd name="connsiteX122" fmla="*/ 173216 w 324091"/>
              <a:gd name="connsiteY122" fmla="*/ 3240516 h 6853150"/>
              <a:gd name="connsiteX123" fmla="*/ 196076 w 324091"/>
              <a:gd name="connsiteY123" fmla="*/ 3263376 h 6853150"/>
              <a:gd name="connsiteX124" fmla="*/ 196075 w 324091"/>
              <a:gd name="connsiteY124" fmla="*/ 3263376 h 6853150"/>
              <a:gd name="connsiteX125" fmla="*/ 173215 w 324091"/>
              <a:gd name="connsiteY125" fmla="*/ 3286236 h 6853150"/>
              <a:gd name="connsiteX126" fmla="*/ 0 w 324091"/>
              <a:gd name="connsiteY126" fmla="*/ 3286236 h 6853150"/>
              <a:gd name="connsiteX127" fmla="*/ 0 w 324091"/>
              <a:gd name="connsiteY127" fmla="*/ 3086989 h 6853150"/>
              <a:gd name="connsiteX128" fmla="*/ 81776 w 324091"/>
              <a:gd name="connsiteY128" fmla="*/ 3086989 h 6853150"/>
              <a:gd name="connsiteX129" fmla="*/ 104636 w 324091"/>
              <a:gd name="connsiteY129" fmla="*/ 3109849 h 6853150"/>
              <a:gd name="connsiteX130" fmla="*/ 104635 w 324091"/>
              <a:gd name="connsiteY130" fmla="*/ 3109849 h 6853150"/>
              <a:gd name="connsiteX131" fmla="*/ 81775 w 324091"/>
              <a:gd name="connsiteY131" fmla="*/ 3132709 h 6853150"/>
              <a:gd name="connsiteX132" fmla="*/ 0 w 324091"/>
              <a:gd name="connsiteY132" fmla="*/ 3132709 h 6853150"/>
              <a:gd name="connsiteX133" fmla="*/ 0 w 324091"/>
              <a:gd name="connsiteY133" fmla="*/ 2889206 h 6853150"/>
              <a:gd name="connsiteX134" fmla="*/ 279104 w 324091"/>
              <a:gd name="connsiteY134" fmla="*/ 2889206 h 6853150"/>
              <a:gd name="connsiteX135" fmla="*/ 324091 w 324091"/>
              <a:gd name="connsiteY135" fmla="*/ 2934194 h 6853150"/>
              <a:gd name="connsiteX136" fmla="*/ 279104 w 324091"/>
              <a:gd name="connsiteY136" fmla="*/ 2979180 h 6853150"/>
              <a:gd name="connsiteX137" fmla="*/ 0 w 324091"/>
              <a:gd name="connsiteY137" fmla="*/ 2979180 h 6853150"/>
              <a:gd name="connsiteX138" fmla="*/ 0 w 324091"/>
              <a:gd name="connsiteY138" fmla="*/ 2711367 h 6853150"/>
              <a:gd name="connsiteX139" fmla="*/ 81776 w 324091"/>
              <a:gd name="connsiteY139" fmla="*/ 2711367 h 6853150"/>
              <a:gd name="connsiteX140" fmla="*/ 104636 w 324091"/>
              <a:gd name="connsiteY140" fmla="*/ 2734227 h 6853150"/>
              <a:gd name="connsiteX141" fmla="*/ 104635 w 324091"/>
              <a:gd name="connsiteY141" fmla="*/ 2734227 h 6853150"/>
              <a:gd name="connsiteX142" fmla="*/ 81775 w 324091"/>
              <a:gd name="connsiteY142" fmla="*/ 2757087 h 6853150"/>
              <a:gd name="connsiteX143" fmla="*/ 0 w 324091"/>
              <a:gd name="connsiteY143" fmla="*/ 2757087 h 6853150"/>
              <a:gd name="connsiteX144" fmla="*/ 0 w 324091"/>
              <a:gd name="connsiteY144" fmla="*/ 2557839 h 6853150"/>
              <a:gd name="connsiteX145" fmla="*/ 173216 w 324091"/>
              <a:gd name="connsiteY145" fmla="*/ 2557839 h 6853150"/>
              <a:gd name="connsiteX146" fmla="*/ 196076 w 324091"/>
              <a:gd name="connsiteY146" fmla="*/ 2580699 h 6853150"/>
              <a:gd name="connsiteX147" fmla="*/ 196075 w 324091"/>
              <a:gd name="connsiteY147" fmla="*/ 2580699 h 6853150"/>
              <a:gd name="connsiteX148" fmla="*/ 173215 w 324091"/>
              <a:gd name="connsiteY148" fmla="*/ 2603559 h 6853150"/>
              <a:gd name="connsiteX149" fmla="*/ 0 w 324091"/>
              <a:gd name="connsiteY149" fmla="*/ 2603559 h 6853150"/>
              <a:gd name="connsiteX150" fmla="*/ 0 w 324091"/>
              <a:gd name="connsiteY150" fmla="*/ 2404312 h 6853150"/>
              <a:gd name="connsiteX151" fmla="*/ 81776 w 324091"/>
              <a:gd name="connsiteY151" fmla="*/ 2404312 h 6853150"/>
              <a:gd name="connsiteX152" fmla="*/ 104636 w 324091"/>
              <a:gd name="connsiteY152" fmla="*/ 2427171 h 6853150"/>
              <a:gd name="connsiteX153" fmla="*/ 104635 w 324091"/>
              <a:gd name="connsiteY153" fmla="*/ 2427171 h 6853150"/>
              <a:gd name="connsiteX154" fmla="*/ 81775 w 324091"/>
              <a:gd name="connsiteY154" fmla="*/ 2450032 h 6853150"/>
              <a:gd name="connsiteX155" fmla="*/ 0 w 324091"/>
              <a:gd name="connsiteY155" fmla="*/ 2450032 h 6853150"/>
              <a:gd name="connsiteX156" fmla="*/ 0 w 324091"/>
              <a:gd name="connsiteY156" fmla="*/ 2206528 h 6853150"/>
              <a:gd name="connsiteX157" fmla="*/ 279104 w 324091"/>
              <a:gd name="connsiteY157" fmla="*/ 2206528 h 6853150"/>
              <a:gd name="connsiteX158" fmla="*/ 324091 w 324091"/>
              <a:gd name="connsiteY158" fmla="*/ 2251515 h 6853150"/>
              <a:gd name="connsiteX159" fmla="*/ 279104 w 324091"/>
              <a:gd name="connsiteY159" fmla="*/ 2296503 h 6853150"/>
              <a:gd name="connsiteX160" fmla="*/ 0 w 324091"/>
              <a:gd name="connsiteY160" fmla="*/ 2296503 h 6853150"/>
              <a:gd name="connsiteX161" fmla="*/ 0 w 324091"/>
              <a:gd name="connsiteY161" fmla="*/ 2028689 h 6853150"/>
              <a:gd name="connsiteX162" fmla="*/ 81776 w 324091"/>
              <a:gd name="connsiteY162" fmla="*/ 2028689 h 6853150"/>
              <a:gd name="connsiteX163" fmla="*/ 104636 w 324091"/>
              <a:gd name="connsiteY163" fmla="*/ 2051550 h 6853150"/>
              <a:gd name="connsiteX164" fmla="*/ 104635 w 324091"/>
              <a:gd name="connsiteY164" fmla="*/ 2051550 h 6853150"/>
              <a:gd name="connsiteX165" fmla="*/ 81775 w 324091"/>
              <a:gd name="connsiteY165" fmla="*/ 2074409 h 6853150"/>
              <a:gd name="connsiteX166" fmla="*/ 0 w 324091"/>
              <a:gd name="connsiteY166" fmla="*/ 2074409 h 6853150"/>
              <a:gd name="connsiteX167" fmla="*/ 0 w 324091"/>
              <a:gd name="connsiteY167" fmla="*/ 1875162 h 6853150"/>
              <a:gd name="connsiteX168" fmla="*/ 173216 w 324091"/>
              <a:gd name="connsiteY168" fmla="*/ 1875162 h 6853150"/>
              <a:gd name="connsiteX169" fmla="*/ 196076 w 324091"/>
              <a:gd name="connsiteY169" fmla="*/ 1898022 h 6853150"/>
              <a:gd name="connsiteX170" fmla="*/ 196075 w 324091"/>
              <a:gd name="connsiteY170" fmla="*/ 1898022 h 6853150"/>
              <a:gd name="connsiteX171" fmla="*/ 173215 w 324091"/>
              <a:gd name="connsiteY171" fmla="*/ 1920882 h 6853150"/>
              <a:gd name="connsiteX172" fmla="*/ 0 w 324091"/>
              <a:gd name="connsiteY172" fmla="*/ 1920882 h 6853150"/>
              <a:gd name="connsiteX173" fmla="*/ 0 w 324091"/>
              <a:gd name="connsiteY173" fmla="*/ 1721635 h 6853150"/>
              <a:gd name="connsiteX174" fmla="*/ 81776 w 324091"/>
              <a:gd name="connsiteY174" fmla="*/ 1721635 h 6853150"/>
              <a:gd name="connsiteX175" fmla="*/ 104636 w 324091"/>
              <a:gd name="connsiteY175" fmla="*/ 1744495 h 6853150"/>
              <a:gd name="connsiteX176" fmla="*/ 104635 w 324091"/>
              <a:gd name="connsiteY176" fmla="*/ 1744495 h 6853150"/>
              <a:gd name="connsiteX177" fmla="*/ 81775 w 324091"/>
              <a:gd name="connsiteY177" fmla="*/ 1767355 h 6853150"/>
              <a:gd name="connsiteX178" fmla="*/ 0 w 324091"/>
              <a:gd name="connsiteY178" fmla="*/ 1767355 h 6853150"/>
              <a:gd name="connsiteX179" fmla="*/ 0 w 324091"/>
              <a:gd name="connsiteY179" fmla="*/ 1523851 h 6853150"/>
              <a:gd name="connsiteX180" fmla="*/ 279104 w 324091"/>
              <a:gd name="connsiteY180" fmla="*/ 1523851 h 6853150"/>
              <a:gd name="connsiteX181" fmla="*/ 324091 w 324091"/>
              <a:gd name="connsiteY181" fmla="*/ 1568838 h 6853150"/>
              <a:gd name="connsiteX182" fmla="*/ 279104 w 324091"/>
              <a:gd name="connsiteY182" fmla="*/ 1613826 h 6853150"/>
              <a:gd name="connsiteX183" fmla="*/ 0 w 324091"/>
              <a:gd name="connsiteY183" fmla="*/ 1613826 h 6853150"/>
              <a:gd name="connsiteX184" fmla="*/ 0 w 324091"/>
              <a:gd name="connsiteY184" fmla="*/ 1346012 h 6853150"/>
              <a:gd name="connsiteX185" fmla="*/ 81776 w 324091"/>
              <a:gd name="connsiteY185" fmla="*/ 1346012 h 6853150"/>
              <a:gd name="connsiteX186" fmla="*/ 104636 w 324091"/>
              <a:gd name="connsiteY186" fmla="*/ 1368872 h 6853150"/>
              <a:gd name="connsiteX187" fmla="*/ 104635 w 324091"/>
              <a:gd name="connsiteY187" fmla="*/ 1368872 h 6853150"/>
              <a:gd name="connsiteX188" fmla="*/ 81775 w 324091"/>
              <a:gd name="connsiteY188" fmla="*/ 1391732 h 6853150"/>
              <a:gd name="connsiteX189" fmla="*/ 0 w 324091"/>
              <a:gd name="connsiteY189" fmla="*/ 1391732 h 6853150"/>
              <a:gd name="connsiteX190" fmla="*/ 0 w 324091"/>
              <a:gd name="connsiteY190" fmla="*/ 1192484 h 6853150"/>
              <a:gd name="connsiteX191" fmla="*/ 173216 w 324091"/>
              <a:gd name="connsiteY191" fmla="*/ 1192484 h 6853150"/>
              <a:gd name="connsiteX192" fmla="*/ 196076 w 324091"/>
              <a:gd name="connsiteY192" fmla="*/ 1215344 h 6853150"/>
              <a:gd name="connsiteX193" fmla="*/ 196075 w 324091"/>
              <a:gd name="connsiteY193" fmla="*/ 1215344 h 6853150"/>
              <a:gd name="connsiteX194" fmla="*/ 173215 w 324091"/>
              <a:gd name="connsiteY194" fmla="*/ 1238205 h 6853150"/>
              <a:gd name="connsiteX195" fmla="*/ 0 w 324091"/>
              <a:gd name="connsiteY195" fmla="*/ 1238205 h 6853150"/>
              <a:gd name="connsiteX196" fmla="*/ 0 w 324091"/>
              <a:gd name="connsiteY196" fmla="*/ 1038956 h 6853150"/>
              <a:gd name="connsiteX197" fmla="*/ 81776 w 324091"/>
              <a:gd name="connsiteY197" fmla="*/ 1038956 h 6853150"/>
              <a:gd name="connsiteX198" fmla="*/ 104636 w 324091"/>
              <a:gd name="connsiteY198" fmla="*/ 1061817 h 6853150"/>
              <a:gd name="connsiteX199" fmla="*/ 104635 w 324091"/>
              <a:gd name="connsiteY199" fmla="*/ 1061817 h 6853150"/>
              <a:gd name="connsiteX200" fmla="*/ 81775 w 324091"/>
              <a:gd name="connsiteY200" fmla="*/ 1084677 h 6853150"/>
              <a:gd name="connsiteX201" fmla="*/ 0 w 324091"/>
              <a:gd name="connsiteY201" fmla="*/ 1084677 h 6853150"/>
              <a:gd name="connsiteX202" fmla="*/ 0 w 324091"/>
              <a:gd name="connsiteY202" fmla="*/ 841173 h 6853150"/>
              <a:gd name="connsiteX203" fmla="*/ 279104 w 324091"/>
              <a:gd name="connsiteY203" fmla="*/ 841173 h 6853150"/>
              <a:gd name="connsiteX204" fmla="*/ 324091 w 324091"/>
              <a:gd name="connsiteY204" fmla="*/ 886160 h 6853150"/>
              <a:gd name="connsiteX205" fmla="*/ 279104 w 324091"/>
              <a:gd name="connsiteY205" fmla="*/ 931147 h 6853150"/>
              <a:gd name="connsiteX206" fmla="*/ 0 w 324091"/>
              <a:gd name="connsiteY206" fmla="*/ 931147 h 6853150"/>
              <a:gd name="connsiteX207" fmla="*/ 0 w 324091"/>
              <a:gd name="connsiteY207" fmla="*/ 663334 h 6853150"/>
              <a:gd name="connsiteX208" fmla="*/ 81776 w 324091"/>
              <a:gd name="connsiteY208" fmla="*/ 663334 h 6853150"/>
              <a:gd name="connsiteX209" fmla="*/ 104636 w 324091"/>
              <a:gd name="connsiteY209" fmla="*/ 686194 h 6853150"/>
              <a:gd name="connsiteX210" fmla="*/ 104635 w 324091"/>
              <a:gd name="connsiteY210" fmla="*/ 686194 h 6853150"/>
              <a:gd name="connsiteX211" fmla="*/ 81775 w 324091"/>
              <a:gd name="connsiteY211" fmla="*/ 709054 h 6853150"/>
              <a:gd name="connsiteX212" fmla="*/ 0 w 324091"/>
              <a:gd name="connsiteY212" fmla="*/ 709054 h 6853150"/>
              <a:gd name="connsiteX213" fmla="*/ 0 w 324091"/>
              <a:gd name="connsiteY213" fmla="*/ 509806 h 6853150"/>
              <a:gd name="connsiteX214" fmla="*/ 173216 w 324091"/>
              <a:gd name="connsiteY214" fmla="*/ 509806 h 6853150"/>
              <a:gd name="connsiteX215" fmla="*/ 196076 w 324091"/>
              <a:gd name="connsiteY215" fmla="*/ 532666 h 6853150"/>
              <a:gd name="connsiteX216" fmla="*/ 196075 w 324091"/>
              <a:gd name="connsiteY216" fmla="*/ 532666 h 6853150"/>
              <a:gd name="connsiteX217" fmla="*/ 173215 w 324091"/>
              <a:gd name="connsiteY217" fmla="*/ 555526 h 6853150"/>
              <a:gd name="connsiteX218" fmla="*/ 0 w 324091"/>
              <a:gd name="connsiteY218" fmla="*/ 555526 h 6853150"/>
              <a:gd name="connsiteX219" fmla="*/ 0 w 324091"/>
              <a:gd name="connsiteY219" fmla="*/ 356279 h 6853150"/>
              <a:gd name="connsiteX220" fmla="*/ 81776 w 324091"/>
              <a:gd name="connsiteY220" fmla="*/ 356279 h 6853150"/>
              <a:gd name="connsiteX221" fmla="*/ 104636 w 324091"/>
              <a:gd name="connsiteY221" fmla="*/ 379139 h 6853150"/>
              <a:gd name="connsiteX222" fmla="*/ 104635 w 324091"/>
              <a:gd name="connsiteY222" fmla="*/ 379139 h 6853150"/>
              <a:gd name="connsiteX223" fmla="*/ 81775 w 324091"/>
              <a:gd name="connsiteY223" fmla="*/ 401999 h 6853150"/>
              <a:gd name="connsiteX224" fmla="*/ 0 w 324091"/>
              <a:gd name="connsiteY224" fmla="*/ 401999 h 6853150"/>
              <a:gd name="connsiteX225" fmla="*/ 0 w 324091"/>
              <a:gd name="connsiteY225" fmla="*/ 158496 h 6853150"/>
              <a:gd name="connsiteX226" fmla="*/ 279104 w 324091"/>
              <a:gd name="connsiteY226" fmla="*/ 158496 h 6853150"/>
              <a:gd name="connsiteX227" fmla="*/ 324091 w 324091"/>
              <a:gd name="connsiteY227" fmla="*/ 203483 h 6853150"/>
              <a:gd name="connsiteX228" fmla="*/ 279104 w 324091"/>
              <a:gd name="connsiteY228" fmla="*/ 248470 h 6853150"/>
              <a:gd name="connsiteX229" fmla="*/ 0 w 324091"/>
              <a:gd name="connsiteY229" fmla="*/ 248470 h 6853150"/>
              <a:gd name="connsiteX230" fmla="*/ 0 w 324091"/>
              <a:gd name="connsiteY230" fmla="*/ 0 h 6853150"/>
              <a:gd name="connsiteX231" fmla="*/ 81776 w 324091"/>
              <a:gd name="connsiteY231" fmla="*/ 0 h 6853150"/>
              <a:gd name="connsiteX232" fmla="*/ 104636 w 324091"/>
              <a:gd name="connsiteY232" fmla="*/ 22860 h 6853150"/>
              <a:gd name="connsiteX233" fmla="*/ 104635 w 324091"/>
              <a:gd name="connsiteY233" fmla="*/ 22860 h 6853150"/>
              <a:gd name="connsiteX234" fmla="*/ 81775 w 324091"/>
              <a:gd name="connsiteY234" fmla="*/ 45720 h 6853150"/>
              <a:gd name="connsiteX235" fmla="*/ 0 w 324091"/>
              <a:gd name="connsiteY235" fmla="*/ 45720 h 6853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</a:cxnLst>
            <a:rect l="l" t="t" r="r" b="b"/>
            <a:pathLst>
              <a:path w="324091" h="6853150">
                <a:moveTo>
                  <a:pt x="0" y="6807430"/>
                </a:moveTo>
                <a:lnTo>
                  <a:pt x="81776" y="6807430"/>
                </a:lnTo>
                <a:cubicBezTo>
                  <a:pt x="94401" y="6807430"/>
                  <a:pt x="104636" y="6817665"/>
                  <a:pt x="104636" y="6830290"/>
                </a:cubicBezTo>
                <a:lnTo>
                  <a:pt x="104635" y="6830290"/>
                </a:lnTo>
                <a:cubicBezTo>
                  <a:pt x="104635" y="6842915"/>
                  <a:pt x="94400" y="6853150"/>
                  <a:pt x="81775" y="6853150"/>
                </a:cubicBezTo>
                <a:lnTo>
                  <a:pt x="0" y="6853150"/>
                </a:lnTo>
                <a:close/>
                <a:moveTo>
                  <a:pt x="0" y="6653902"/>
                </a:moveTo>
                <a:lnTo>
                  <a:pt x="173216" y="6653902"/>
                </a:lnTo>
                <a:cubicBezTo>
                  <a:pt x="185841" y="6653902"/>
                  <a:pt x="196076" y="6664137"/>
                  <a:pt x="196076" y="6676762"/>
                </a:cubicBezTo>
                <a:lnTo>
                  <a:pt x="196075" y="6676762"/>
                </a:lnTo>
                <a:cubicBezTo>
                  <a:pt x="196075" y="6689387"/>
                  <a:pt x="185840" y="6699622"/>
                  <a:pt x="173215" y="6699622"/>
                </a:cubicBezTo>
                <a:lnTo>
                  <a:pt x="0" y="6699622"/>
                </a:lnTo>
                <a:close/>
                <a:moveTo>
                  <a:pt x="0" y="6500374"/>
                </a:moveTo>
                <a:lnTo>
                  <a:pt x="81776" y="6500374"/>
                </a:lnTo>
                <a:cubicBezTo>
                  <a:pt x="94401" y="6500374"/>
                  <a:pt x="104636" y="6510609"/>
                  <a:pt x="104636" y="6523234"/>
                </a:cubicBezTo>
                <a:lnTo>
                  <a:pt x="104635" y="6523234"/>
                </a:lnTo>
                <a:cubicBezTo>
                  <a:pt x="104635" y="6535859"/>
                  <a:pt x="94400" y="6546094"/>
                  <a:pt x="81775" y="6546094"/>
                </a:cubicBezTo>
                <a:lnTo>
                  <a:pt x="0" y="6546094"/>
                </a:lnTo>
                <a:close/>
                <a:moveTo>
                  <a:pt x="0" y="6302591"/>
                </a:moveTo>
                <a:lnTo>
                  <a:pt x="279104" y="6302591"/>
                </a:lnTo>
                <a:cubicBezTo>
                  <a:pt x="303950" y="6302591"/>
                  <a:pt x="324091" y="6322732"/>
                  <a:pt x="324091" y="6347578"/>
                </a:cubicBezTo>
                <a:cubicBezTo>
                  <a:pt x="324091" y="6372424"/>
                  <a:pt x="303950" y="6392565"/>
                  <a:pt x="279104" y="6392565"/>
                </a:cubicBezTo>
                <a:lnTo>
                  <a:pt x="0" y="6392565"/>
                </a:lnTo>
                <a:close/>
                <a:moveTo>
                  <a:pt x="0" y="6124755"/>
                </a:moveTo>
                <a:lnTo>
                  <a:pt x="81776" y="6124755"/>
                </a:lnTo>
                <a:cubicBezTo>
                  <a:pt x="94401" y="6124755"/>
                  <a:pt x="104636" y="6134990"/>
                  <a:pt x="104636" y="6147615"/>
                </a:cubicBezTo>
                <a:lnTo>
                  <a:pt x="104635" y="6147615"/>
                </a:lnTo>
                <a:cubicBezTo>
                  <a:pt x="104635" y="6160240"/>
                  <a:pt x="94400" y="6170475"/>
                  <a:pt x="81775" y="6170475"/>
                </a:cubicBezTo>
                <a:lnTo>
                  <a:pt x="0" y="6170475"/>
                </a:lnTo>
                <a:close/>
                <a:moveTo>
                  <a:pt x="0" y="5971227"/>
                </a:moveTo>
                <a:lnTo>
                  <a:pt x="173216" y="5971227"/>
                </a:lnTo>
                <a:cubicBezTo>
                  <a:pt x="185841" y="5971227"/>
                  <a:pt x="196076" y="5981462"/>
                  <a:pt x="196076" y="5994087"/>
                </a:cubicBezTo>
                <a:lnTo>
                  <a:pt x="196075" y="5994087"/>
                </a:lnTo>
                <a:cubicBezTo>
                  <a:pt x="196075" y="6006712"/>
                  <a:pt x="185840" y="6016947"/>
                  <a:pt x="173215" y="6016947"/>
                </a:cubicBezTo>
                <a:lnTo>
                  <a:pt x="0" y="6016947"/>
                </a:lnTo>
                <a:close/>
                <a:moveTo>
                  <a:pt x="0" y="5817699"/>
                </a:moveTo>
                <a:lnTo>
                  <a:pt x="81776" y="5817699"/>
                </a:lnTo>
                <a:cubicBezTo>
                  <a:pt x="94401" y="5817699"/>
                  <a:pt x="104636" y="5827934"/>
                  <a:pt x="104636" y="5840559"/>
                </a:cubicBezTo>
                <a:lnTo>
                  <a:pt x="104635" y="5840559"/>
                </a:lnTo>
                <a:cubicBezTo>
                  <a:pt x="104635" y="5853184"/>
                  <a:pt x="94400" y="5863419"/>
                  <a:pt x="81775" y="5863419"/>
                </a:cubicBezTo>
                <a:lnTo>
                  <a:pt x="0" y="5863419"/>
                </a:lnTo>
                <a:close/>
                <a:moveTo>
                  <a:pt x="0" y="5619916"/>
                </a:moveTo>
                <a:lnTo>
                  <a:pt x="279104" y="5619916"/>
                </a:lnTo>
                <a:cubicBezTo>
                  <a:pt x="303950" y="5619916"/>
                  <a:pt x="324091" y="5640057"/>
                  <a:pt x="324091" y="5664903"/>
                </a:cubicBezTo>
                <a:cubicBezTo>
                  <a:pt x="324091" y="5689749"/>
                  <a:pt x="303950" y="5709890"/>
                  <a:pt x="279104" y="5709890"/>
                </a:cubicBezTo>
                <a:lnTo>
                  <a:pt x="0" y="5709890"/>
                </a:lnTo>
                <a:close/>
                <a:moveTo>
                  <a:pt x="0" y="5442077"/>
                </a:moveTo>
                <a:lnTo>
                  <a:pt x="81776" y="5442077"/>
                </a:lnTo>
                <a:cubicBezTo>
                  <a:pt x="94401" y="5442077"/>
                  <a:pt x="104636" y="5452312"/>
                  <a:pt x="104636" y="5464937"/>
                </a:cubicBezTo>
                <a:lnTo>
                  <a:pt x="104635" y="5464937"/>
                </a:lnTo>
                <a:cubicBezTo>
                  <a:pt x="104635" y="5477562"/>
                  <a:pt x="94400" y="5487797"/>
                  <a:pt x="81775" y="5487797"/>
                </a:cubicBezTo>
                <a:lnTo>
                  <a:pt x="0" y="5487797"/>
                </a:lnTo>
                <a:close/>
                <a:moveTo>
                  <a:pt x="0" y="5288549"/>
                </a:moveTo>
                <a:lnTo>
                  <a:pt x="173216" y="5288549"/>
                </a:lnTo>
                <a:cubicBezTo>
                  <a:pt x="185841" y="5288549"/>
                  <a:pt x="196076" y="5298784"/>
                  <a:pt x="196076" y="5311409"/>
                </a:cubicBezTo>
                <a:lnTo>
                  <a:pt x="196075" y="5311409"/>
                </a:lnTo>
                <a:cubicBezTo>
                  <a:pt x="196075" y="5324034"/>
                  <a:pt x="185840" y="5334269"/>
                  <a:pt x="173215" y="5334269"/>
                </a:cubicBezTo>
                <a:lnTo>
                  <a:pt x="0" y="5334269"/>
                </a:lnTo>
                <a:close/>
                <a:moveTo>
                  <a:pt x="0" y="5135021"/>
                </a:moveTo>
                <a:lnTo>
                  <a:pt x="81776" y="5135021"/>
                </a:lnTo>
                <a:cubicBezTo>
                  <a:pt x="94401" y="5135021"/>
                  <a:pt x="104636" y="5145256"/>
                  <a:pt x="104636" y="5157881"/>
                </a:cubicBezTo>
                <a:lnTo>
                  <a:pt x="104635" y="5157881"/>
                </a:lnTo>
                <a:cubicBezTo>
                  <a:pt x="104635" y="5170506"/>
                  <a:pt x="94400" y="5180741"/>
                  <a:pt x="81775" y="5180741"/>
                </a:cubicBezTo>
                <a:lnTo>
                  <a:pt x="0" y="5180741"/>
                </a:lnTo>
                <a:close/>
                <a:moveTo>
                  <a:pt x="0" y="4937238"/>
                </a:moveTo>
                <a:lnTo>
                  <a:pt x="279104" y="4937238"/>
                </a:lnTo>
                <a:cubicBezTo>
                  <a:pt x="303950" y="4937238"/>
                  <a:pt x="324091" y="4957379"/>
                  <a:pt x="324091" y="4982225"/>
                </a:cubicBezTo>
                <a:cubicBezTo>
                  <a:pt x="324091" y="5007071"/>
                  <a:pt x="303950" y="5027212"/>
                  <a:pt x="279104" y="5027212"/>
                </a:cubicBezTo>
                <a:lnTo>
                  <a:pt x="0" y="5027212"/>
                </a:lnTo>
                <a:close/>
                <a:moveTo>
                  <a:pt x="0" y="4759399"/>
                </a:moveTo>
                <a:lnTo>
                  <a:pt x="81776" y="4759399"/>
                </a:lnTo>
                <a:cubicBezTo>
                  <a:pt x="94401" y="4759399"/>
                  <a:pt x="104636" y="4769634"/>
                  <a:pt x="104636" y="4782259"/>
                </a:cubicBezTo>
                <a:lnTo>
                  <a:pt x="104635" y="4782259"/>
                </a:lnTo>
                <a:cubicBezTo>
                  <a:pt x="104635" y="4794884"/>
                  <a:pt x="94400" y="4805119"/>
                  <a:pt x="81775" y="4805119"/>
                </a:cubicBezTo>
                <a:lnTo>
                  <a:pt x="0" y="4805119"/>
                </a:lnTo>
                <a:close/>
                <a:moveTo>
                  <a:pt x="0" y="4605871"/>
                </a:moveTo>
                <a:lnTo>
                  <a:pt x="173216" y="4605871"/>
                </a:lnTo>
                <a:cubicBezTo>
                  <a:pt x="185841" y="4605871"/>
                  <a:pt x="196076" y="4616106"/>
                  <a:pt x="196076" y="4628731"/>
                </a:cubicBezTo>
                <a:lnTo>
                  <a:pt x="196075" y="4628731"/>
                </a:lnTo>
                <a:cubicBezTo>
                  <a:pt x="196075" y="4641356"/>
                  <a:pt x="185840" y="4651591"/>
                  <a:pt x="173215" y="4651591"/>
                </a:cubicBezTo>
                <a:lnTo>
                  <a:pt x="0" y="4651591"/>
                </a:lnTo>
                <a:close/>
                <a:moveTo>
                  <a:pt x="0" y="4452343"/>
                </a:moveTo>
                <a:lnTo>
                  <a:pt x="81776" y="4452343"/>
                </a:lnTo>
                <a:cubicBezTo>
                  <a:pt x="94401" y="4452343"/>
                  <a:pt x="104636" y="4462578"/>
                  <a:pt x="104636" y="4475203"/>
                </a:cubicBezTo>
                <a:lnTo>
                  <a:pt x="104635" y="4475203"/>
                </a:lnTo>
                <a:cubicBezTo>
                  <a:pt x="104635" y="4487828"/>
                  <a:pt x="94400" y="4498063"/>
                  <a:pt x="81775" y="4498063"/>
                </a:cubicBezTo>
                <a:lnTo>
                  <a:pt x="0" y="4498063"/>
                </a:lnTo>
                <a:close/>
                <a:moveTo>
                  <a:pt x="0" y="4254560"/>
                </a:moveTo>
                <a:lnTo>
                  <a:pt x="279104" y="4254560"/>
                </a:lnTo>
                <a:cubicBezTo>
                  <a:pt x="303950" y="4254560"/>
                  <a:pt x="324091" y="4274701"/>
                  <a:pt x="324091" y="4299547"/>
                </a:cubicBezTo>
                <a:cubicBezTo>
                  <a:pt x="324091" y="4324393"/>
                  <a:pt x="303950" y="4344534"/>
                  <a:pt x="279104" y="4344534"/>
                </a:cubicBezTo>
                <a:lnTo>
                  <a:pt x="0" y="4344534"/>
                </a:lnTo>
                <a:close/>
                <a:moveTo>
                  <a:pt x="0" y="4076721"/>
                </a:moveTo>
                <a:lnTo>
                  <a:pt x="81776" y="4076721"/>
                </a:lnTo>
                <a:cubicBezTo>
                  <a:pt x="94401" y="4076721"/>
                  <a:pt x="104636" y="4086956"/>
                  <a:pt x="104636" y="4099581"/>
                </a:cubicBezTo>
                <a:lnTo>
                  <a:pt x="104635" y="4099581"/>
                </a:lnTo>
                <a:cubicBezTo>
                  <a:pt x="104635" y="4112206"/>
                  <a:pt x="94400" y="4122441"/>
                  <a:pt x="81775" y="4122441"/>
                </a:cubicBezTo>
                <a:lnTo>
                  <a:pt x="0" y="4122441"/>
                </a:lnTo>
                <a:close/>
                <a:moveTo>
                  <a:pt x="0" y="3923193"/>
                </a:moveTo>
                <a:lnTo>
                  <a:pt x="173216" y="3923193"/>
                </a:lnTo>
                <a:cubicBezTo>
                  <a:pt x="185841" y="3923193"/>
                  <a:pt x="196076" y="3933428"/>
                  <a:pt x="196076" y="3946053"/>
                </a:cubicBezTo>
                <a:lnTo>
                  <a:pt x="196075" y="3946053"/>
                </a:lnTo>
                <a:cubicBezTo>
                  <a:pt x="196075" y="3958678"/>
                  <a:pt x="185840" y="3968913"/>
                  <a:pt x="173215" y="3968913"/>
                </a:cubicBezTo>
                <a:lnTo>
                  <a:pt x="0" y="3968913"/>
                </a:lnTo>
                <a:close/>
                <a:moveTo>
                  <a:pt x="0" y="3769665"/>
                </a:moveTo>
                <a:lnTo>
                  <a:pt x="81776" y="3769665"/>
                </a:lnTo>
                <a:cubicBezTo>
                  <a:pt x="94401" y="3769665"/>
                  <a:pt x="104636" y="3779900"/>
                  <a:pt x="104636" y="3792525"/>
                </a:cubicBezTo>
                <a:lnTo>
                  <a:pt x="104635" y="3792525"/>
                </a:lnTo>
                <a:cubicBezTo>
                  <a:pt x="104635" y="3805150"/>
                  <a:pt x="94400" y="3815385"/>
                  <a:pt x="81775" y="3815385"/>
                </a:cubicBezTo>
                <a:lnTo>
                  <a:pt x="0" y="3815385"/>
                </a:lnTo>
                <a:close/>
                <a:moveTo>
                  <a:pt x="0" y="3571882"/>
                </a:moveTo>
                <a:lnTo>
                  <a:pt x="279104" y="3571882"/>
                </a:lnTo>
                <a:cubicBezTo>
                  <a:pt x="303950" y="3571882"/>
                  <a:pt x="324091" y="3592023"/>
                  <a:pt x="324091" y="3616869"/>
                </a:cubicBezTo>
                <a:cubicBezTo>
                  <a:pt x="324091" y="3641715"/>
                  <a:pt x="303950" y="3661856"/>
                  <a:pt x="279104" y="3661856"/>
                </a:cubicBezTo>
                <a:lnTo>
                  <a:pt x="0" y="3661856"/>
                </a:lnTo>
                <a:close/>
                <a:moveTo>
                  <a:pt x="0" y="3394043"/>
                </a:moveTo>
                <a:lnTo>
                  <a:pt x="81776" y="3394043"/>
                </a:lnTo>
                <a:cubicBezTo>
                  <a:pt x="94401" y="3394043"/>
                  <a:pt x="104636" y="3404279"/>
                  <a:pt x="104636" y="3416905"/>
                </a:cubicBezTo>
                <a:lnTo>
                  <a:pt x="104635" y="3416905"/>
                </a:lnTo>
                <a:cubicBezTo>
                  <a:pt x="104635" y="3429528"/>
                  <a:pt x="94400" y="3439763"/>
                  <a:pt x="81775" y="3439763"/>
                </a:cubicBezTo>
                <a:lnTo>
                  <a:pt x="0" y="3439763"/>
                </a:lnTo>
                <a:close/>
                <a:moveTo>
                  <a:pt x="0" y="3240516"/>
                </a:moveTo>
                <a:lnTo>
                  <a:pt x="173216" y="3240516"/>
                </a:lnTo>
                <a:cubicBezTo>
                  <a:pt x="185841" y="3240516"/>
                  <a:pt x="196076" y="3250752"/>
                  <a:pt x="196076" y="3263376"/>
                </a:cubicBezTo>
                <a:lnTo>
                  <a:pt x="196075" y="3263376"/>
                </a:lnTo>
                <a:cubicBezTo>
                  <a:pt x="196075" y="3276001"/>
                  <a:pt x="185840" y="3286236"/>
                  <a:pt x="173215" y="3286236"/>
                </a:cubicBezTo>
                <a:lnTo>
                  <a:pt x="0" y="3286236"/>
                </a:lnTo>
                <a:close/>
                <a:moveTo>
                  <a:pt x="0" y="3086989"/>
                </a:moveTo>
                <a:lnTo>
                  <a:pt x="81776" y="3086989"/>
                </a:lnTo>
                <a:cubicBezTo>
                  <a:pt x="94401" y="3086989"/>
                  <a:pt x="104636" y="3097224"/>
                  <a:pt x="104636" y="3109849"/>
                </a:cubicBezTo>
                <a:lnTo>
                  <a:pt x="104635" y="3109849"/>
                </a:lnTo>
                <a:cubicBezTo>
                  <a:pt x="104635" y="3122474"/>
                  <a:pt x="94400" y="3132709"/>
                  <a:pt x="81775" y="3132709"/>
                </a:cubicBezTo>
                <a:lnTo>
                  <a:pt x="0" y="3132709"/>
                </a:lnTo>
                <a:close/>
                <a:moveTo>
                  <a:pt x="0" y="2889206"/>
                </a:moveTo>
                <a:lnTo>
                  <a:pt x="279104" y="2889206"/>
                </a:lnTo>
                <a:cubicBezTo>
                  <a:pt x="303950" y="2889206"/>
                  <a:pt x="324091" y="2909347"/>
                  <a:pt x="324091" y="2934194"/>
                </a:cubicBezTo>
                <a:cubicBezTo>
                  <a:pt x="324091" y="2959039"/>
                  <a:pt x="303950" y="2979180"/>
                  <a:pt x="279104" y="2979180"/>
                </a:cubicBezTo>
                <a:lnTo>
                  <a:pt x="0" y="2979180"/>
                </a:lnTo>
                <a:close/>
                <a:moveTo>
                  <a:pt x="0" y="2711367"/>
                </a:moveTo>
                <a:lnTo>
                  <a:pt x="81776" y="2711367"/>
                </a:lnTo>
                <a:cubicBezTo>
                  <a:pt x="94401" y="2711367"/>
                  <a:pt x="104636" y="2721602"/>
                  <a:pt x="104636" y="2734227"/>
                </a:cubicBezTo>
                <a:lnTo>
                  <a:pt x="104635" y="2734227"/>
                </a:lnTo>
                <a:cubicBezTo>
                  <a:pt x="104635" y="2746852"/>
                  <a:pt x="94400" y="2757087"/>
                  <a:pt x="81775" y="2757087"/>
                </a:cubicBezTo>
                <a:lnTo>
                  <a:pt x="0" y="2757087"/>
                </a:lnTo>
                <a:close/>
                <a:moveTo>
                  <a:pt x="0" y="2557839"/>
                </a:moveTo>
                <a:lnTo>
                  <a:pt x="173216" y="2557839"/>
                </a:lnTo>
                <a:cubicBezTo>
                  <a:pt x="185841" y="2557839"/>
                  <a:pt x="196076" y="2568074"/>
                  <a:pt x="196076" y="2580699"/>
                </a:cubicBezTo>
                <a:lnTo>
                  <a:pt x="196075" y="2580699"/>
                </a:lnTo>
                <a:cubicBezTo>
                  <a:pt x="196075" y="2593324"/>
                  <a:pt x="185840" y="2603559"/>
                  <a:pt x="173215" y="2603559"/>
                </a:cubicBezTo>
                <a:lnTo>
                  <a:pt x="0" y="2603559"/>
                </a:lnTo>
                <a:close/>
                <a:moveTo>
                  <a:pt x="0" y="2404312"/>
                </a:moveTo>
                <a:lnTo>
                  <a:pt x="81776" y="2404312"/>
                </a:lnTo>
                <a:cubicBezTo>
                  <a:pt x="94401" y="2404312"/>
                  <a:pt x="104636" y="2414546"/>
                  <a:pt x="104636" y="2427171"/>
                </a:cubicBezTo>
                <a:lnTo>
                  <a:pt x="104635" y="2427171"/>
                </a:lnTo>
                <a:cubicBezTo>
                  <a:pt x="104635" y="2439796"/>
                  <a:pt x="94400" y="2450032"/>
                  <a:pt x="81775" y="2450032"/>
                </a:cubicBezTo>
                <a:lnTo>
                  <a:pt x="0" y="2450032"/>
                </a:lnTo>
                <a:close/>
                <a:moveTo>
                  <a:pt x="0" y="2206528"/>
                </a:moveTo>
                <a:lnTo>
                  <a:pt x="279104" y="2206528"/>
                </a:lnTo>
                <a:cubicBezTo>
                  <a:pt x="303950" y="2206528"/>
                  <a:pt x="324091" y="2226669"/>
                  <a:pt x="324091" y="2251515"/>
                </a:cubicBezTo>
                <a:cubicBezTo>
                  <a:pt x="324091" y="2276362"/>
                  <a:pt x="303950" y="2296503"/>
                  <a:pt x="279104" y="2296503"/>
                </a:cubicBezTo>
                <a:lnTo>
                  <a:pt x="0" y="2296503"/>
                </a:lnTo>
                <a:close/>
                <a:moveTo>
                  <a:pt x="0" y="2028689"/>
                </a:moveTo>
                <a:lnTo>
                  <a:pt x="81776" y="2028689"/>
                </a:lnTo>
                <a:cubicBezTo>
                  <a:pt x="94401" y="2028689"/>
                  <a:pt x="104636" y="2038925"/>
                  <a:pt x="104636" y="2051550"/>
                </a:cubicBezTo>
                <a:lnTo>
                  <a:pt x="104635" y="2051550"/>
                </a:lnTo>
                <a:cubicBezTo>
                  <a:pt x="104635" y="2064175"/>
                  <a:pt x="94400" y="2074409"/>
                  <a:pt x="81775" y="2074409"/>
                </a:cubicBezTo>
                <a:lnTo>
                  <a:pt x="0" y="2074409"/>
                </a:lnTo>
                <a:close/>
                <a:moveTo>
                  <a:pt x="0" y="1875162"/>
                </a:moveTo>
                <a:lnTo>
                  <a:pt x="173216" y="1875162"/>
                </a:lnTo>
                <a:cubicBezTo>
                  <a:pt x="185841" y="1875162"/>
                  <a:pt x="196076" y="1885397"/>
                  <a:pt x="196076" y="1898022"/>
                </a:cubicBezTo>
                <a:lnTo>
                  <a:pt x="196075" y="1898022"/>
                </a:lnTo>
                <a:cubicBezTo>
                  <a:pt x="196075" y="1910647"/>
                  <a:pt x="185840" y="1920882"/>
                  <a:pt x="173215" y="1920882"/>
                </a:cubicBezTo>
                <a:lnTo>
                  <a:pt x="0" y="1920882"/>
                </a:lnTo>
                <a:close/>
                <a:moveTo>
                  <a:pt x="0" y="1721635"/>
                </a:moveTo>
                <a:lnTo>
                  <a:pt x="81776" y="1721635"/>
                </a:lnTo>
                <a:cubicBezTo>
                  <a:pt x="94401" y="1721635"/>
                  <a:pt x="104636" y="1731870"/>
                  <a:pt x="104636" y="1744495"/>
                </a:cubicBezTo>
                <a:lnTo>
                  <a:pt x="104635" y="1744495"/>
                </a:lnTo>
                <a:cubicBezTo>
                  <a:pt x="104635" y="1757120"/>
                  <a:pt x="94400" y="1767355"/>
                  <a:pt x="81775" y="1767355"/>
                </a:cubicBezTo>
                <a:lnTo>
                  <a:pt x="0" y="1767355"/>
                </a:lnTo>
                <a:close/>
                <a:moveTo>
                  <a:pt x="0" y="1523851"/>
                </a:moveTo>
                <a:lnTo>
                  <a:pt x="279104" y="1523851"/>
                </a:lnTo>
                <a:cubicBezTo>
                  <a:pt x="303950" y="1523851"/>
                  <a:pt x="324091" y="1543992"/>
                  <a:pt x="324091" y="1568838"/>
                </a:cubicBezTo>
                <a:cubicBezTo>
                  <a:pt x="324091" y="1593684"/>
                  <a:pt x="303950" y="1613826"/>
                  <a:pt x="279104" y="1613826"/>
                </a:cubicBezTo>
                <a:lnTo>
                  <a:pt x="0" y="1613826"/>
                </a:lnTo>
                <a:close/>
                <a:moveTo>
                  <a:pt x="0" y="1346012"/>
                </a:moveTo>
                <a:lnTo>
                  <a:pt x="81776" y="1346012"/>
                </a:lnTo>
                <a:cubicBezTo>
                  <a:pt x="94401" y="1346012"/>
                  <a:pt x="104636" y="1356247"/>
                  <a:pt x="104636" y="1368872"/>
                </a:cubicBezTo>
                <a:lnTo>
                  <a:pt x="104635" y="1368872"/>
                </a:lnTo>
                <a:cubicBezTo>
                  <a:pt x="104635" y="1381497"/>
                  <a:pt x="94400" y="1391732"/>
                  <a:pt x="81775" y="1391732"/>
                </a:cubicBezTo>
                <a:lnTo>
                  <a:pt x="0" y="1391732"/>
                </a:lnTo>
                <a:close/>
                <a:moveTo>
                  <a:pt x="0" y="1192484"/>
                </a:moveTo>
                <a:lnTo>
                  <a:pt x="173216" y="1192484"/>
                </a:lnTo>
                <a:cubicBezTo>
                  <a:pt x="185841" y="1192484"/>
                  <a:pt x="196076" y="1202719"/>
                  <a:pt x="196076" y="1215344"/>
                </a:cubicBezTo>
                <a:lnTo>
                  <a:pt x="196075" y="1215344"/>
                </a:lnTo>
                <a:cubicBezTo>
                  <a:pt x="196075" y="1227969"/>
                  <a:pt x="185840" y="1238205"/>
                  <a:pt x="173215" y="1238205"/>
                </a:cubicBezTo>
                <a:lnTo>
                  <a:pt x="0" y="1238205"/>
                </a:lnTo>
                <a:close/>
                <a:moveTo>
                  <a:pt x="0" y="1038956"/>
                </a:moveTo>
                <a:lnTo>
                  <a:pt x="81776" y="1038956"/>
                </a:lnTo>
                <a:cubicBezTo>
                  <a:pt x="94401" y="1038956"/>
                  <a:pt x="104636" y="1049192"/>
                  <a:pt x="104636" y="1061817"/>
                </a:cubicBezTo>
                <a:lnTo>
                  <a:pt x="104635" y="1061817"/>
                </a:lnTo>
                <a:cubicBezTo>
                  <a:pt x="104635" y="1074442"/>
                  <a:pt x="94400" y="1084677"/>
                  <a:pt x="81775" y="1084677"/>
                </a:cubicBezTo>
                <a:lnTo>
                  <a:pt x="0" y="1084677"/>
                </a:lnTo>
                <a:close/>
                <a:moveTo>
                  <a:pt x="0" y="841173"/>
                </a:moveTo>
                <a:lnTo>
                  <a:pt x="279104" y="841173"/>
                </a:lnTo>
                <a:cubicBezTo>
                  <a:pt x="303950" y="841173"/>
                  <a:pt x="324091" y="861314"/>
                  <a:pt x="324091" y="886160"/>
                </a:cubicBezTo>
                <a:cubicBezTo>
                  <a:pt x="324091" y="911007"/>
                  <a:pt x="303950" y="931147"/>
                  <a:pt x="279104" y="931147"/>
                </a:cubicBezTo>
                <a:lnTo>
                  <a:pt x="0" y="931147"/>
                </a:lnTo>
                <a:close/>
                <a:moveTo>
                  <a:pt x="0" y="663334"/>
                </a:moveTo>
                <a:lnTo>
                  <a:pt x="81776" y="663334"/>
                </a:lnTo>
                <a:cubicBezTo>
                  <a:pt x="94401" y="663334"/>
                  <a:pt x="104636" y="673569"/>
                  <a:pt x="104636" y="686194"/>
                </a:cubicBezTo>
                <a:lnTo>
                  <a:pt x="104635" y="686194"/>
                </a:lnTo>
                <a:cubicBezTo>
                  <a:pt x="104635" y="698819"/>
                  <a:pt x="94400" y="709054"/>
                  <a:pt x="81775" y="709054"/>
                </a:cubicBezTo>
                <a:lnTo>
                  <a:pt x="0" y="709054"/>
                </a:lnTo>
                <a:close/>
                <a:moveTo>
                  <a:pt x="0" y="509806"/>
                </a:moveTo>
                <a:lnTo>
                  <a:pt x="173216" y="509806"/>
                </a:lnTo>
                <a:cubicBezTo>
                  <a:pt x="185841" y="509806"/>
                  <a:pt x="196076" y="520041"/>
                  <a:pt x="196076" y="532666"/>
                </a:cubicBezTo>
                <a:lnTo>
                  <a:pt x="196075" y="532666"/>
                </a:lnTo>
                <a:cubicBezTo>
                  <a:pt x="196075" y="545291"/>
                  <a:pt x="185840" y="555526"/>
                  <a:pt x="173215" y="555526"/>
                </a:cubicBezTo>
                <a:lnTo>
                  <a:pt x="0" y="555526"/>
                </a:lnTo>
                <a:close/>
                <a:moveTo>
                  <a:pt x="0" y="356279"/>
                </a:moveTo>
                <a:lnTo>
                  <a:pt x="81776" y="356279"/>
                </a:lnTo>
                <a:cubicBezTo>
                  <a:pt x="94401" y="356279"/>
                  <a:pt x="104636" y="366514"/>
                  <a:pt x="104636" y="379139"/>
                </a:cubicBezTo>
                <a:lnTo>
                  <a:pt x="104635" y="379139"/>
                </a:lnTo>
                <a:cubicBezTo>
                  <a:pt x="104635" y="391764"/>
                  <a:pt x="94400" y="401999"/>
                  <a:pt x="81775" y="401999"/>
                </a:cubicBezTo>
                <a:lnTo>
                  <a:pt x="0" y="401999"/>
                </a:lnTo>
                <a:close/>
                <a:moveTo>
                  <a:pt x="0" y="158496"/>
                </a:moveTo>
                <a:lnTo>
                  <a:pt x="279104" y="158496"/>
                </a:lnTo>
                <a:cubicBezTo>
                  <a:pt x="303950" y="158496"/>
                  <a:pt x="324091" y="178637"/>
                  <a:pt x="324091" y="203483"/>
                </a:cubicBezTo>
                <a:cubicBezTo>
                  <a:pt x="324091" y="228329"/>
                  <a:pt x="303950" y="248470"/>
                  <a:pt x="279104" y="248470"/>
                </a:cubicBezTo>
                <a:lnTo>
                  <a:pt x="0" y="248470"/>
                </a:lnTo>
                <a:close/>
                <a:moveTo>
                  <a:pt x="0" y="0"/>
                </a:moveTo>
                <a:lnTo>
                  <a:pt x="81776" y="0"/>
                </a:lnTo>
                <a:cubicBezTo>
                  <a:pt x="94401" y="0"/>
                  <a:pt x="104636" y="10235"/>
                  <a:pt x="104636" y="22860"/>
                </a:cubicBezTo>
                <a:lnTo>
                  <a:pt x="104635" y="22860"/>
                </a:lnTo>
                <a:cubicBezTo>
                  <a:pt x="104635" y="35485"/>
                  <a:pt x="94400" y="45720"/>
                  <a:pt x="81775" y="45720"/>
                </a:cubicBezTo>
                <a:lnTo>
                  <a:pt x="0" y="45720"/>
                </a:lnTo>
                <a:close/>
              </a:path>
            </a:pathLst>
          </a:custGeom>
          <a:solidFill>
            <a:schemeClr val="bg1">
              <a:alpha val="3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331113" y="2211598"/>
            <a:ext cx="9108607" cy="165576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3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08BDD16-868E-4629-B9B5-D3C7BA311815}"/>
              </a:ext>
            </a:extLst>
          </p:cNvPr>
          <p:cNvGrpSpPr/>
          <p:nvPr userDrawn="1"/>
        </p:nvGrpSpPr>
        <p:grpSpPr>
          <a:xfrm>
            <a:off x="11803080" y="979776"/>
            <a:ext cx="221196" cy="228600"/>
            <a:chOff x="11806154" y="979776"/>
            <a:chExt cx="221254" cy="228600"/>
          </a:xfrm>
        </p:grpSpPr>
        <p:sp>
          <p:nvSpPr>
            <p:cNvPr id="13" name="Round Same-side Corner of Rectangle 79">
              <a:extLst>
                <a:ext uri="{FF2B5EF4-FFF2-40B4-BE49-F238E27FC236}">
                  <a16:creationId xmlns:a16="http://schemas.microsoft.com/office/drawing/2014/main" id="{0FE1DCF6-7D13-42BE-98D7-5DFFFCE21F5F}"/>
                </a:ext>
              </a:extLst>
            </p:cNvPr>
            <p:cNvSpPr/>
            <p:nvPr/>
          </p:nvSpPr>
          <p:spPr>
            <a:xfrm rot="5400000">
              <a:off x="11802481" y="983449"/>
              <a:ext cx="228600" cy="221254"/>
            </a:xfrm>
            <a:prstGeom prst="round2SameRect">
              <a:avLst>
                <a:gd name="adj1" fmla="val 0"/>
                <a:gd name="adj2" fmla="val 50000"/>
              </a:avLst>
            </a:prstGeom>
            <a:solidFill>
              <a:schemeClr val="tx2"/>
            </a:solidFill>
            <a:ln w="9525">
              <a:noFill/>
            </a:ln>
            <a:effectLst>
              <a:innerShdw blurRad="63500" dist="25400" dir="5400000">
                <a:prstClr val="black">
                  <a:alpha val="32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2DF6D206-C4B9-4283-A973-5C5E7750887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843840" y="1010005"/>
              <a:ext cx="155448" cy="155448"/>
            </a:xfrm>
            <a:prstGeom prst="rect">
              <a:avLst/>
            </a:prstGeom>
          </p:spPr>
        </p:pic>
      </p:grp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7B4F7263-7D3E-43F3-96B0-D8B6BD2068F6}"/>
              </a:ext>
            </a:extLst>
          </p:cNvPr>
          <p:cNvSpPr/>
          <p:nvPr userDrawn="1"/>
        </p:nvSpPr>
        <p:spPr>
          <a:xfrm>
            <a:off x="558654" y="706397"/>
            <a:ext cx="4983452" cy="977900"/>
          </a:xfrm>
          <a:prstGeom prst="roundRect">
            <a:avLst>
              <a:gd name="adj" fmla="val 50000"/>
            </a:avLst>
          </a:prstGeom>
          <a:solidFill>
            <a:schemeClr val="bg1">
              <a:alpha val="39000"/>
            </a:schemeClr>
          </a:solidFill>
          <a:ln w="190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293027" y="552617"/>
            <a:ext cx="9385073" cy="1304513"/>
          </a:xfrm>
        </p:spPr>
        <p:txBody>
          <a:bodyPr anchor="ctr">
            <a:noAutofit/>
          </a:bodyPr>
          <a:lstStyle>
            <a:lvl1pPr algn="l">
              <a:defRPr sz="3999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Freeform 21">
            <a:extLst>
              <a:ext uri="{FF2B5EF4-FFF2-40B4-BE49-F238E27FC236}">
                <a16:creationId xmlns:a16="http://schemas.microsoft.com/office/drawing/2014/main" id="{5D903035-2E15-47C5-A201-D28A1669FE6D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899655" y="854083"/>
            <a:ext cx="626599" cy="679783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18" name="Picture 17" descr="Logo&#10;&#10;Description automatically generated">
            <a:extLst>
              <a:ext uri="{FF2B5EF4-FFF2-40B4-BE49-F238E27FC236}">
                <a16:creationId xmlns:a16="http://schemas.microsoft.com/office/drawing/2014/main" id="{6EA8C209-8738-49F8-A30B-C946B36284F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32883" y="6120714"/>
            <a:ext cx="1017656" cy="420241"/>
          </a:xfrm>
          <a:prstGeom prst="rect">
            <a:avLst/>
          </a:prstGeom>
        </p:spPr>
      </p:pic>
      <p:sp>
        <p:nvSpPr>
          <p:cNvPr id="20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AF09D07C-017F-403D-BFF8-B3B1D4BB95D1}"/>
              </a:ext>
            </a:extLst>
          </p:cNvPr>
          <p:cNvSpPr/>
          <p:nvPr userDrawn="1"/>
        </p:nvSpPr>
        <p:spPr>
          <a:xfrm rot="5400000">
            <a:off x="11809682" y="871594"/>
            <a:ext cx="320468" cy="437817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4277040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E87F15BE-164B-442E-A210-EE21F3EA6CCE}"/>
              </a:ext>
            </a:extLst>
          </p:cNvPr>
          <p:cNvSpPr/>
          <p:nvPr userDrawn="1"/>
        </p:nvSpPr>
        <p:spPr>
          <a:xfrm>
            <a:off x="12069252" y="0"/>
            <a:ext cx="11957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B029B0A-0876-4E54-A238-F13CB43FCCC9}"/>
              </a:ext>
            </a:extLst>
          </p:cNvPr>
          <p:cNvSpPr/>
          <p:nvPr userDrawn="1"/>
        </p:nvSpPr>
        <p:spPr>
          <a:xfrm>
            <a:off x="12024276" y="0"/>
            <a:ext cx="549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881C4D7-63C6-488F-B714-6DA47E0212DD}"/>
              </a:ext>
            </a:extLst>
          </p:cNvPr>
          <p:cNvSpPr/>
          <p:nvPr userDrawn="1"/>
        </p:nvSpPr>
        <p:spPr>
          <a:xfrm>
            <a:off x="10616820" y="753814"/>
            <a:ext cx="1572006" cy="610418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37000"/>
                </a:schemeClr>
              </a:gs>
              <a:gs pos="15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3C59B-8D06-4532-B229-126DE2169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Round Same-side Corner of Rectangle 79">
            <a:extLst>
              <a:ext uri="{FF2B5EF4-FFF2-40B4-BE49-F238E27FC236}">
                <a16:creationId xmlns:a16="http://schemas.microsoft.com/office/drawing/2014/main" id="{B053A3D1-00EC-4B64-BF76-B324A2F5D7F2}"/>
              </a:ext>
            </a:extLst>
          </p:cNvPr>
          <p:cNvSpPr/>
          <p:nvPr userDrawn="1"/>
        </p:nvSpPr>
        <p:spPr>
          <a:xfrm rot="5400000">
            <a:off x="11223833" y="1876808"/>
            <a:ext cx="357978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tx2">
              <a:alpha val="2100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0" name="Content Placeholder 2">
            <a:extLst>
              <a:ext uri="{FF2B5EF4-FFF2-40B4-BE49-F238E27FC236}">
                <a16:creationId xmlns:a16="http://schemas.microsoft.com/office/drawing/2014/main" id="{18C523DF-B1F6-4590-AE63-AB5B485A30B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6706" y="918349"/>
            <a:ext cx="9963591" cy="5673283"/>
          </a:xfrm>
        </p:spPr>
        <p:txBody>
          <a:bodyPr/>
          <a:lstStyle>
            <a:lvl1pPr marL="0" indent="0">
              <a:spcBef>
                <a:spcPts val="1200"/>
              </a:spcBef>
              <a:buFontTx/>
              <a:buNone/>
              <a:defRPr sz="1799" b="1">
                <a:solidFill>
                  <a:schemeClr val="accent1">
                    <a:lumMod val="75000"/>
                  </a:schemeClr>
                </a:solidFill>
              </a:defRPr>
            </a:lvl1pPr>
            <a:lvl2pPr marL="171399" indent="-171399">
              <a:spcBef>
                <a:spcPts val="600"/>
              </a:spcBef>
              <a:buFont typeface="+mj-lt"/>
              <a:buAutoNum type="arabicPeriod"/>
              <a:defRPr sz="1050"/>
            </a:lvl2pPr>
            <a:lvl3pPr marL="512609" indent="-171399">
              <a:spcBef>
                <a:spcPts val="600"/>
              </a:spcBef>
              <a:buFont typeface="Arial" panose="020B0604020202020204" pitchFamily="34" charset="0"/>
              <a:buChar char="•"/>
              <a:defRPr sz="1000"/>
            </a:lvl3pPr>
            <a:lvl4pPr marL="798273" indent="-169812">
              <a:spcBef>
                <a:spcPts val="400"/>
              </a:spcBef>
              <a:defRPr sz="900"/>
            </a:lvl4pPr>
            <a:lvl5pPr marL="1144245" indent="-115853">
              <a:spcBef>
                <a:spcPts val="200"/>
              </a:spcBef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2AFDDF88-6A10-4E07-9687-0E538E73D8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5" name="TextBox 24">
            <a:hlinkClick r:id="" action="ppaction://noaction"/>
            <a:extLst>
              <a:ext uri="{FF2B5EF4-FFF2-40B4-BE49-F238E27FC236}">
                <a16:creationId xmlns:a16="http://schemas.microsoft.com/office/drawing/2014/main" id="{5515DED4-7336-491F-A6AE-0839FCA07D69}"/>
              </a:ext>
            </a:extLst>
          </p:cNvPr>
          <p:cNvSpPr txBox="1"/>
          <p:nvPr userDrawn="1"/>
        </p:nvSpPr>
        <p:spPr>
          <a:xfrm>
            <a:off x="10870858" y="1501905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26" name="Round Same-side Corner of Rectangle 79">
            <a:extLst>
              <a:ext uri="{FF2B5EF4-FFF2-40B4-BE49-F238E27FC236}">
                <a16:creationId xmlns:a16="http://schemas.microsoft.com/office/drawing/2014/main" id="{B383C82D-702D-49E7-8A0E-2579821FD193}"/>
              </a:ext>
            </a:extLst>
          </p:cNvPr>
          <p:cNvSpPr/>
          <p:nvPr userDrawn="1"/>
        </p:nvSpPr>
        <p:spPr>
          <a:xfrm rot="5400000">
            <a:off x="10618278" y="1460556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7" name="TextBox 26">
            <a:hlinkClick r:id="" action="ppaction://noaction"/>
            <a:extLst>
              <a:ext uri="{FF2B5EF4-FFF2-40B4-BE49-F238E27FC236}">
                <a16:creationId xmlns:a16="http://schemas.microsoft.com/office/drawing/2014/main" id="{77AFD66C-E57F-4CA3-BF6D-E1A9229F126B}"/>
              </a:ext>
            </a:extLst>
          </p:cNvPr>
          <p:cNvSpPr txBox="1"/>
          <p:nvPr userDrawn="1"/>
        </p:nvSpPr>
        <p:spPr>
          <a:xfrm>
            <a:off x="10870645" y="1073535"/>
            <a:ext cx="1188410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>
                <a:solidFill>
                  <a:schemeClr val="tx1"/>
                </a:solidFill>
              </a:rPr>
              <a:t>Introduction and </a:t>
            </a:r>
            <a:br>
              <a:rPr lang="en-GB" sz="1000" b="0">
                <a:solidFill>
                  <a:schemeClr val="tx1"/>
                </a:solidFill>
              </a:rPr>
            </a:br>
            <a:r>
              <a:rPr lang="en-GB" sz="1000" b="0">
                <a:solidFill>
                  <a:schemeClr val="tx1"/>
                </a:solidFill>
              </a:rPr>
              <a:t>instructions for use</a:t>
            </a:r>
          </a:p>
        </p:txBody>
      </p:sp>
      <p:sp>
        <p:nvSpPr>
          <p:cNvPr id="28" name="Round Same-side Corner of Rectangle 79">
            <a:extLst>
              <a:ext uri="{FF2B5EF4-FFF2-40B4-BE49-F238E27FC236}">
                <a16:creationId xmlns:a16="http://schemas.microsoft.com/office/drawing/2014/main" id="{44489E23-F6AF-4BEA-BAD3-010A5D9CE09C}"/>
              </a:ext>
            </a:extLst>
          </p:cNvPr>
          <p:cNvSpPr/>
          <p:nvPr userDrawn="1"/>
        </p:nvSpPr>
        <p:spPr>
          <a:xfrm rot="5400000">
            <a:off x="10618065" y="1101435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9" name="Round Same-side Corner of Rectangle 79">
            <a:extLst>
              <a:ext uri="{FF2B5EF4-FFF2-40B4-BE49-F238E27FC236}">
                <a16:creationId xmlns:a16="http://schemas.microsoft.com/office/drawing/2014/main" id="{4D6D822A-3868-44BD-BD6B-31F220820701}"/>
              </a:ext>
            </a:extLst>
          </p:cNvPr>
          <p:cNvSpPr/>
          <p:nvPr userDrawn="1"/>
        </p:nvSpPr>
        <p:spPr>
          <a:xfrm rot="5400000">
            <a:off x="10613117" y="1819454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0" name="TextBox 29">
            <a:hlinkClick r:id="" action="ppaction://noaction"/>
            <a:extLst>
              <a:ext uri="{FF2B5EF4-FFF2-40B4-BE49-F238E27FC236}">
                <a16:creationId xmlns:a16="http://schemas.microsoft.com/office/drawing/2014/main" id="{0AED0FF2-5799-456D-93DD-960D860DEABE}"/>
              </a:ext>
            </a:extLst>
          </p:cNvPr>
          <p:cNvSpPr txBox="1"/>
          <p:nvPr userDrawn="1"/>
        </p:nvSpPr>
        <p:spPr>
          <a:xfrm>
            <a:off x="10870644" y="1860803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ppendix</a:t>
            </a:r>
          </a:p>
        </p:txBody>
      </p:sp>
      <p:sp>
        <p:nvSpPr>
          <p:cNvPr id="31" name="Round Same-side Corner of Rectangle 79">
            <a:extLst>
              <a:ext uri="{FF2B5EF4-FFF2-40B4-BE49-F238E27FC236}">
                <a16:creationId xmlns:a16="http://schemas.microsoft.com/office/drawing/2014/main" id="{B3A37D8F-E80E-4E55-A04F-6B774AEDCC2A}"/>
              </a:ext>
            </a:extLst>
          </p:cNvPr>
          <p:cNvSpPr/>
          <p:nvPr userDrawn="1"/>
        </p:nvSpPr>
        <p:spPr>
          <a:xfrm rot="5400000">
            <a:off x="10613117" y="2180288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2" name="TextBox 31">
            <a:hlinkClick r:id="" action="ppaction://noaction"/>
            <a:extLst>
              <a:ext uri="{FF2B5EF4-FFF2-40B4-BE49-F238E27FC236}">
                <a16:creationId xmlns:a16="http://schemas.microsoft.com/office/drawing/2014/main" id="{45E4603E-214B-44C8-B7DA-48861F665902}"/>
              </a:ext>
            </a:extLst>
          </p:cNvPr>
          <p:cNvSpPr txBox="1"/>
          <p:nvPr userDrawn="1"/>
        </p:nvSpPr>
        <p:spPr>
          <a:xfrm>
            <a:off x="10870644" y="2221637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Abbreviations</a:t>
            </a:r>
          </a:p>
        </p:txBody>
      </p:sp>
      <p:sp>
        <p:nvSpPr>
          <p:cNvPr id="33" name="Freeform 5">
            <a:extLst>
              <a:ext uri="{FF2B5EF4-FFF2-40B4-BE49-F238E27FC236}">
                <a16:creationId xmlns:a16="http://schemas.microsoft.com/office/drawing/2014/main" id="{5E0ADBCB-E05D-4DEF-8104-3171F79AEFFD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42881" y="1133323"/>
            <a:ext cx="150749" cy="147562"/>
          </a:xfrm>
          <a:custGeom>
            <a:avLst/>
            <a:gdLst>
              <a:gd name="T0" fmla="*/ 813 w 1025"/>
              <a:gd name="T1" fmla="*/ 729 h 1003"/>
              <a:gd name="T2" fmla="*/ 796 w 1025"/>
              <a:gd name="T3" fmla="*/ 544 h 1003"/>
              <a:gd name="T4" fmla="*/ 828 w 1025"/>
              <a:gd name="T5" fmla="*/ 487 h 1003"/>
              <a:gd name="T6" fmla="*/ 1025 w 1025"/>
              <a:gd name="T7" fmla="*/ 415 h 1003"/>
              <a:gd name="T8" fmla="*/ 801 w 1025"/>
              <a:gd name="T9" fmla="*/ 415 h 1003"/>
              <a:gd name="T10" fmla="*/ 766 w 1025"/>
              <a:gd name="T11" fmla="*/ 443 h 1003"/>
              <a:gd name="T12" fmla="*/ 739 w 1025"/>
              <a:gd name="T13" fmla="*/ 258 h 1003"/>
              <a:gd name="T14" fmla="*/ 875 w 1025"/>
              <a:gd name="T15" fmla="*/ 129 h 1003"/>
              <a:gd name="T16" fmla="*/ 616 w 1025"/>
              <a:gd name="T17" fmla="*/ 129 h 1003"/>
              <a:gd name="T18" fmla="*/ 638 w 1025"/>
              <a:gd name="T19" fmla="*/ 363 h 1003"/>
              <a:gd name="T20" fmla="*/ 481 w 1025"/>
              <a:gd name="T21" fmla="*/ 418 h 1003"/>
              <a:gd name="T22" fmla="*/ 289 w 1025"/>
              <a:gd name="T23" fmla="*/ 258 h 1003"/>
              <a:gd name="T24" fmla="*/ 58 w 1025"/>
              <a:gd name="T25" fmla="*/ 258 h 1003"/>
              <a:gd name="T26" fmla="*/ 249 w 1025"/>
              <a:gd name="T27" fmla="*/ 346 h 1003"/>
              <a:gd name="T28" fmla="*/ 431 w 1025"/>
              <a:gd name="T29" fmla="*/ 544 h 1003"/>
              <a:gd name="T30" fmla="*/ 297 w 1025"/>
              <a:gd name="T31" fmla="*/ 709 h 1003"/>
              <a:gd name="T32" fmla="*/ 0 w 1025"/>
              <a:gd name="T33" fmla="*/ 828 h 1003"/>
              <a:gd name="T34" fmla="*/ 345 w 1025"/>
              <a:gd name="T35" fmla="*/ 828 h 1003"/>
              <a:gd name="T36" fmla="*/ 480 w 1025"/>
              <a:gd name="T37" fmla="*/ 669 h 1003"/>
              <a:gd name="T38" fmla="*/ 705 w 1025"/>
              <a:gd name="T39" fmla="*/ 701 h 1003"/>
              <a:gd name="T40" fmla="*/ 733 w 1025"/>
              <a:gd name="T41" fmla="*/ 858 h 1003"/>
              <a:gd name="T42" fmla="*/ 1024 w 1025"/>
              <a:gd name="T43" fmla="*/ 858 h 1003"/>
              <a:gd name="T44" fmla="*/ 913 w 1025"/>
              <a:gd name="T45" fmla="*/ 368 h 1003"/>
              <a:gd name="T46" fmla="*/ 913 w 1025"/>
              <a:gd name="T47" fmla="*/ 462 h 1003"/>
              <a:gd name="T48" fmla="*/ 913 w 1025"/>
              <a:gd name="T49" fmla="*/ 368 h 1003"/>
              <a:gd name="T50" fmla="*/ 809 w 1025"/>
              <a:gd name="T51" fmla="*/ 129 h 1003"/>
              <a:gd name="T52" fmla="*/ 681 w 1025"/>
              <a:gd name="T53" fmla="*/ 129 h 1003"/>
              <a:gd name="T54" fmla="*/ 174 w 1025"/>
              <a:gd name="T55" fmla="*/ 309 h 1003"/>
              <a:gd name="T56" fmla="*/ 174 w 1025"/>
              <a:gd name="T57" fmla="*/ 208 h 1003"/>
              <a:gd name="T58" fmla="*/ 174 w 1025"/>
              <a:gd name="T59" fmla="*/ 309 h 1003"/>
              <a:gd name="T60" fmla="*/ 65 w 1025"/>
              <a:gd name="T61" fmla="*/ 828 h 1003"/>
              <a:gd name="T62" fmla="*/ 280 w 1025"/>
              <a:gd name="T63" fmla="*/ 828 h 1003"/>
              <a:gd name="T64" fmla="*/ 496 w 1025"/>
              <a:gd name="T65" fmla="*/ 544 h 1003"/>
              <a:gd name="T66" fmla="*/ 731 w 1025"/>
              <a:gd name="T67" fmla="*/ 544 h 1003"/>
              <a:gd name="T68" fmla="*/ 496 w 1025"/>
              <a:gd name="T69" fmla="*/ 544 h 1003"/>
              <a:gd name="T70" fmla="*/ 798 w 1025"/>
              <a:gd name="T71" fmla="*/ 858 h 1003"/>
              <a:gd name="T72" fmla="*/ 959 w 1025"/>
              <a:gd name="T73" fmla="*/ 85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25" h="1003">
                <a:moveTo>
                  <a:pt x="879" y="712"/>
                </a:moveTo>
                <a:cubicBezTo>
                  <a:pt x="855" y="712"/>
                  <a:pt x="833" y="719"/>
                  <a:pt x="813" y="729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80" y="627"/>
                  <a:pt x="796" y="588"/>
                  <a:pt x="796" y="544"/>
                </a:cubicBezTo>
                <a:cubicBezTo>
                  <a:pt x="796" y="530"/>
                  <a:pt x="794" y="516"/>
                  <a:pt x="791" y="503"/>
                </a:cubicBezTo>
                <a:cubicBezTo>
                  <a:pt x="828" y="487"/>
                  <a:pt x="828" y="487"/>
                  <a:pt x="828" y="487"/>
                </a:cubicBezTo>
                <a:cubicBezTo>
                  <a:pt x="849" y="511"/>
                  <a:pt x="879" y="527"/>
                  <a:pt x="913" y="527"/>
                </a:cubicBezTo>
                <a:cubicBezTo>
                  <a:pt x="975" y="527"/>
                  <a:pt x="1025" y="477"/>
                  <a:pt x="1025" y="415"/>
                </a:cubicBezTo>
                <a:cubicBezTo>
                  <a:pt x="1025" y="353"/>
                  <a:pt x="975" y="303"/>
                  <a:pt x="913" y="303"/>
                </a:cubicBezTo>
                <a:cubicBezTo>
                  <a:pt x="851" y="303"/>
                  <a:pt x="801" y="353"/>
                  <a:pt x="801" y="415"/>
                </a:cubicBezTo>
                <a:cubicBezTo>
                  <a:pt x="801" y="419"/>
                  <a:pt x="802" y="423"/>
                  <a:pt x="803" y="427"/>
                </a:cubicBezTo>
                <a:cubicBezTo>
                  <a:pt x="766" y="443"/>
                  <a:pt x="766" y="443"/>
                  <a:pt x="766" y="443"/>
                </a:cubicBezTo>
                <a:cubicBezTo>
                  <a:pt x="749" y="418"/>
                  <a:pt x="726" y="398"/>
                  <a:pt x="700" y="384"/>
                </a:cubicBezTo>
                <a:cubicBezTo>
                  <a:pt x="739" y="258"/>
                  <a:pt x="739" y="258"/>
                  <a:pt x="739" y="258"/>
                </a:cubicBezTo>
                <a:cubicBezTo>
                  <a:pt x="741" y="258"/>
                  <a:pt x="743" y="258"/>
                  <a:pt x="745" y="258"/>
                </a:cubicBezTo>
                <a:cubicBezTo>
                  <a:pt x="817" y="258"/>
                  <a:pt x="875" y="201"/>
                  <a:pt x="875" y="129"/>
                </a:cubicBezTo>
                <a:cubicBezTo>
                  <a:pt x="875" y="58"/>
                  <a:pt x="817" y="0"/>
                  <a:pt x="745" y="0"/>
                </a:cubicBezTo>
                <a:cubicBezTo>
                  <a:pt x="674" y="0"/>
                  <a:pt x="616" y="58"/>
                  <a:pt x="616" y="129"/>
                </a:cubicBezTo>
                <a:cubicBezTo>
                  <a:pt x="616" y="175"/>
                  <a:pt x="641" y="216"/>
                  <a:pt x="677" y="238"/>
                </a:cubicBezTo>
                <a:cubicBezTo>
                  <a:pt x="638" y="363"/>
                  <a:pt x="638" y="363"/>
                  <a:pt x="638" y="363"/>
                </a:cubicBezTo>
                <a:cubicBezTo>
                  <a:pt x="630" y="362"/>
                  <a:pt x="622" y="361"/>
                  <a:pt x="613" y="361"/>
                </a:cubicBezTo>
                <a:cubicBezTo>
                  <a:pt x="561" y="361"/>
                  <a:pt x="515" y="383"/>
                  <a:pt x="481" y="418"/>
                </a:cubicBezTo>
                <a:cubicBezTo>
                  <a:pt x="284" y="291"/>
                  <a:pt x="284" y="291"/>
                  <a:pt x="284" y="291"/>
                </a:cubicBezTo>
                <a:cubicBezTo>
                  <a:pt x="287" y="280"/>
                  <a:pt x="289" y="270"/>
                  <a:pt x="289" y="258"/>
                </a:cubicBezTo>
                <a:cubicBezTo>
                  <a:pt x="289" y="194"/>
                  <a:pt x="237" y="143"/>
                  <a:pt x="174" y="143"/>
                </a:cubicBezTo>
                <a:cubicBezTo>
                  <a:pt x="110" y="143"/>
                  <a:pt x="58" y="194"/>
                  <a:pt x="58" y="258"/>
                </a:cubicBezTo>
                <a:cubicBezTo>
                  <a:pt x="58" y="322"/>
                  <a:pt x="110" y="374"/>
                  <a:pt x="174" y="374"/>
                </a:cubicBezTo>
                <a:cubicBezTo>
                  <a:pt x="202" y="374"/>
                  <a:pt x="229" y="363"/>
                  <a:pt x="249" y="346"/>
                </a:cubicBezTo>
                <a:cubicBezTo>
                  <a:pt x="445" y="472"/>
                  <a:pt x="445" y="472"/>
                  <a:pt x="445" y="472"/>
                </a:cubicBezTo>
                <a:cubicBezTo>
                  <a:pt x="436" y="494"/>
                  <a:pt x="431" y="518"/>
                  <a:pt x="431" y="544"/>
                </a:cubicBezTo>
                <a:cubicBezTo>
                  <a:pt x="431" y="569"/>
                  <a:pt x="436" y="593"/>
                  <a:pt x="445" y="614"/>
                </a:cubicBezTo>
                <a:cubicBezTo>
                  <a:pt x="297" y="709"/>
                  <a:pt x="297" y="709"/>
                  <a:pt x="297" y="709"/>
                </a:cubicBezTo>
                <a:cubicBezTo>
                  <a:pt x="266" y="676"/>
                  <a:pt x="222" y="656"/>
                  <a:pt x="172" y="656"/>
                </a:cubicBezTo>
                <a:cubicBezTo>
                  <a:pt x="77" y="656"/>
                  <a:pt x="0" y="733"/>
                  <a:pt x="0" y="828"/>
                </a:cubicBezTo>
                <a:cubicBezTo>
                  <a:pt x="0" y="924"/>
                  <a:pt x="77" y="1001"/>
                  <a:pt x="172" y="1001"/>
                </a:cubicBezTo>
                <a:cubicBezTo>
                  <a:pt x="268" y="1001"/>
                  <a:pt x="345" y="924"/>
                  <a:pt x="345" y="828"/>
                </a:cubicBezTo>
                <a:cubicBezTo>
                  <a:pt x="345" y="806"/>
                  <a:pt x="341" y="784"/>
                  <a:pt x="333" y="764"/>
                </a:cubicBezTo>
                <a:cubicBezTo>
                  <a:pt x="480" y="669"/>
                  <a:pt x="480" y="669"/>
                  <a:pt x="480" y="669"/>
                </a:cubicBezTo>
                <a:cubicBezTo>
                  <a:pt x="514" y="704"/>
                  <a:pt x="561" y="727"/>
                  <a:pt x="613" y="727"/>
                </a:cubicBezTo>
                <a:cubicBezTo>
                  <a:pt x="647" y="727"/>
                  <a:pt x="678" y="717"/>
                  <a:pt x="705" y="701"/>
                </a:cubicBezTo>
                <a:cubicBezTo>
                  <a:pt x="763" y="770"/>
                  <a:pt x="763" y="770"/>
                  <a:pt x="763" y="770"/>
                </a:cubicBezTo>
                <a:cubicBezTo>
                  <a:pt x="745" y="795"/>
                  <a:pt x="733" y="825"/>
                  <a:pt x="733" y="858"/>
                </a:cubicBezTo>
                <a:cubicBezTo>
                  <a:pt x="733" y="938"/>
                  <a:pt x="798" y="1003"/>
                  <a:pt x="879" y="1003"/>
                </a:cubicBezTo>
                <a:cubicBezTo>
                  <a:pt x="959" y="1003"/>
                  <a:pt x="1024" y="938"/>
                  <a:pt x="1024" y="858"/>
                </a:cubicBezTo>
                <a:cubicBezTo>
                  <a:pt x="1024" y="777"/>
                  <a:pt x="959" y="712"/>
                  <a:pt x="879" y="712"/>
                </a:cubicBezTo>
                <a:close/>
                <a:moveTo>
                  <a:pt x="913" y="368"/>
                </a:moveTo>
                <a:cubicBezTo>
                  <a:pt x="939" y="368"/>
                  <a:pt x="960" y="389"/>
                  <a:pt x="960" y="415"/>
                </a:cubicBezTo>
                <a:cubicBezTo>
                  <a:pt x="960" y="441"/>
                  <a:pt x="939" y="462"/>
                  <a:pt x="913" y="462"/>
                </a:cubicBezTo>
                <a:cubicBezTo>
                  <a:pt x="887" y="462"/>
                  <a:pt x="866" y="441"/>
                  <a:pt x="866" y="415"/>
                </a:cubicBezTo>
                <a:cubicBezTo>
                  <a:pt x="866" y="389"/>
                  <a:pt x="887" y="368"/>
                  <a:pt x="913" y="368"/>
                </a:cubicBezTo>
                <a:close/>
                <a:moveTo>
                  <a:pt x="745" y="65"/>
                </a:moveTo>
                <a:cubicBezTo>
                  <a:pt x="781" y="65"/>
                  <a:pt x="809" y="94"/>
                  <a:pt x="809" y="129"/>
                </a:cubicBezTo>
                <a:cubicBezTo>
                  <a:pt x="809" y="165"/>
                  <a:pt x="781" y="193"/>
                  <a:pt x="745" y="193"/>
                </a:cubicBezTo>
                <a:cubicBezTo>
                  <a:pt x="710" y="193"/>
                  <a:pt x="681" y="165"/>
                  <a:pt x="681" y="129"/>
                </a:cubicBezTo>
                <a:cubicBezTo>
                  <a:pt x="681" y="94"/>
                  <a:pt x="710" y="65"/>
                  <a:pt x="745" y="65"/>
                </a:cubicBezTo>
                <a:close/>
                <a:moveTo>
                  <a:pt x="174" y="309"/>
                </a:moveTo>
                <a:cubicBezTo>
                  <a:pt x="145" y="309"/>
                  <a:pt x="123" y="286"/>
                  <a:pt x="123" y="258"/>
                </a:cubicBezTo>
                <a:cubicBezTo>
                  <a:pt x="123" y="230"/>
                  <a:pt x="145" y="208"/>
                  <a:pt x="174" y="208"/>
                </a:cubicBezTo>
                <a:cubicBezTo>
                  <a:pt x="201" y="208"/>
                  <a:pt x="224" y="230"/>
                  <a:pt x="224" y="258"/>
                </a:cubicBezTo>
                <a:cubicBezTo>
                  <a:pt x="224" y="286"/>
                  <a:pt x="201" y="309"/>
                  <a:pt x="174" y="309"/>
                </a:cubicBezTo>
                <a:close/>
                <a:moveTo>
                  <a:pt x="173" y="936"/>
                </a:moveTo>
                <a:cubicBezTo>
                  <a:pt x="113" y="936"/>
                  <a:pt x="65" y="888"/>
                  <a:pt x="65" y="828"/>
                </a:cubicBezTo>
                <a:cubicBezTo>
                  <a:pt x="65" y="769"/>
                  <a:pt x="113" y="721"/>
                  <a:pt x="173" y="721"/>
                </a:cubicBezTo>
                <a:cubicBezTo>
                  <a:pt x="232" y="721"/>
                  <a:pt x="280" y="769"/>
                  <a:pt x="280" y="828"/>
                </a:cubicBezTo>
                <a:cubicBezTo>
                  <a:pt x="280" y="888"/>
                  <a:pt x="232" y="936"/>
                  <a:pt x="173" y="936"/>
                </a:cubicBezTo>
                <a:close/>
                <a:moveTo>
                  <a:pt x="496" y="544"/>
                </a:moveTo>
                <a:cubicBezTo>
                  <a:pt x="496" y="479"/>
                  <a:pt x="549" y="426"/>
                  <a:pt x="613" y="426"/>
                </a:cubicBezTo>
                <a:cubicBezTo>
                  <a:pt x="678" y="426"/>
                  <a:pt x="731" y="479"/>
                  <a:pt x="731" y="544"/>
                </a:cubicBezTo>
                <a:cubicBezTo>
                  <a:pt x="731" y="609"/>
                  <a:pt x="678" y="662"/>
                  <a:pt x="613" y="662"/>
                </a:cubicBezTo>
                <a:cubicBezTo>
                  <a:pt x="549" y="662"/>
                  <a:pt x="496" y="609"/>
                  <a:pt x="496" y="544"/>
                </a:cubicBezTo>
                <a:close/>
                <a:moveTo>
                  <a:pt x="879" y="938"/>
                </a:moveTo>
                <a:cubicBezTo>
                  <a:pt x="834" y="938"/>
                  <a:pt x="798" y="902"/>
                  <a:pt x="798" y="858"/>
                </a:cubicBezTo>
                <a:cubicBezTo>
                  <a:pt x="798" y="813"/>
                  <a:pt x="834" y="777"/>
                  <a:pt x="879" y="777"/>
                </a:cubicBezTo>
                <a:cubicBezTo>
                  <a:pt x="923" y="777"/>
                  <a:pt x="959" y="813"/>
                  <a:pt x="959" y="858"/>
                </a:cubicBezTo>
                <a:cubicBezTo>
                  <a:pt x="959" y="902"/>
                  <a:pt x="923" y="938"/>
                  <a:pt x="879" y="93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70FB591B-EA80-42BD-AA63-3820CC0D8C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806" y="1487083"/>
            <a:ext cx="155408" cy="155448"/>
          </a:xfrm>
          <a:prstGeom prst="rect">
            <a:avLst/>
          </a:prstGeom>
        </p:spPr>
      </p:pic>
      <p:sp>
        <p:nvSpPr>
          <p:cNvPr id="35" name="Freeform 25">
            <a:extLst>
              <a:ext uri="{FF2B5EF4-FFF2-40B4-BE49-F238E27FC236}">
                <a16:creationId xmlns:a16="http://schemas.microsoft.com/office/drawing/2014/main" id="{CCC56BC0-4D6C-4CEF-AAE7-91CF0FEBDE15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57446" y="1859118"/>
            <a:ext cx="120798" cy="134093"/>
          </a:xfrm>
          <a:custGeom>
            <a:avLst/>
            <a:gdLst>
              <a:gd name="T0" fmla="*/ 750 w 847"/>
              <a:gd name="T1" fmla="*/ 99 h 940"/>
              <a:gd name="T2" fmla="*/ 400 w 847"/>
              <a:gd name="T3" fmla="*/ 99 h 940"/>
              <a:gd name="T4" fmla="*/ 30 w 847"/>
              <a:gd name="T5" fmla="*/ 468 h 940"/>
              <a:gd name="T6" fmla="*/ 30 w 847"/>
              <a:gd name="T7" fmla="*/ 525 h 940"/>
              <a:gd name="T8" fmla="*/ 87 w 847"/>
              <a:gd name="T9" fmla="*/ 525 h 940"/>
              <a:gd name="T10" fmla="*/ 456 w 847"/>
              <a:gd name="T11" fmla="*/ 155 h 940"/>
              <a:gd name="T12" fmla="*/ 694 w 847"/>
              <a:gd name="T13" fmla="*/ 155 h 940"/>
              <a:gd name="T14" fmla="*/ 694 w 847"/>
              <a:gd name="T15" fmla="*/ 392 h 940"/>
              <a:gd name="T16" fmla="*/ 274 w 847"/>
              <a:gd name="T17" fmla="*/ 811 h 940"/>
              <a:gd name="T18" fmla="*/ 128 w 847"/>
              <a:gd name="T19" fmla="*/ 811 h 940"/>
              <a:gd name="T20" fmla="*/ 128 w 847"/>
              <a:gd name="T21" fmla="*/ 665 h 940"/>
              <a:gd name="T22" fmla="*/ 474 w 847"/>
              <a:gd name="T23" fmla="*/ 317 h 940"/>
              <a:gd name="T24" fmla="*/ 530 w 847"/>
              <a:gd name="T25" fmla="*/ 319 h 940"/>
              <a:gd name="T26" fmla="*/ 532 w 847"/>
              <a:gd name="T27" fmla="*/ 376 h 940"/>
              <a:gd name="T28" fmla="*/ 235 w 847"/>
              <a:gd name="T29" fmla="*/ 673 h 940"/>
              <a:gd name="T30" fmla="*/ 235 w 847"/>
              <a:gd name="T31" fmla="*/ 729 h 940"/>
              <a:gd name="T32" fmla="*/ 291 w 847"/>
              <a:gd name="T33" fmla="*/ 729 h 940"/>
              <a:gd name="T34" fmla="*/ 291 w 847"/>
              <a:gd name="T35" fmla="*/ 729 h 940"/>
              <a:gd name="T36" fmla="*/ 589 w 847"/>
              <a:gd name="T37" fmla="*/ 432 h 940"/>
              <a:gd name="T38" fmla="*/ 586 w 847"/>
              <a:gd name="T39" fmla="*/ 263 h 940"/>
              <a:gd name="T40" fmla="*/ 418 w 847"/>
              <a:gd name="T41" fmla="*/ 261 h 940"/>
              <a:gd name="T42" fmla="*/ 72 w 847"/>
              <a:gd name="T43" fmla="*/ 609 h 940"/>
              <a:gd name="T44" fmla="*/ 72 w 847"/>
              <a:gd name="T45" fmla="*/ 868 h 940"/>
              <a:gd name="T46" fmla="*/ 331 w 847"/>
              <a:gd name="T47" fmla="*/ 868 h 940"/>
              <a:gd name="T48" fmla="*/ 750 w 847"/>
              <a:gd name="T49" fmla="*/ 448 h 940"/>
              <a:gd name="T50" fmla="*/ 750 w 847"/>
              <a:gd name="T51" fmla="*/ 99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47" h="940">
                <a:moveTo>
                  <a:pt x="750" y="99"/>
                </a:moveTo>
                <a:cubicBezTo>
                  <a:pt x="652" y="0"/>
                  <a:pt x="496" y="2"/>
                  <a:pt x="400" y="99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15" y="484"/>
                  <a:pt x="15" y="509"/>
                  <a:pt x="30" y="525"/>
                </a:cubicBezTo>
                <a:cubicBezTo>
                  <a:pt x="46" y="540"/>
                  <a:pt x="71" y="540"/>
                  <a:pt x="87" y="525"/>
                </a:cubicBezTo>
                <a:cubicBezTo>
                  <a:pt x="456" y="155"/>
                  <a:pt x="456" y="155"/>
                  <a:pt x="456" y="155"/>
                </a:cubicBezTo>
                <a:cubicBezTo>
                  <a:pt x="521" y="90"/>
                  <a:pt x="626" y="88"/>
                  <a:pt x="694" y="155"/>
                </a:cubicBezTo>
                <a:cubicBezTo>
                  <a:pt x="761" y="222"/>
                  <a:pt x="759" y="327"/>
                  <a:pt x="694" y="392"/>
                </a:cubicBezTo>
                <a:cubicBezTo>
                  <a:pt x="576" y="510"/>
                  <a:pt x="669" y="417"/>
                  <a:pt x="274" y="811"/>
                </a:cubicBezTo>
                <a:cubicBezTo>
                  <a:pt x="234" y="852"/>
                  <a:pt x="170" y="853"/>
                  <a:pt x="128" y="811"/>
                </a:cubicBezTo>
                <a:cubicBezTo>
                  <a:pt x="87" y="770"/>
                  <a:pt x="87" y="706"/>
                  <a:pt x="128" y="665"/>
                </a:cubicBezTo>
                <a:cubicBezTo>
                  <a:pt x="474" y="317"/>
                  <a:pt x="474" y="317"/>
                  <a:pt x="474" y="317"/>
                </a:cubicBezTo>
                <a:cubicBezTo>
                  <a:pt x="489" y="302"/>
                  <a:pt x="513" y="302"/>
                  <a:pt x="530" y="319"/>
                </a:cubicBezTo>
                <a:cubicBezTo>
                  <a:pt x="547" y="337"/>
                  <a:pt x="547" y="361"/>
                  <a:pt x="532" y="376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19" y="689"/>
                  <a:pt x="219" y="714"/>
                  <a:pt x="235" y="729"/>
                </a:cubicBezTo>
                <a:cubicBezTo>
                  <a:pt x="251" y="745"/>
                  <a:pt x="276" y="745"/>
                  <a:pt x="291" y="729"/>
                </a:cubicBezTo>
                <a:cubicBezTo>
                  <a:pt x="291" y="729"/>
                  <a:pt x="291" y="729"/>
                  <a:pt x="291" y="729"/>
                </a:cubicBezTo>
                <a:cubicBezTo>
                  <a:pt x="589" y="432"/>
                  <a:pt x="589" y="432"/>
                  <a:pt x="589" y="432"/>
                </a:cubicBezTo>
                <a:cubicBezTo>
                  <a:pt x="635" y="386"/>
                  <a:pt x="634" y="311"/>
                  <a:pt x="586" y="263"/>
                </a:cubicBezTo>
                <a:cubicBezTo>
                  <a:pt x="539" y="215"/>
                  <a:pt x="464" y="215"/>
                  <a:pt x="418" y="261"/>
                </a:cubicBezTo>
                <a:cubicBezTo>
                  <a:pt x="72" y="609"/>
                  <a:pt x="72" y="609"/>
                  <a:pt x="72" y="609"/>
                </a:cubicBezTo>
                <a:cubicBezTo>
                  <a:pt x="0" y="681"/>
                  <a:pt x="0" y="796"/>
                  <a:pt x="72" y="868"/>
                </a:cubicBezTo>
                <a:cubicBezTo>
                  <a:pt x="144" y="940"/>
                  <a:pt x="259" y="939"/>
                  <a:pt x="331" y="868"/>
                </a:cubicBezTo>
                <a:cubicBezTo>
                  <a:pt x="724" y="475"/>
                  <a:pt x="632" y="566"/>
                  <a:pt x="750" y="448"/>
                </a:cubicBezTo>
                <a:cubicBezTo>
                  <a:pt x="847" y="351"/>
                  <a:pt x="847" y="196"/>
                  <a:pt x="750" y="9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36" name="Round Same-side Corner of Rectangle 79">
            <a:extLst>
              <a:ext uri="{FF2B5EF4-FFF2-40B4-BE49-F238E27FC236}">
                <a16:creationId xmlns:a16="http://schemas.microsoft.com/office/drawing/2014/main" id="{A52C452F-83AC-4663-BFF0-09434F8259FE}"/>
              </a:ext>
            </a:extLst>
          </p:cNvPr>
          <p:cNvSpPr/>
          <p:nvPr userDrawn="1"/>
        </p:nvSpPr>
        <p:spPr>
          <a:xfrm rot="5400000">
            <a:off x="10615976" y="2552213"/>
            <a:ext cx="228600" cy="2211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7" name="TextBox 36">
            <a:hlinkClick r:id="" action="ppaction://noaction"/>
            <a:extLst>
              <a:ext uri="{FF2B5EF4-FFF2-40B4-BE49-F238E27FC236}">
                <a16:creationId xmlns:a16="http://schemas.microsoft.com/office/drawing/2014/main" id="{DD8EAE57-BC74-47E6-9405-1B787B333721}"/>
              </a:ext>
            </a:extLst>
          </p:cNvPr>
          <p:cNvSpPr txBox="1"/>
          <p:nvPr userDrawn="1"/>
        </p:nvSpPr>
        <p:spPr>
          <a:xfrm>
            <a:off x="10873503" y="2593562"/>
            <a:ext cx="1188410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 b="0"/>
              <a:t>References</a:t>
            </a:r>
          </a:p>
        </p:txBody>
      </p:sp>
      <p:sp>
        <p:nvSpPr>
          <p:cNvPr id="38" name="Freeform 21">
            <a:extLst>
              <a:ext uri="{FF2B5EF4-FFF2-40B4-BE49-F238E27FC236}">
                <a16:creationId xmlns:a16="http://schemas.microsoft.com/office/drawing/2014/main" id="{EF3977FA-FD3F-4B7E-997D-C4FD7DBBC261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663825" y="2601787"/>
            <a:ext cx="113595" cy="123237"/>
          </a:xfrm>
          <a:custGeom>
            <a:avLst/>
            <a:gdLst>
              <a:gd name="T0" fmla="*/ 823 w 885"/>
              <a:gd name="T1" fmla="*/ 589 h 960"/>
              <a:gd name="T2" fmla="*/ 634 w 885"/>
              <a:gd name="T3" fmla="*/ 480 h 960"/>
              <a:gd name="T4" fmla="*/ 823 w 885"/>
              <a:gd name="T5" fmla="*/ 371 h 960"/>
              <a:gd name="T6" fmla="*/ 858 w 885"/>
              <a:gd name="T7" fmla="*/ 240 h 960"/>
              <a:gd name="T8" fmla="*/ 727 w 885"/>
              <a:gd name="T9" fmla="*/ 205 h 960"/>
              <a:gd name="T10" fmla="*/ 538 w 885"/>
              <a:gd name="T11" fmla="*/ 313 h 960"/>
              <a:gd name="T12" fmla="*/ 538 w 885"/>
              <a:gd name="T13" fmla="*/ 96 h 960"/>
              <a:gd name="T14" fmla="*/ 442 w 885"/>
              <a:gd name="T15" fmla="*/ 0 h 960"/>
              <a:gd name="T16" fmla="*/ 346 w 885"/>
              <a:gd name="T17" fmla="*/ 96 h 960"/>
              <a:gd name="T18" fmla="*/ 346 w 885"/>
              <a:gd name="T19" fmla="*/ 313 h 960"/>
              <a:gd name="T20" fmla="*/ 158 w 885"/>
              <a:gd name="T21" fmla="*/ 205 h 960"/>
              <a:gd name="T22" fmla="*/ 27 w 885"/>
              <a:gd name="T23" fmla="*/ 240 h 960"/>
              <a:gd name="T24" fmla="*/ 62 w 885"/>
              <a:gd name="T25" fmla="*/ 371 h 960"/>
              <a:gd name="T26" fmla="*/ 250 w 885"/>
              <a:gd name="T27" fmla="*/ 480 h 960"/>
              <a:gd name="T28" fmla="*/ 62 w 885"/>
              <a:gd name="T29" fmla="*/ 589 h 960"/>
              <a:gd name="T30" fmla="*/ 27 w 885"/>
              <a:gd name="T31" fmla="*/ 720 h 960"/>
              <a:gd name="T32" fmla="*/ 158 w 885"/>
              <a:gd name="T33" fmla="*/ 755 h 960"/>
              <a:gd name="T34" fmla="*/ 346 w 885"/>
              <a:gd name="T35" fmla="*/ 646 h 960"/>
              <a:gd name="T36" fmla="*/ 346 w 885"/>
              <a:gd name="T37" fmla="*/ 864 h 960"/>
              <a:gd name="T38" fmla="*/ 442 w 885"/>
              <a:gd name="T39" fmla="*/ 960 h 960"/>
              <a:gd name="T40" fmla="*/ 538 w 885"/>
              <a:gd name="T41" fmla="*/ 864 h 960"/>
              <a:gd name="T42" fmla="*/ 538 w 885"/>
              <a:gd name="T43" fmla="*/ 646 h 960"/>
              <a:gd name="T44" fmla="*/ 727 w 885"/>
              <a:gd name="T45" fmla="*/ 755 h 960"/>
              <a:gd name="T46" fmla="*/ 858 w 885"/>
              <a:gd name="T47" fmla="*/ 720 h 960"/>
              <a:gd name="T48" fmla="*/ 823 w 885"/>
              <a:gd name="T49" fmla="*/ 589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5" h="960">
                <a:moveTo>
                  <a:pt x="823" y="589"/>
                </a:moveTo>
                <a:cubicBezTo>
                  <a:pt x="634" y="480"/>
                  <a:pt x="634" y="480"/>
                  <a:pt x="634" y="480"/>
                </a:cubicBezTo>
                <a:cubicBezTo>
                  <a:pt x="823" y="371"/>
                  <a:pt x="823" y="371"/>
                  <a:pt x="823" y="371"/>
                </a:cubicBezTo>
                <a:cubicBezTo>
                  <a:pt x="869" y="344"/>
                  <a:pt x="885" y="286"/>
                  <a:pt x="858" y="240"/>
                </a:cubicBezTo>
                <a:cubicBezTo>
                  <a:pt x="832" y="194"/>
                  <a:pt x="773" y="178"/>
                  <a:pt x="727" y="205"/>
                </a:cubicBezTo>
                <a:cubicBezTo>
                  <a:pt x="538" y="313"/>
                  <a:pt x="538" y="313"/>
                  <a:pt x="538" y="313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8" y="43"/>
                  <a:pt x="495" y="0"/>
                  <a:pt x="442" y="0"/>
                </a:cubicBezTo>
                <a:cubicBezTo>
                  <a:pt x="389" y="0"/>
                  <a:pt x="346" y="43"/>
                  <a:pt x="346" y="96"/>
                </a:cubicBezTo>
                <a:cubicBezTo>
                  <a:pt x="346" y="313"/>
                  <a:pt x="346" y="313"/>
                  <a:pt x="346" y="313"/>
                </a:cubicBezTo>
                <a:cubicBezTo>
                  <a:pt x="158" y="205"/>
                  <a:pt x="158" y="205"/>
                  <a:pt x="158" y="205"/>
                </a:cubicBezTo>
                <a:cubicBezTo>
                  <a:pt x="112" y="178"/>
                  <a:pt x="53" y="194"/>
                  <a:pt x="27" y="240"/>
                </a:cubicBezTo>
                <a:cubicBezTo>
                  <a:pt x="0" y="286"/>
                  <a:pt x="16" y="344"/>
                  <a:pt x="62" y="371"/>
                </a:cubicBezTo>
                <a:cubicBezTo>
                  <a:pt x="250" y="480"/>
                  <a:pt x="250" y="480"/>
                  <a:pt x="250" y="480"/>
                </a:cubicBezTo>
                <a:cubicBezTo>
                  <a:pt x="62" y="589"/>
                  <a:pt x="62" y="589"/>
                  <a:pt x="62" y="589"/>
                </a:cubicBezTo>
                <a:cubicBezTo>
                  <a:pt x="16" y="615"/>
                  <a:pt x="0" y="674"/>
                  <a:pt x="27" y="720"/>
                </a:cubicBezTo>
                <a:cubicBezTo>
                  <a:pt x="53" y="766"/>
                  <a:pt x="112" y="781"/>
                  <a:pt x="158" y="755"/>
                </a:cubicBezTo>
                <a:cubicBezTo>
                  <a:pt x="346" y="646"/>
                  <a:pt x="346" y="646"/>
                  <a:pt x="346" y="646"/>
                </a:cubicBezTo>
                <a:cubicBezTo>
                  <a:pt x="346" y="864"/>
                  <a:pt x="346" y="864"/>
                  <a:pt x="346" y="864"/>
                </a:cubicBezTo>
                <a:cubicBezTo>
                  <a:pt x="346" y="917"/>
                  <a:pt x="389" y="960"/>
                  <a:pt x="442" y="960"/>
                </a:cubicBezTo>
                <a:cubicBezTo>
                  <a:pt x="495" y="960"/>
                  <a:pt x="538" y="917"/>
                  <a:pt x="538" y="864"/>
                </a:cubicBezTo>
                <a:cubicBezTo>
                  <a:pt x="538" y="646"/>
                  <a:pt x="538" y="646"/>
                  <a:pt x="538" y="646"/>
                </a:cubicBezTo>
                <a:cubicBezTo>
                  <a:pt x="727" y="755"/>
                  <a:pt x="727" y="755"/>
                  <a:pt x="727" y="755"/>
                </a:cubicBezTo>
                <a:cubicBezTo>
                  <a:pt x="773" y="781"/>
                  <a:pt x="832" y="766"/>
                  <a:pt x="858" y="720"/>
                </a:cubicBezTo>
                <a:cubicBezTo>
                  <a:pt x="885" y="674"/>
                  <a:pt x="869" y="615"/>
                  <a:pt x="823" y="58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39" name="Graphic 28" descr="List">
            <a:extLst>
              <a:ext uri="{FF2B5EF4-FFF2-40B4-BE49-F238E27FC236}">
                <a16:creationId xmlns:a16="http://schemas.microsoft.com/office/drawing/2014/main" id="{C8A52097-C040-4AAC-8B66-C9644C3DF272}"/>
              </a:ext>
            </a:extLst>
          </p:cNvPr>
          <p:cNvGrpSpPr/>
          <p:nvPr userDrawn="1"/>
        </p:nvGrpSpPr>
        <p:grpSpPr>
          <a:xfrm>
            <a:off x="10657446" y="2213495"/>
            <a:ext cx="103548" cy="146640"/>
            <a:chOff x="981871" y="1231905"/>
            <a:chExt cx="246063" cy="317501"/>
          </a:xfrm>
        </p:grpSpPr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52AD25A4-4BE0-444E-8265-2E95F5A003B2}"/>
                </a:ext>
              </a:extLst>
            </p:cNvPr>
            <p:cNvSpPr/>
            <p:nvPr userDrawn="1"/>
          </p:nvSpPr>
          <p:spPr>
            <a:xfrm>
              <a:off x="981871" y="1231905"/>
              <a:ext cx="246063" cy="317501"/>
            </a:xfrm>
            <a:custGeom>
              <a:avLst/>
              <a:gdLst>
                <a:gd name="connsiteX0" fmla="*/ 23813 w 246062"/>
                <a:gd name="connsiteY0" fmla="*/ 23813 h 317500"/>
                <a:gd name="connsiteX1" fmla="*/ 222250 w 246062"/>
                <a:gd name="connsiteY1" fmla="*/ 23813 h 317500"/>
                <a:gd name="connsiteX2" fmla="*/ 222250 w 246062"/>
                <a:gd name="connsiteY2" fmla="*/ 293688 h 317500"/>
                <a:gd name="connsiteX3" fmla="*/ 23813 w 246062"/>
                <a:gd name="connsiteY3" fmla="*/ 293688 h 317500"/>
                <a:gd name="connsiteX4" fmla="*/ 23813 w 246062"/>
                <a:gd name="connsiteY4" fmla="*/ 23813 h 317500"/>
                <a:gd name="connsiteX5" fmla="*/ 0 w 246062"/>
                <a:gd name="connsiteY5" fmla="*/ 317500 h 317500"/>
                <a:gd name="connsiteX6" fmla="*/ 246063 w 246062"/>
                <a:gd name="connsiteY6" fmla="*/ 317500 h 317500"/>
                <a:gd name="connsiteX7" fmla="*/ 246063 w 246062"/>
                <a:gd name="connsiteY7" fmla="*/ 0 h 317500"/>
                <a:gd name="connsiteX8" fmla="*/ 0 w 246062"/>
                <a:gd name="connsiteY8" fmla="*/ 0 h 317500"/>
                <a:gd name="connsiteX9" fmla="*/ 0 w 246062"/>
                <a:gd name="connsiteY9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062" h="317500">
                  <a:moveTo>
                    <a:pt x="23813" y="23813"/>
                  </a:moveTo>
                  <a:lnTo>
                    <a:pt x="222250" y="23813"/>
                  </a:lnTo>
                  <a:lnTo>
                    <a:pt x="222250" y="293688"/>
                  </a:lnTo>
                  <a:lnTo>
                    <a:pt x="23813" y="293688"/>
                  </a:lnTo>
                  <a:lnTo>
                    <a:pt x="23813" y="23813"/>
                  </a:lnTo>
                  <a:close/>
                  <a:moveTo>
                    <a:pt x="0" y="317500"/>
                  </a:moveTo>
                  <a:lnTo>
                    <a:pt x="246063" y="317500"/>
                  </a:lnTo>
                  <a:lnTo>
                    <a:pt x="246063" y="0"/>
                  </a:lnTo>
                  <a:lnTo>
                    <a:pt x="0" y="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B14C5994-B19E-4986-A1DD-A6E00B201CC9}"/>
                </a:ext>
              </a:extLst>
            </p:cNvPr>
            <p:cNvSpPr/>
            <p:nvPr userDrawn="1"/>
          </p:nvSpPr>
          <p:spPr>
            <a:xfrm>
              <a:off x="1033465" y="1279528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A21250C9-D46F-4451-B82C-EEA316FC03DC}"/>
                </a:ext>
              </a:extLst>
            </p:cNvPr>
            <p:cNvSpPr/>
            <p:nvPr userDrawn="1"/>
          </p:nvSpPr>
          <p:spPr>
            <a:xfrm>
              <a:off x="1096965" y="1287465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39039DFA-B48E-4822-91DE-E0D65CB3943F}"/>
                </a:ext>
              </a:extLst>
            </p:cNvPr>
            <p:cNvSpPr/>
            <p:nvPr userDrawn="1"/>
          </p:nvSpPr>
          <p:spPr>
            <a:xfrm>
              <a:off x="1033464" y="1343026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CE99FEB7-9851-4E85-BC08-ED57AB58B164}"/>
                </a:ext>
              </a:extLst>
            </p:cNvPr>
            <p:cNvSpPr/>
            <p:nvPr userDrawn="1"/>
          </p:nvSpPr>
          <p:spPr>
            <a:xfrm>
              <a:off x="1096964" y="1350960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65EA4F3C-B221-4677-8E3F-B6C6ED1005D7}"/>
                </a:ext>
              </a:extLst>
            </p:cNvPr>
            <p:cNvSpPr/>
            <p:nvPr userDrawn="1"/>
          </p:nvSpPr>
          <p:spPr>
            <a:xfrm>
              <a:off x="1033464" y="1406527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8EF5EA74-1987-4096-A786-DE33649BAF9C}"/>
                </a:ext>
              </a:extLst>
            </p:cNvPr>
            <p:cNvSpPr/>
            <p:nvPr userDrawn="1"/>
          </p:nvSpPr>
          <p:spPr>
            <a:xfrm>
              <a:off x="1096963" y="1414468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7D30D4EA-09B2-4071-9DFD-F38FB0837938}"/>
                </a:ext>
              </a:extLst>
            </p:cNvPr>
            <p:cNvSpPr/>
            <p:nvPr userDrawn="1"/>
          </p:nvSpPr>
          <p:spPr>
            <a:xfrm>
              <a:off x="1033461" y="1470031"/>
              <a:ext cx="31750" cy="31750"/>
            </a:xfrm>
            <a:custGeom>
              <a:avLst/>
              <a:gdLst>
                <a:gd name="connsiteX0" fmla="*/ 0 w 31750"/>
                <a:gd name="connsiteY0" fmla="*/ 0 h 31750"/>
                <a:gd name="connsiteX1" fmla="*/ 31750 w 31750"/>
                <a:gd name="connsiteY1" fmla="*/ 0 h 31750"/>
                <a:gd name="connsiteX2" fmla="*/ 31750 w 31750"/>
                <a:gd name="connsiteY2" fmla="*/ 31750 h 31750"/>
                <a:gd name="connsiteX3" fmla="*/ 0 w 31750"/>
                <a:gd name="connsiteY3" fmla="*/ 3175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31750">
                  <a:moveTo>
                    <a:pt x="0" y="0"/>
                  </a:moveTo>
                  <a:lnTo>
                    <a:pt x="31750" y="0"/>
                  </a:lnTo>
                  <a:lnTo>
                    <a:pt x="31750" y="31750"/>
                  </a:lnTo>
                  <a:lnTo>
                    <a:pt x="0" y="3175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4A338BC7-0F8D-47E2-B8C2-B7F4E01F1857}"/>
                </a:ext>
              </a:extLst>
            </p:cNvPr>
            <p:cNvSpPr/>
            <p:nvPr userDrawn="1"/>
          </p:nvSpPr>
          <p:spPr>
            <a:xfrm>
              <a:off x="1096962" y="1477962"/>
              <a:ext cx="79375" cy="15875"/>
            </a:xfrm>
            <a:custGeom>
              <a:avLst/>
              <a:gdLst>
                <a:gd name="connsiteX0" fmla="*/ 0 w 79375"/>
                <a:gd name="connsiteY0" fmla="*/ 0 h 15875"/>
                <a:gd name="connsiteX1" fmla="*/ 79375 w 79375"/>
                <a:gd name="connsiteY1" fmla="*/ 0 h 15875"/>
                <a:gd name="connsiteX2" fmla="*/ 79375 w 79375"/>
                <a:gd name="connsiteY2" fmla="*/ 15875 h 15875"/>
                <a:gd name="connsiteX3" fmla="*/ 0 w 79375"/>
                <a:gd name="connsiteY3" fmla="*/ 15875 h 1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" h="15875">
                  <a:moveTo>
                    <a:pt x="0" y="0"/>
                  </a:moveTo>
                  <a:lnTo>
                    <a:pt x="79375" y="0"/>
                  </a:lnTo>
                  <a:lnTo>
                    <a:pt x="79375" y="15875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539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799"/>
            </a:p>
          </p:txBody>
        </p:sp>
      </p:grpSp>
      <p:sp>
        <p:nvSpPr>
          <p:cNvPr id="49" name="Round Same-side Corner of Rectangle 79">
            <a:hlinkClick r:id="rId4" action="ppaction://hlinksldjump"/>
            <a:extLst>
              <a:ext uri="{FF2B5EF4-FFF2-40B4-BE49-F238E27FC236}">
                <a16:creationId xmlns:a16="http://schemas.microsoft.com/office/drawing/2014/main" id="{712FFEFD-24A9-4DA1-87D0-0C556CDBF63E}"/>
              </a:ext>
            </a:extLst>
          </p:cNvPr>
          <p:cNvSpPr/>
          <p:nvPr userDrawn="1"/>
        </p:nvSpPr>
        <p:spPr>
          <a:xfrm rot="5400000">
            <a:off x="11265663" y="424491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1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0069BB20-A499-4F38-AFA5-0F009952A191}"/>
              </a:ext>
            </a:extLst>
          </p:cNvPr>
          <p:cNvSpPr/>
          <p:nvPr userDrawn="1"/>
        </p:nvSpPr>
        <p:spPr>
          <a:xfrm rot="5400000">
            <a:off x="11265663" y="787973"/>
            <a:ext cx="274320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2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52166E68-10C6-4212-BBB1-7E4D02FCE667}"/>
              </a:ext>
            </a:extLst>
          </p:cNvPr>
          <p:cNvSpPr/>
          <p:nvPr userDrawn="1"/>
        </p:nvSpPr>
        <p:spPr>
          <a:xfrm rot="5400000">
            <a:off x="11240796" y="1145266"/>
            <a:ext cx="324054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3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1D00C599-53D9-4F03-B221-41643F95E167}"/>
              </a:ext>
            </a:extLst>
          </p:cNvPr>
          <p:cNvSpPr/>
          <p:nvPr userDrawn="1"/>
        </p:nvSpPr>
        <p:spPr>
          <a:xfrm rot="5400000">
            <a:off x="11240796" y="1505253"/>
            <a:ext cx="324054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4" name="Round Same-side Corner of Rectangle 79">
            <a:hlinkClick r:id="" action="ppaction://noaction"/>
            <a:extLst>
              <a:ext uri="{FF2B5EF4-FFF2-40B4-BE49-F238E27FC236}">
                <a16:creationId xmlns:a16="http://schemas.microsoft.com/office/drawing/2014/main" id="{ECE81D37-F079-4C9E-88A6-EE04491F774A}"/>
              </a:ext>
            </a:extLst>
          </p:cNvPr>
          <p:cNvSpPr/>
          <p:nvPr userDrawn="1"/>
        </p:nvSpPr>
        <p:spPr>
          <a:xfrm rot="5400000">
            <a:off x="11240796" y="1879254"/>
            <a:ext cx="324054" cy="157200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>
              <a:alpha val="0"/>
            </a:schemeClr>
          </a:solidFill>
          <a:ln w="9525">
            <a:noFill/>
          </a:ln>
          <a:effectLst>
            <a:innerShdw blurRad="63500" dist="25400" dir="54000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0788251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>
            <a:lvl1pPr marL="342797" indent="-342797">
              <a:buFont typeface="+mj-lt"/>
              <a:buAutoNum type="arabicPeriod"/>
              <a:defRPr/>
            </a:lvl1pPr>
            <a:lvl2pPr marL="571329" indent="-169812">
              <a:defRPr/>
            </a:lvl2pPr>
            <a:lvl3pPr marL="742727" indent="-171399">
              <a:defRPr/>
            </a:lvl3pPr>
            <a:lvl4pPr marL="971259" indent="-171399">
              <a:defRPr/>
            </a:lvl4pPr>
            <a:lvl5pPr marL="1171224" indent="-142832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9181083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ISC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6707" y="914400"/>
            <a:ext cx="11223876" cy="54315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617982" y="6670743"/>
            <a:ext cx="406294" cy="155448"/>
          </a:xfrm>
        </p:spPr>
        <p:txBody>
          <a:bodyPr vert="horz" wrap="none" lIns="91440" tIns="45720" rIns="91440" bIns="45720" rtlCol="0" anchor="ctr"/>
          <a:lstStyle>
            <a:lvl1pPr>
              <a:defRPr lang="en-US" smtClean="0"/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A7E2AD1-BF9E-4522-8D70-F45E521D91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6707" y="6329713"/>
            <a:ext cx="9963592" cy="315984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900"/>
            </a:lvl1pPr>
            <a:lvl2pPr marL="457063" indent="0">
              <a:buNone/>
              <a:defRPr sz="1000"/>
            </a:lvl2pPr>
            <a:lvl3pPr marL="914126" indent="0">
              <a:buNone/>
              <a:defRPr sz="10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</a:lstStyle>
          <a:p>
            <a:pPr lvl="0"/>
            <a:r>
              <a:rPr lang="en-US"/>
              <a:t>Click to edit Footnotes/References</a:t>
            </a:r>
          </a:p>
        </p:txBody>
      </p:sp>
    </p:spTree>
    <p:extLst>
      <p:ext uri="{BB962C8B-B14F-4D97-AF65-F5344CB8AC3E}">
        <p14:creationId xmlns:p14="http://schemas.microsoft.com/office/powerpoint/2010/main" val="3274588638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ISC - Title an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617982" y="6670743"/>
            <a:ext cx="406294" cy="155448"/>
          </a:xfrm>
        </p:spPr>
        <p:txBody>
          <a:bodyPr vert="horz" wrap="none" lIns="91440" tIns="45720" rIns="91440" bIns="45720" rtlCol="0" anchor="ctr"/>
          <a:lstStyle>
            <a:lvl1pPr>
              <a:defRPr lang="en-US" smtClean="0"/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BB86C0C9-AB2B-41F3-9201-5002B66CB8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6707" y="6329713"/>
            <a:ext cx="9963592" cy="315984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900"/>
            </a:lvl1pPr>
            <a:lvl2pPr marL="457063" indent="0">
              <a:buNone/>
              <a:defRPr sz="1000"/>
            </a:lvl2pPr>
            <a:lvl3pPr marL="914126" indent="0">
              <a:buNone/>
              <a:defRPr sz="10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</a:lstStyle>
          <a:p>
            <a:pPr lvl="0"/>
            <a:r>
              <a:rPr lang="en-US"/>
              <a:t>Click to edit Footnotes/References</a:t>
            </a:r>
          </a:p>
        </p:txBody>
      </p:sp>
    </p:spTree>
    <p:extLst>
      <p:ext uri="{BB962C8B-B14F-4D97-AF65-F5344CB8AC3E}">
        <p14:creationId xmlns:p14="http://schemas.microsoft.com/office/powerpoint/2010/main" val="3548657589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ISC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617982" y="6670743"/>
            <a:ext cx="406294" cy="155448"/>
          </a:xfrm>
        </p:spPr>
        <p:txBody>
          <a:bodyPr vert="horz" wrap="none" lIns="91440" tIns="45720" rIns="91440" bIns="45720" rtlCol="0" anchor="ctr"/>
          <a:lstStyle>
            <a:lvl1pPr>
              <a:defRPr lang="en-US" smtClean="0"/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4390814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ISC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17982" y="6670743"/>
            <a:ext cx="406294" cy="155448"/>
          </a:xfrm>
        </p:spPr>
        <p:txBody>
          <a:bodyPr vert="horz" wrap="none" lIns="91440" tIns="45720" rIns="91440" bIns="45720" rtlCol="0" anchor="ctr"/>
          <a:lstStyle>
            <a:lvl1pPr>
              <a:defRPr lang="en-US" smtClean="0"/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2585922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Main Title -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0BF000D-E145-4361-AF4E-127D78E92A9E}"/>
              </a:ext>
            </a:extLst>
          </p:cNvPr>
          <p:cNvSpPr/>
          <p:nvPr userDrawn="1"/>
        </p:nvSpPr>
        <p:spPr>
          <a:xfrm>
            <a:off x="-1" y="0"/>
            <a:ext cx="12188826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3453" y="674190"/>
            <a:ext cx="10248963" cy="2852737"/>
          </a:xfrm>
        </p:spPr>
        <p:txBody>
          <a:bodyPr anchor="b"/>
          <a:lstStyle>
            <a:lvl1pPr algn="l">
              <a:defRPr sz="4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03453" y="3792161"/>
            <a:ext cx="10248963" cy="1500187"/>
          </a:xfrm>
        </p:spPr>
        <p:txBody>
          <a:bodyPr/>
          <a:lstStyle>
            <a:lvl1pPr marL="0" indent="0" algn="l">
              <a:buNone/>
              <a:defRPr sz="2399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37604C0-61BF-4798-B843-009FAC0EE149}"/>
              </a:ext>
            </a:extLst>
          </p:cNvPr>
          <p:cNvSpPr/>
          <p:nvPr userDrawn="1"/>
        </p:nvSpPr>
        <p:spPr>
          <a:xfrm>
            <a:off x="12050373" y="0"/>
            <a:ext cx="138452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BEFA03DD-64D9-4B47-80B5-1AF32901A741}"/>
              </a:ext>
            </a:extLst>
          </p:cNvPr>
          <p:cNvSpPr/>
          <p:nvPr userDrawn="1"/>
        </p:nvSpPr>
        <p:spPr>
          <a:xfrm>
            <a:off x="0" y="141677"/>
            <a:ext cx="324007" cy="6853150"/>
          </a:xfrm>
          <a:custGeom>
            <a:avLst/>
            <a:gdLst>
              <a:gd name="connsiteX0" fmla="*/ 0 w 324091"/>
              <a:gd name="connsiteY0" fmla="*/ 6807430 h 6853150"/>
              <a:gd name="connsiteX1" fmla="*/ 81776 w 324091"/>
              <a:gd name="connsiteY1" fmla="*/ 6807430 h 6853150"/>
              <a:gd name="connsiteX2" fmla="*/ 104636 w 324091"/>
              <a:gd name="connsiteY2" fmla="*/ 6830290 h 6853150"/>
              <a:gd name="connsiteX3" fmla="*/ 104635 w 324091"/>
              <a:gd name="connsiteY3" fmla="*/ 6830290 h 6853150"/>
              <a:gd name="connsiteX4" fmla="*/ 81775 w 324091"/>
              <a:gd name="connsiteY4" fmla="*/ 6853150 h 6853150"/>
              <a:gd name="connsiteX5" fmla="*/ 0 w 324091"/>
              <a:gd name="connsiteY5" fmla="*/ 6853150 h 6853150"/>
              <a:gd name="connsiteX6" fmla="*/ 0 w 324091"/>
              <a:gd name="connsiteY6" fmla="*/ 6653902 h 6853150"/>
              <a:gd name="connsiteX7" fmla="*/ 173216 w 324091"/>
              <a:gd name="connsiteY7" fmla="*/ 6653902 h 6853150"/>
              <a:gd name="connsiteX8" fmla="*/ 196076 w 324091"/>
              <a:gd name="connsiteY8" fmla="*/ 6676762 h 6853150"/>
              <a:gd name="connsiteX9" fmla="*/ 196075 w 324091"/>
              <a:gd name="connsiteY9" fmla="*/ 6676762 h 6853150"/>
              <a:gd name="connsiteX10" fmla="*/ 173215 w 324091"/>
              <a:gd name="connsiteY10" fmla="*/ 6699622 h 6853150"/>
              <a:gd name="connsiteX11" fmla="*/ 0 w 324091"/>
              <a:gd name="connsiteY11" fmla="*/ 6699622 h 6853150"/>
              <a:gd name="connsiteX12" fmla="*/ 0 w 324091"/>
              <a:gd name="connsiteY12" fmla="*/ 6500374 h 6853150"/>
              <a:gd name="connsiteX13" fmla="*/ 81776 w 324091"/>
              <a:gd name="connsiteY13" fmla="*/ 6500374 h 6853150"/>
              <a:gd name="connsiteX14" fmla="*/ 104636 w 324091"/>
              <a:gd name="connsiteY14" fmla="*/ 6523234 h 6853150"/>
              <a:gd name="connsiteX15" fmla="*/ 104635 w 324091"/>
              <a:gd name="connsiteY15" fmla="*/ 6523234 h 6853150"/>
              <a:gd name="connsiteX16" fmla="*/ 81775 w 324091"/>
              <a:gd name="connsiteY16" fmla="*/ 6546094 h 6853150"/>
              <a:gd name="connsiteX17" fmla="*/ 0 w 324091"/>
              <a:gd name="connsiteY17" fmla="*/ 6546094 h 6853150"/>
              <a:gd name="connsiteX18" fmla="*/ 0 w 324091"/>
              <a:gd name="connsiteY18" fmla="*/ 6302591 h 6853150"/>
              <a:gd name="connsiteX19" fmla="*/ 279104 w 324091"/>
              <a:gd name="connsiteY19" fmla="*/ 6302591 h 6853150"/>
              <a:gd name="connsiteX20" fmla="*/ 324091 w 324091"/>
              <a:gd name="connsiteY20" fmla="*/ 6347578 h 6853150"/>
              <a:gd name="connsiteX21" fmla="*/ 279104 w 324091"/>
              <a:gd name="connsiteY21" fmla="*/ 6392565 h 6853150"/>
              <a:gd name="connsiteX22" fmla="*/ 0 w 324091"/>
              <a:gd name="connsiteY22" fmla="*/ 6392565 h 6853150"/>
              <a:gd name="connsiteX23" fmla="*/ 0 w 324091"/>
              <a:gd name="connsiteY23" fmla="*/ 6124755 h 6853150"/>
              <a:gd name="connsiteX24" fmla="*/ 81776 w 324091"/>
              <a:gd name="connsiteY24" fmla="*/ 6124755 h 6853150"/>
              <a:gd name="connsiteX25" fmla="*/ 104636 w 324091"/>
              <a:gd name="connsiteY25" fmla="*/ 6147615 h 6853150"/>
              <a:gd name="connsiteX26" fmla="*/ 104635 w 324091"/>
              <a:gd name="connsiteY26" fmla="*/ 6147615 h 6853150"/>
              <a:gd name="connsiteX27" fmla="*/ 81775 w 324091"/>
              <a:gd name="connsiteY27" fmla="*/ 6170475 h 6853150"/>
              <a:gd name="connsiteX28" fmla="*/ 0 w 324091"/>
              <a:gd name="connsiteY28" fmla="*/ 6170475 h 6853150"/>
              <a:gd name="connsiteX29" fmla="*/ 0 w 324091"/>
              <a:gd name="connsiteY29" fmla="*/ 5971227 h 6853150"/>
              <a:gd name="connsiteX30" fmla="*/ 173216 w 324091"/>
              <a:gd name="connsiteY30" fmla="*/ 5971227 h 6853150"/>
              <a:gd name="connsiteX31" fmla="*/ 196076 w 324091"/>
              <a:gd name="connsiteY31" fmla="*/ 5994087 h 6853150"/>
              <a:gd name="connsiteX32" fmla="*/ 196075 w 324091"/>
              <a:gd name="connsiteY32" fmla="*/ 5994087 h 6853150"/>
              <a:gd name="connsiteX33" fmla="*/ 173215 w 324091"/>
              <a:gd name="connsiteY33" fmla="*/ 6016947 h 6853150"/>
              <a:gd name="connsiteX34" fmla="*/ 0 w 324091"/>
              <a:gd name="connsiteY34" fmla="*/ 6016947 h 6853150"/>
              <a:gd name="connsiteX35" fmla="*/ 0 w 324091"/>
              <a:gd name="connsiteY35" fmla="*/ 5817699 h 6853150"/>
              <a:gd name="connsiteX36" fmla="*/ 81776 w 324091"/>
              <a:gd name="connsiteY36" fmla="*/ 5817699 h 6853150"/>
              <a:gd name="connsiteX37" fmla="*/ 104636 w 324091"/>
              <a:gd name="connsiteY37" fmla="*/ 5840559 h 6853150"/>
              <a:gd name="connsiteX38" fmla="*/ 104635 w 324091"/>
              <a:gd name="connsiteY38" fmla="*/ 5840559 h 6853150"/>
              <a:gd name="connsiteX39" fmla="*/ 81775 w 324091"/>
              <a:gd name="connsiteY39" fmla="*/ 5863419 h 6853150"/>
              <a:gd name="connsiteX40" fmla="*/ 0 w 324091"/>
              <a:gd name="connsiteY40" fmla="*/ 5863419 h 6853150"/>
              <a:gd name="connsiteX41" fmla="*/ 0 w 324091"/>
              <a:gd name="connsiteY41" fmla="*/ 5619916 h 6853150"/>
              <a:gd name="connsiteX42" fmla="*/ 279104 w 324091"/>
              <a:gd name="connsiteY42" fmla="*/ 5619916 h 6853150"/>
              <a:gd name="connsiteX43" fmla="*/ 324091 w 324091"/>
              <a:gd name="connsiteY43" fmla="*/ 5664903 h 6853150"/>
              <a:gd name="connsiteX44" fmla="*/ 279104 w 324091"/>
              <a:gd name="connsiteY44" fmla="*/ 5709890 h 6853150"/>
              <a:gd name="connsiteX45" fmla="*/ 0 w 324091"/>
              <a:gd name="connsiteY45" fmla="*/ 5709890 h 6853150"/>
              <a:gd name="connsiteX46" fmla="*/ 0 w 324091"/>
              <a:gd name="connsiteY46" fmla="*/ 5442077 h 6853150"/>
              <a:gd name="connsiteX47" fmla="*/ 81776 w 324091"/>
              <a:gd name="connsiteY47" fmla="*/ 5442077 h 6853150"/>
              <a:gd name="connsiteX48" fmla="*/ 104636 w 324091"/>
              <a:gd name="connsiteY48" fmla="*/ 5464937 h 6853150"/>
              <a:gd name="connsiteX49" fmla="*/ 104635 w 324091"/>
              <a:gd name="connsiteY49" fmla="*/ 5464937 h 6853150"/>
              <a:gd name="connsiteX50" fmla="*/ 81775 w 324091"/>
              <a:gd name="connsiteY50" fmla="*/ 5487797 h 6853150"/>
              <a:gd name="connsiteX51" fmla="*/ 0 w 324091"/>
              <a:gd name="connsiteY51" fmla="*/ 5487797 h 6853150"/>
              <a:gd name="connsiteX52" fmla="*/ 0 w 324091"/>
              <a:gd name="connsiteY52" fmla="*/ 5288549 h 6853150"/>
              <a:gd name="connsiteX53" fmla="*/ 173216 w 324091"/>
              <a:gd name="connsiteY53" fmla="*/ 5288549 h 6853150"/>
              <a:gd name="connsiteX54" fmla="*/ 196076 w 324091"/>
              <a:gd name="connsiteY54" fmla="*/ 5311409 h 6853150"/>
              <a:gd name="connsiteX55" fmla="*/ 196075 w 324091"/>
              <a:gd name="connsiteY55" fmla="*/ 5311409 h 6853150"/>
              <a:gd name="connsiteX56" fmla="*/ 173215 w 324091"/>
              <a:gd name="connsiteY56" fmla="*/ 5334269 h 6853150"/>
              <a:gd name="connsiteX57" fmla="*/ 0 w 324091"/>
              <a:gd name="connsiteY57" fmla="*/ 5334269 h 6853150"/>
              <a:gd name="connsiteX58" fmla="*/ 0 w 324091"/>
              <a:gd name="connsiteY58" fmla="*/ 5135021 h 6853150"/>
              <a:gd name="connsiteX59" fmla="*/ 81776 w 324091"/>
              <a:gd name="connsiteY59" fmla="*/ 5135021 h 6853150"/>
              <a:gd name="connsiteX60" fmla="*/ 104636 w 324091"/>
              <a:gd name="connsiteY60" fmla="*/ 5157881 h 6853150"/>
              <a:gd name="connsiteX61" fmla="*/ 104635 w 324091"/>
              <a:gd name="connsiteY61" fmla="*/ 5157881 h 6853150"/>
              <a:gd name="connsiteX62" fmla="*/ 81775 w 324091"/>
              <a:gd name="connsiteY62" fmla="*/ 5180741 h 6853150"/>
              <a:gd name="connsiteX63" fmla="*/ 0 w 324091"/>
              <a:gd name="connsiteY63" fmla="*/ 5180741 h 6853150"/>
              <a:gd name="connsiteX64" fmla="*/ 0 w 324091"/>
              <a:gd name="connsiteY64" fmla="*/ 4937238 h 6853150"/>
              <a:gd name="connsiteX65" fmla="*/ 279104 w 324091"/>
              <a:gd name="connsiteY65" fmla="*/ 4937238 h 6853150"/>
              <a:gd name="connsiteX66" fmla="*/ 324091 w 324091"/>
              <a:gd name="connsiteY66" fmla="*/ 4982225 h 6853150"/>
              <a:gd name="connsiteX67" fmla="*/ 279104 w 324091"/>
              <a:gd name="connsiteY67" fmla="*/ 5027212 h 6853150"/>
              <a:gd name="connsiteX68" fmla="*/ 0 w 324091"/>
              <a:gd name="connsiteY68" fmla="*/ 5027212 h 6853150"/>
              <a:gd name="connsiteX69" fmla="*/ 0 w 324091"/>
              <a:gd name="connsiteY69" fmla="*/ 4759399 h 6853150"/>
              <a:gd name="connsiteX70" fmla="*/ 81776 w 324091"/>
              <a:gd name="connsiteY70" fmla="*/ 4759399 h 6853150"/>
              <a:gd name="connsiteX71" fmla="*/ 104636 w 324091"/>
              <a:gd name="connsiteY71" fmla="*/ 4782259 h 6853150"/>
              <a:gd name="connsiteX72" fmla="*/ 104635 w 324091"/>
              <a:gd name="connsiteY72" fmla="*/ 4782259 h 6853150"/>
              <a:gd name="connsiteX73" fmla="*/ 81775 w 324091"/>
              <a:gd name="connsiteY73" fmla="*/ 4805119 h 6853150"/>
              <a:gd name="connsiteX74" fmla="*/ 0 w 324091"/>
              <a:gd name="connsiteY74" fmla="*/ 4805119 h 6853150"/>
              <a:gd name="connsiteX75" fmla="*/ 0 w 324091"/>
              <a:gd name="connsiteY75" fmla="*/ 4605871 h 6853150"/>
              <a:gd name="connsiteX76" fmla="*/ 173216 w 324091"/>
              <a:gd name="connsiteY76" fmla="*/ 4605871 h 6853150"/>
              <a:gd name="connsiteX77" fmla="*/ 196076 w 324091"/>
              <a:gd name="connsiteY77" fmla="*/ 4628731 h 6853150"/>
              <a:gd name="connsiteX78" fmla="*/ 196075 w 324091"/>
              <a:gd name="connsiteY78" fmla="*/ 4628731 h 6853150"/>
              <a:gd name="connsiteX79" fmla="*/ 173215 w 324091"/>
              <a:gd name="connsiteY79" fmla="*/ 4651591 h 6853150"/>
              <a:gd name="connsiteX80" fmla="*/ 0 w 324091"/>
              <a:gd name="connsiteY80" fmla="*/ 4651591 h 6853150"/>
              <a:gd name="connsiteX81" fmla="*/ 0 w 324091"/>
              <a:gd name="connsiteY81" fmla="*/ 4452343 h 6853150"/>
              <a:gd name="connsiteX82" fmla="*/ 81776 w 324091"/>
              <a:gd name="connsiteY82" fmla="*/ 4452343 h 6853150"/>
              <a:gd name="connsiteX83" fmla="*/ 104636 w 324091"/>
              <a:gd name="connsiteY83" fmla="*/ 4475203 h 6853150"/>
              <a:gd name="connsiteX84" fmla="*/ 104635 w 324091"/>
              <a:gd name="connsiteY84" fmla="*/ 4475203 h 6853150"/>
              <a:gd name="connsiteX85" fmla="*/ 81775 w 324091"/>
              <a:gd name="connsiteY85" fmla="*/ 4498063 h 6853150"/>
              <a:gd name="connsiteX86" fmla="*/ 0 w 324091"/>
              <a:gd name="connsiteY86" fmla="*/ 4498063 h 6853150"/>
              <a:gd name="connsiteX87" fmla="*/ 0 w 324091"/>
              <a:gd name="connsiteY87" fmla="*/ 4254560 h 6853150"/>
              <a:gd name="connsiteX88" fmla="*/ 279104 w 324091"/>
              <a:gd name="connsiteY88" fmla="*/ 4254560 h 6853150"/>
              <a:gd name="connsiteX89" fmla="*/ 324091 w 324091"/>
              <a:gd name="connsiteY89" fmla="*/ 4299547 h 6853150"/>
              <a:gd name="connsiteX90" fmla="*/ 279104 w 324091"/>
              <a:gd name="connsiteY90" fmla="*/ 4344534 h 6853150"/>
              <a:gd name="connsiteX91" fmla="*/ 0 w 324091"/>
              <a:gd name="connsiteY91" fmla="*/ 4344534 h 6853150"/>
              <a:gd name="connsiteX92" fmla="*/ 0 w 324091"/>
              <a:gd name="connsiteY92" fmla="*/ 4076721 h 6853150"/>
              <a:gd name="connsiteX93" fmla="*/ 81776 w 324091"/>
              <a:gd name="connsiteY93" fmla="*/ 4076721 h 6853150"/>
              <a:gd name="connsiteX94" fmla="*/ 104636 w 324091"/>
              <a:gd name="connsiteY94" fmla="*/ 4099581 h 6853150"/>
              <a:gd name="connsiteX95" fmla="*/ 104635 w 324091"/>
              <a:gd name="connsiteY95" fmla="*/ 4099581 h 6853150"/>
              <a:gd name="connsiteX96" fmla="*/ 81775 w 324091"/>
              <a:gd name="connsiteY96" fmla="*/ 4122441 h 6853150"/>
              <a:gd name="connsiteX97" fmla="*/ 0 w 324091"/>
              <a:gd name="connsiteY97" fmla="*/ 4122441 h 6853150"/>
              <a:gd name="connsiteX98" fmla="*/ 0 w 324091"/>
              <a:gd name="connsiteY98" fmla="*/ 3923193 h 6853150"/>
              <a:gd name="connsiteX99" fmla="*/ 173216 w 324091"/>
              <a:gd name="connsiteY99" fmla="*/ 3923193 h 6853150"/>
              <a:gd name="connsiteX100" fmla="*/ 196076 w 324091"/>
              <a:gd name="connsiteY100" fmla="*/ 3946053 h 6853150"/>
              <a:gd name="connsiteX101" fmla="*/ 196075 w 324091"/>
              <a:gd name="connsiteY101" fmla="*/ 3946053 h 6853150"/>
              <a:gd name="connsiteX102" fmla="*/ 173215 w 324091"/>
              <a:gd name="connsiteY102" fmla="*/ 3968913 h 6853150"/>
              <a:gd name="connsiteX103" fmla="*/ 0 w 324091"/>
              <a:gd name="connsiteY103" fmla="*/ 3968913 h 6853150"/>
              <a:gd name="connsiteX104" fmla="*/ 0 w 324091"/>
              <a:gd name="connsiteY104" fmla="*/ 3769665 h 6853150"/>
              <a:gd name="connsiteX105" fmla="*/ 81776 w 324091"/>
              <a:gd name="connsiteY105" fmla="*/ 3769665 h 6853150"/>
              <a:gd name="connsiteX106" fmla="*/ 104636 w 324091"/>
              <a:gd name="connsiteY106" fmla="*/ 3792525 h 6853150"/>
              <a:gd name="connsiteX107" fmla="*/ 104635 w 324091"/>
              <a:gd name="connsiteY107" fmla="*/ 3792525 h 6853150"/>
              <a:gd name="connsiteX108" fmla="*/ 81775 w 324091"/>
              <a:gd name="connsiteY108" fmla="*/ 3815385 h 6853150"/>
              <a:gd name="connsiteX109" fmla="*/ 0 w 324091"/>
              <a:gd name="connsiteY109" fmla="*/ 3815385 h 6853150"/>
              <a:gd name="connsiteX110" fmla="*/ 0 w 324091"/>
              <a:gd name="connsiteY110" fmla="*/ 3571882 h 6853150"/>
              <a:gd name="connsiteX111" fmla="*/ 279104 w 324091"/>
              <a:gd name="connsiteY111" fmla="*/ 3571882 h 6853150"/>
              <a:gd name="connsiteX112" fmla="*/ 324091 w 324091"/>
              <a:gd name="connsiteY112" fmla="*/ 3616869 h 6853150"/>
              <a:gd name="connsiteX113" fmla="*/ 279104 w 324091"/>
              <a:gd name="connsiteY113" fmla="*/ 3661856 h 6853150"/>
              <a:gd name="connsiteX114" fmla="*/ 0 w 324091"/>
              <a:gd name="connsiteY114" fmla="*/ 3661856 h 6853150"/>
              <a:gd name="connsiteX115" fmla="*/ 0 w 324091"/>
              <a:gd name="connsiteY115" fmla="*/ 3394043 h 6853150"/>
              <a:gd name="connsiteX116" fmla="*/ 81776 w 324091"/>
              <a:gd name="connsiteY116" fmla="*/ 3394043 h 6853150"/>
              <a:gd name="connsiteX117" fmla="*/ 104636 w 324091"/>
              <a:gd name="connsiteY117" fmla="*/ 3416905 h 6853150"/>
              <a:gd name="connsiteX118" fmla="*/ 104635 w 324091"/>
              <a:gd name="connsiteY118" fmla="*/ 3416905 h 6853150"/>
              <a:gd name="connsiteX119" fmla="*/ 81775 w 324091"/>
              <a:gd name="connsiteY119" fmla="*/ 3439763 h 6853150"/>
              <a:gd name="connsiteX120" fmla="*/ 0 w 324091"/>
              <a:gd name="connsiteY120" fmla="*/ 3439763 h 6853150"/>
              <a:gd name="connsiteX121" fmla="*/ 0 w 324091"/>
              <a:gd name="connsiteY121" fmla="*/ 3240516 h 6853150"/>
              <a:gd name="connsiteX122" fmla="*/ 173216 w 324091"/>
              <a:gd name="connsiteY122" fmla="*/ 3240516 h 6853150"/>
              <a:gd name="connsiteX123" fmla="*/ 196076 w 324091"/>
              <a:gd name="connsiteY123" fmla="*/ 3263376 h 6853150"/>
              <a:gd name="connsiteX124" fmla="*/ 196075 w 324091"/>
              <a:gd name="connsiteY124" fmla="*/ 3263376 h 6853150"/>
              <a:gd name="connsiteX125" fmla="*/ 173215 w 324091"/>
              <a:gd name="connsiteY125" fmla="*/ 3286236 h 6853150"/>
              <a:gd name="connsiteX126" fmla="*/ 0 w 324091"/>
              <a:gd name="connsiteY126" fmla="*/ 3286236 h 6853150"/>
              <a:gd name="connsiteX127" fmla="*/ 0 w 324091"/>
              <a:gd name="connsiteY127" fmla="*/ 3086989 h 6853150"/>
              <a:gd name="connsiteX128" fmla="*/ 81776 w 324091"/>
              <a:gd name="connsiteY128" fmla="*/ 3086989 h 6853150"/>
              <a:gd name="connsiteX129" fmla="*/ 104636 w 324091"/>
              <a:gd name="connsiteY129" fmla="*/ 3109849 h 6853150"/>
              <a:gd name="connsiteX130" fmla="*/ 104635 w 324091"/>
              <a:gd name="connsiteY130" fmla="*/ 3109849 h 6853150"/>
              <a:gd name="connsiteX131" fmla="*/ 81775 w 324091"/>
              <a:gd name="connsiteY131" fmla="*/ 3132709 h 6853150"/>
              <a:gd name="connsiteX132" fmla="*/ 0 w 324091"/>
              <a:gd name="connsiteY132" fmla="*/ 3132709 h 6853150"/>
              <a:gd name="connsiteX133" fmla="*/ 0 w 324091"/>
              <a:gd name="connsiteY133" fmla="*/ 2889206 h 6853150"/>
              <a:gd name="connsiteX134" fmla="*/ 279104 w 324091"/>
              <a:gd name="connsiteY134" fmla="*/ 2889206 h 6853150"/>
              <a:gd name="connsiteX135" fmla="*/ 324091 w 324091"/>
              <a:gd name="connsiteY135" fmla="*/ 2934194 h 6853150"/>
              <a:gd name="connsiteX136" fmla="*/ 279104 w 324091"/>
              <a:gd name="connsiteY136" fmla="*/ 2979180 h 6853150"/>
              <a:gd name="connsiteX137" fmla="*/ 0 w 324091"/>
              <a:gd name="connsiteY137" fmla="*/ 2979180 h 6853150"/>
              <a:gd name="connsiteX138" fmla="*/ 0 w 324091"/>
              <a:gd name="connsiteY138" fmla="*/ 2711367 h 6853150"/>
              <a:gd name="connsiteX139" fmla="*/ 81776 w 324091"/>
              <a:gd name="connsiteY139" fmla="*/ 2711367 h 6853150"/>
              <a:gd name="connsiteX140" fmla="*/ 104636 w 324091"/>
              <a:gd name="connsiteY140" fmla="*/ 2734227 h 6853150"/>
              <a:gd name="connsiteX141" fmla="*/ 104635 w 324091"/>
              <a:gd name="connsiteY141" fmla="*/ 2734227 h 6853150"/>
              <a:gd name="connsiteX142" fmla="*/ 81775 w 324091"/>
              <a:gd name="connsiteY142" fmla="*/ 2757087 h 6853150"/>
              <a:gd name="connsiteX143" fmla="*/ 0 w 324091"/>
              <a:gd name="connsiteY143" fmla="*/ 2757087 h 6853150"/>
              <a:gd name="connsiteX144" fmla="*/ 0 w 324091"/>
              <a:gd name="connsiteY144" fmla="*/ 2557839 h 6853150"/>
              <a:gd name="connsiteX145" fmla="*/ 173216 w 324091"/>
              <a:gd name="connsiteY145" fmla="*/ 2557839 h 6853150"/>
              <a:gd name="connsiteX146" fmla="*/ 196076 w 324091"/>
              <a:gd name="connsiteY146" fmla="*/ 2580699 h 6853150"/>
              <a:gd name="connsiteX147" fmla="*/ 196075 w 324091"/>
              <a:gd name="connsiteY147" fmla="*/ 2580699 h 6853150"/>
              <a:gd name="connsiteX148" fmla="*/ 173215 w 324091"/>
              <a:gd name="connsiteY148" fmla="*/ 2603559 h 6853150"/>
              <a:gd name="connsiteX149" fmla="*/ 0 w 324091"/>
              <a:gd name="connsiteY149" fmla="*/ 2603559 h 6853150"/>
              <a:gd name="connsiteX150" fmla="*/ 0 w 324091"/>
              <a:gd name="connsiteY150" fmla="*/ 2404312 h 6853150"/>
              <a:gd name="connsiteX151" fmla="*/ 81776 w 324091"/>
              <a:gd name="connsiteY151" fmla="*/ 2404312 h 6853150"/>
              <a:gd name="connsiteX152" fmla="*/ 104636 w 324091"/>
              <a:gd name="connsiteY152" fmla="*/ 2427171 h 6853150"/>
              <a:gd name="connsiteX153" fmla="*/ 104635 w 324091"/>
              <a:gd name="connsiteY153" fmla="*/ 2427171 h 6853150"/>
              <a:gd name="connsiteX154" fmla="*/ 81775 w 324091"/>
              <a:gd name="connsiteY154" fmla="*/ 2450032 h 6853150"/>
              <a:gd name="connsiteX155" fmla="*/ 0 w 324091"/>
              <a:gd name="connsiteY155" fmla="*/ 2450032 h 6853150"/>
              <a:gd name="connsiteX156" fmla="*/ 0 w 324091"/>
              <a:gd name="connsiteY156" fmla="*/ 2206528 h 6853150"/>
              <a:gd name="connsiteX157" fmla="*/ 279104 w 324091"/>
              <a:gd name="connsiteY157" fmla="*/ 2206528 h 6853150"/>
              <a:gd name="connsiteX158" fmla="*/ 324091 w 324091"/>
              <a:gd name="connsiteY158" fmla="*/ 2251515 h 6853150"/>
              <a:gd name="connsiteX159" fmla="*/ 279104 w 324091"/>
              <a:gd name="connsiteY159" fmla="*/ 2296503 h 6853150"/>
              <a:gd name="connsiteX160" fmla="*/ 0 w 324091"/>
              <a:gd name="connsiteY160" fmla="*/ 2296503 h 6853150"/>
              <a:gd name="connsiteX161" fmla="*/ 0 w 324091"/>
              <a:gd name="connsiteY161" fmla="*/ 2028689 h 6853150"/>
              <a:gd name="connsiteX162" fmla="*/ 81776 w 324091"/>
              <a:gd name="connsiteY162" fmla="*/ 2028689 h 6853150"/>
              <a:gd name="connsiteX163" fmla="*/ 104636 w 324091"/>
              <a:gd name="connsiteY163" fmla="*/ 2051550 h 6853150"/>
              <a:gd name="connsiteX164" fmla="*/ 104635 w 324091"/>
              <a:gd name="connsiteY164" fmla="*/ 2051550 h 6853150"/>
              <a:gd name="connsiteX165" fmla="*/ 81775 w 324091"/>
              <a:gd name="connsiteY165" fmla="*/ 2074409 h 6853150"/>
              <a:gd name="connsiteX166" fmla="*/ 0 w 324091"/>
              <a:gd name="connsiteY166" fmla="*/ 2074409 h 6853150"/>
              <a:gd name="connsiteX167" fmla="*/ 0 w 324091"/>
              <a:gd name="connsiteY167" fmla="*/ 1875162 h 6853150"/>
              <a:gd name="connsiteX168" fmla="*/ 173216 w 324091"/>
              <a:gd name="connsiteY168" fmla="*/ 1875162 h 6853150"/>
              <a:gd name="connsiteX169" fmla="*/ 196076 w 324091"/>
              <a:gd name="connsiteY169" fmla="*/ 1898022 h 6853150"/>
              <a:gd name="connsiteX170" fmla="*/ 196075 w 324091"/>
              <a:gd name="connsiteY170" fmla="*/ 1898022 h 6853150"/>
              <a:gd name="connsiteX171" fmla="*/ 173215 w 324091"/>
              <a:gd name="connsiteY171" fmla="*/ 1920882 h 6853150"/>
              <a:gd name="connsiteX172" fmla="*/ 0 w 324091"/>
              <a:gd name="connsiteY172" fmla="*/ 1920882 h 6853150"/>
              <a:gd name="connsiteX173" fmla="*/ 0 w 324091"/>
              <a:gd name="connsiteY173" fmla="*/ 1721635 h 6853150"/>
              <a:gd name="connsiteX174" fmla="*/ 81776 w 324091"/>
              <a:gd name="connsiteY174" fmla="*/ 1721635 h 6853150"/>
              <a:gd name="connsiteX175" fmla="*/ 104636 w 324091"/>
              <a:gd name="connsiteY175" fmla="*/ 1744495 h 6853150"/>
              <a:gd name="connsiteX176" fmla="*/ 104635 w 324091"/>
              <a:gd name="connsiteY176" fmla="*/ 1744495 h 6853150"/>
              <a:gd name="connsiteX177" fmla="*/ 81775 w 324091"/>
              <a:gd name="connsiteY177" fmla="*/ 1767355 h 6853150"/>
              <a:gd name="connsiteX178" fmla="*/ 0 w 324091"/>
              <a:gd name="connsiteY178" fmla="*/ 1767355 h 6853150"/>
              <a:gd name="connsiteX179" fmla="*/ 0 w 324091"/>
              <a:gd name="connsiteY179" fmla="*/ 1523851 h 6853150"/>
              <a:gd name="connsiteX180" fmla="*/ 279104 w 324091"/>
              <a:gd name="connsiteY180" fmla="*/ 1523851 h 6853150"/>
              <a:gd name="connsiteX181" fmla="*/ 324091 w 324091"/>
              <a:gd name="connsiteY181" fmla="*/ 1568838 h 6853150"/>
              <a:gd name="connsiteX182" fmla="*/ 279104 w 324091"/>
              <a:gd name="connsiteY182" fmla="*/ 1613826 h 6853150"/>
              <a:gd name="connsiteX183" fmla="*/ 0 w 324091"/>
              <a:gd name="connsiteY183" fmla="*/ 1613826 h 6853150"/>
              <a:gd name="connsiteX184" fmla="*/ 0 w 324091"/>
              <a:gd name="connsiteY184" fmla="*/ 1346012 h 6853150"/>
              <a:gd name="connsiteX185" fmla="*/ 81776 w 324091"/>
              <a:gd name="connsiteY185" fmla="*/ 1346012 h 6853150"/>
              <a:gd name="connsiteX186" fmla="*/ 104636 w 324091"/>
              <a:gd name="connsiteY186" fmla="*/ 1368872 h 6853150"/>
              <a:gd name="connsiteX187" fmla="*/ 104635 w 324091"/>
              <a:gd name="connsiteY187" fmla="*/ 1368872 h 6853150"/>
              <a:gd name="connsiteX188" fmla="*/ 81775 w 324091"/>
              <a:gd name="connsiteY188" fmla="*/ 1391732 h 6853150"/>
              <a:gd name="connsiteX189" fmla="*/ 0 w 324091"/>
              <a:gd name="connsiteY189" fmla="*/ 1391732 h 6853150"/>
              <a:gd name="connsiteX190" fmla="*/ 0 w 324091"/>
              <a:gd name="connsiteY190" fmla="*/ 1192484 h 6853150"/>
              <a:gd name="connsiteX191" fmla="*/ 173216 w 324091"/>
              <a:gd name="connsiteY191" fmla="*/ 1192484 h 6853150"/>
              <a:gd name="connsiteX192" fmla="*/ 196076 w 324091"/>
              <a:gd name="connsiteY192" fmla="*/ 1215344 h 6853150"/>
              <a:gd name="connsiteX193" fmla="*/ 196075 w 324091"/>
              <a:gd name="connsiteY193" fmla="*/ 1215344 h 6853150"/>
              <a:gd name="connsiteX194" fmla="*/ 173215 w 324091"/>
              <a:gd name="connsiteY194" fmla="*/ 1238205 h 6853150"/>
              <a:gd name="connsiteX195" fmla="*/ 0 w 324091"/>
              <a:gd name="connsiteY195" fmla="*/ 1238205 h 6853150"/>
              <a:gd name="connsiteX196" fmla="*/ 0 w 324091"/>
              <a:gd name="connsiteY196" fmla="*/ 1038956 h 6853150"/>
              <a:gd name="connsiteX197" fmla="*/ 81776 w 324091"/>
              <a:gd name="connsiteY197" fmla="*/ 1038956 h 6853150"/>
              <a:gd name="connsiteX198" fmla="*/ 104636 w 324091"/>
              <a:gd name="connsiteY198" fmla="*/ 1061817 h 6853150"/>
              <a:gd name="connsiteX199" fmla="*/ 104635 w 324091"/>
              <a:gd name="connsiteY199" fmla="*/ 1061817 h 6853150"/>
              <a:gd name="connsiteX200" fmla="*/ 81775 w 324091"/>
              <a:gd name="connsiteY200" fmla="*/ 1084677 h 6853150"/>
              <a:gd name="connsiteX201" fmla="*/ 0 w 324091"/>
              <a:gd name="connsiteY201" fmla="*/ 1084677 h 6853150"/>
              <a:gd name="connsiteX202" fmla="*/ 0 w 324091"/>
              <a:gd name="connsiteY202" fmla="*/ 841173 h 6853150"/>
              <a:gd name="connsiteX203" fmla="*/ 279104 w 324091"/>
              <a:gd name="connsiteY203" fmla="*/ 841173 h 6853150"/>
              <a:gd name="connsiteX204" fmla="*/ 324091 w 324091"/>
              <a:gd name="connsiteY204" fmla="*/ 886160 h 6853150"/>
              <a:gd name="connsiteX205" fmla="*/ 279104 w 324091"/>
              <a:gd name="connsiteY205" fmla="*/ 931147 h 6853150"/>
              <a:gd name="connsiteX206" fmla="*/ 0 w 324091"/>
              <a:gd name="connsiteY206" fmla="*/ 931147 h 6853150"/>
              <a:gd name="connsiteX207" fmla="*/ 0 w 324091"/>
              <a:gd name="connsiteY207" fmla="*/ 663334 h 6853150"/>
              <a:gd name="connsiteX208" fmla="*/ 81776 w 324091"/>
              <a:gd name="connsiteY208" fmla="*/ 663334 h 6853150"/>
              <a:gd name="connsiteX209" fmla="*/ 104636 w 324091"/>
              <a:gd name="connsiteY209" fmla="*/ 686194 h 6853150"/>
              <a:gd name="connsiteX210" fmla="*/ 104635 w 324091"/>
              <a:gd name="connsiteY210" fmla="*/ 686194 h 6853150"/>
              <a:gd name="connsiteX211" fmla="*/ 81775 w 324091"/>
              <a:gd name="connsiteY211" fmla="*/ 709054 h 6853150"/>
              <a:gd name="connsiteX212" fmla="*/ 0 w 324091"/>
              <a:gd name="connsiteY212" fmla="*/ 709054 h 6853150"/>
              <a:gd name="connsiteX213" fmla="*/ 0 w 324091"/>
              <a:gd name="connsiteY213" fmla="*/ 509806 h 6853150"/>
              <a:gd name="connsiteX214" fmla="*/ 173216 w 324091"/>
              <a:gd name="connsiteY214" fmla="*/ 509806 h 6853150"/>
              <a:gd name="connsiteX215" fmla="*/ 196076 w 324091"/>
              <a:gd name="connsiteY215" fmla="*/ 532666 h 6853150"/>
              <a:gd name="connsiteX216" fmla="*/ 196075 w 324091"/>
              <a:gd name="connsiteY216" fmla="*/ 532666 h 6853150"/>
              <a:gd name="connsiteX217" fmla="*/ 173215 w 324091"/>
              <a:gd name="connsiteY217" fmla="*/ 555526 h 6853150"/>
              <a:gd name="connsiteX218" fmla="*/ 0 w 324091"/>
              <a:gd name="connsiteY218" fmla="*/ 555526 h 6853150"/>
              <a:gd name="connsiteX219" fmla="*/ 0 w 324091"/>
              <a:gd name="connsiteY219" fmla="*/ 356279 h 6853150"/>
              <a:gd name="connsiteX220" fmla="*/ 81776 w 324091"/>
              <a:gd name="connsiteY220" fmla="*/ 356279 h 6853150"/>
              <a:gd name="connsiteX221" fmla="*/ 104636 w 324091"/>
              <a:gd name="connsiteY221" fmla="*/ 379139 h 6853150"/>
              <a:gd name="connsiteX222" fmla="*/ 104635 w 324091"/>
              <a:gd name="connsiteY222" fmla="*/ 379139 h 6853150"/>
              <a:gd name="connsiteX223" fmla="*/ 81775 w 324091"/>
              <a:gd name="connsiteY223" fmla="*/ 401999 h 6853150"/>
              <a:gd name="connsiteX224" fmla="*/ 0 w 324091"/>
              <a:gd name="connsiteY224" fmla="*/ 401999 h 6853150"/>
              <a:gd name="connsiteX225" fmla="*/ 0 w 324091"/>
              <a:gd name="connsiteY225" fmla="*/ 158496 h 6853150"/>
              <a:gd name="connsiteX226" fmla="*/ 279104 w 324091"/>
              <a:gd name="connsiteY226" fmla="*/ 158496 h 6853150"/>
              <a:gd name="connsiteX227" fmla="*/ 324091 w 324091"/>
              <a:gd name="connsiteY227" fmla="*/ 203483 h 6853150"/>
              <a:gd name="connsiteX228" fmla="*/ 279104 w 324091"/>
              <a:gd name="connsiteY228" fmla="*/ 248470 h 6853150"/>
              <a:gd name="connsiteX229" fmla="*/ 0 w 324091"/>
              <a:gd name="connsiteY229" fmla="*/ 248470 h 6853150"/>
              <a:gd name="connsiteX230" fmla="*/ 0 w 324091"/>
              <a:gd name="connsiteY230" fmla="*/ 0 h 6853150"/>
              <a:gd name="connsiteX231" fmla="*/ 81776 w 324091"/>
              <a:gd name="connsiteY231" fmla="*/ 0 h 6853150"/>
              <a:gd name="connsiteX232" fmla="*/ 104636 w 324091"/>
              <a:gd name="connsiteY232" fmla="*/ 22860 h 6853150"/>
              <a:gd name="connsiteX233" fmla="*/ 104635 w 324091"/>
              <a:gd name="connsiteY233" fmla="*/ 22860 h 6853150"/>
              <a:gd name="connsiteX234" fmla="*/ 81775 w 324091"/>
              <a:gd name="connsiteY234" fmla="*/ 45720 h 6853150"/>
              <a:gd name="connsiteX235" fmla="*/ 0 w 324091"/>
              <a:gd name="connsiteY235" fmla="*/ 45720 h 6853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</a:cxnLst>
            <a:rect l="l" t="t" r="r" b="b"/>
            <a:pathLst>
              <a:path w="324091" h="6853150">
                <a:moveTo>
                  <a:pt x="0" y="6807430"/>
                </a:moveTo>
                <a:lnTo>
                  <a:pt x="81776" y="6807430"/>
                </a:lnTo>
                <a:cubicBezTo>
                  <a:pt x="94401" y="6807430"/>
                  <a:pt x="104636" y="6817665"/>
                  <a:pt x="104636" y="6830290"/>
                </a:cubicBezTo>
                <a:lnTo>
                  <a:pt x="104635" y="6830290"/>
                </a:lnTo>
                <a:cubicBezTo>
                  <a:pt x="104635" y="6842915"/>
                  <a:pt x="94400" y="6853150"/>
                  <a:pt x="81775" y="6853150"/>
                </a:cubicBezTo>
                <a:lnTo>
                  <a:pt x="0" y="6853150"/>
                </a:lnTo>
                <a:close/>
                <a:moveTo>
                  <a:pt x="0" y="6653902"/>
                </a:moveTo>
                <a:lnTo>
                  <a:pt x="173216" y="6653902"/>
                </a:lnTo>
                <a:cubicBezTo>
                  <a:pt x="185841" y="6653902"/>
                  <a:pt x="196076" y="6664137"/>
                  <a:pt x="196076" y="6676762"/>
                </a:cubicBezTo>
                <a:lnTo>
                  <a:pt x="196075" y="6676762"/>
                </a:lnTo>
                <a:cubicBezTo>
                  <a:pt x="196075" y="6689387"/>
                  <a:pt x="185840" y="6699622"/>
                  <a:pt x="173215" y="6699622"/>
                </a:cubicBezTo>
                <a:lnTo>
                  <a:pt x="0" y="6699622"/>
                </a:lnTo>
                <a:close/>
                <a:moveTo>
                  <a:pt x="0" y="6500374"/>
                </a:moveTo>
                <a:lnTo>
                  <a:pt x="81776" y="6500374"/>
                </a:lnTo>
                <a:cubicBezTo>
                  <a:pt x="94401" y="6500374"/>
                  <a:pt x="104636" y="6510609"/>
                  <a:pt x="104636" y="6523234"/>
                </a:cubicBezTo>
                <a:lnTo>
                  <a:pt x="104635" y="6523234"/>
                </a:lnTo>
                <a:cubicBezTo>
                  <a:pt x="104635" y="6535859"/>
                  <a:pt x="94400" y="6546094"/>
                  <a:pt x="81775" y="6546094"/>
                </a:cubicBezTo>
                <a:lnTo>
                  <a:pt x="0" y="6546094"/>
                </a:lnTo>
                <a:close/>
                <a:moveTo>
                  <a:pt x="0" y="6302591"/>
                </a:moveTo>
                <a:lnTo>
                  <a:pt x="279104" y="6302591"/>
                </a:lnTo>
                <a:cubicBezTo>
                  <a:pt x="303950" y="6302591"/>
                  <a:pt x="324091" y="6322732"/>
                  <a:pt x="324091" y="6347578"/>
                </a:cubicBezTo>
                <a:cubicBezTo>
                  <a:pt x="324091" y="6372424"/>
                  <a:pt x="303950" y="6392565"/>
                  <a:pt x="279104" y="6392565"/>
                </a:cubicBezTo>
                <a:lnTo>
                  <a:pt x="0" y="6392565"/>
                </a:lnTo>
                <a:close/>
                <a:moveTo>
                  <a:pt x="0" y="6124755"/>
                </a:moveTo>
                <a:lnTo>
                  <a:pt x="81776" y="6124755"/>
                </a:lnTo>
                <a:cubicBezTo>
                  <a:pt x="94401" y="6124755"/>
                  <a:pt x="104636" y="6134990"/>
                  <a:pt x="104636" y="6147615"/>
                </a:cubicBezTo>
                <a:lnTo>
                  <a:pt x="104635" y="6147615"/>
                </a:lnTo>
                <a:cubicBezTo>
                  <a:pt x="104635" y="6160240"/>
                  <a:pt x="94400" y="6170475"/>
                  <a:pt x="81775" y="6170475"/>
                </a:cubicBezTo>
                <a:lnTo>
                  <a:pt x="0" y="6170475"/>
                </a:lnTo>
                <a:close/>
                <a:moveTo>
                  <a:pt x="0" y="5971227"/>
                </a:moveTo>
                <a:lnTo>
                  <a:pt x="173216" y="5971227"/>
                </a:lnTo>
                <a:cubicBezTo>
                  <a:pt x="185841" y="5971227"/>
                  <a:pt x="196076" y="5981462"/>
                  <a:pt x="196076" y="5994087"/>
                </a:cubicBezTo>
                <a:lnTo>
                  <a:pt x="196075" y="5994087"/>
                </a:lnTo>
                <a:cubicBezTo>
                  <a:pt x="196075" y="6006712"/>
                  <a:pt x="185840" y="6016947"/>
                  <a:pt x="173215" y="6016947"/>
                </a:cubicBezTo>
                <a:lnTo>
                  <a:pt x="0" y="6016947"/>
                </a:lnTo>
                <a:close/>
                <a:moveTo>
                  <a:pt x="0" y="5817699"/>
                </a:moveTo>
                <a:lnTo>
                  <a:pt x="81776" y="5817699"/>
                </a:lnTo>
                <a:cubicBezTo>
                  <a:pt x="94401" y="5817699"/>
                  <a:pt x="104636" y="5827934"/>
                  <a:pt x="104636" y="5840559"/>
                </a:cubicBezTo>
                <a:lnTo>
                  <a:pt x="104635" y="5840559"/>
                </a:lnTo>
                <a:cubicBezTo>
                  <a:pt x="104635" y="5853184"/>
                  <a:pt x="94400" y="5863419"/>
                  <a:pt x="81775" y="5863419"/>
                </a:cubicBezTo>
                <a:lnTo>
                  <a:pt x="0" y="5863419"/>
                </a:lnTo>
                <a:close/>
                <a:moveTo>
                  <a:pt x="0" y="5619916"/>
                </a:moveTo>
                <a:lnTo>
                  <a:pt x="279104" y="5619916"/>
                </a:lnTo>
                <a:cubicBezTo>
                  <a:pt x="303950" y="5619916"/>
                  <a:pt x="324091" y="5640057"/>
                  <a:pt x="324091" y="5664903"/>
                </a:cubicBezTo>
                <a:cubicBezTo>
                  <a:pt x="324091" y="5689749"/>
                  <a:pt x="303950" y="5709890"/>
                  <a:pt x="279104" y="5709890"/>
                </a:cubicBezTo>
                <a:lnTo>
                  <a:pt x="0" y="5709890"/>
                </a:lnTo>
                <a:close/>
                <a:moveTo>
                  <a:pt x="0" y="5442077"/>
                </a:moveTo>
                <a:lnTo>
                  <a:pt x="81776" y="5442077"/>
                </a:lnTo>
                <a:cubicBezTo>
                  <a:pt x="94401" y="5442077"/>
                  <a:pt x="104636" y="5452312"/>
                  <a:pt x="104636" y="5464937"/>
                </a:cubicBezTo>
                <a:lnTo>
                  <a:pt x="104635" y="5464937"/>
                </a:lnTo>
                <a:cubicBezTo>
                  <a:pt x="104635" y="5477562"/>
                  <a:pt x="94400" y="5487797"/>
                  <a:pt x="81775" y="5487797"/>
                </a:cubicBezTo>
                <a:lnTo>
                  <a:pt x="0" y="5487797"/>
                </a:lnTo>
                <a:close/>
                <a:moveTo>
                  <a:pt x="0" y="5288549"/>
                </a:moveTo>
                <a:lnTo>
                  <a:pt x="173216" y="5288549"/>
                </a:lnTo>
                <a:cubicBezTo>
                  <a:pt x="185841" y="5288549"/>
                  <a:pt x="196076" y="5298784"/>
                  <a:pt x="196076" y="5311409"/>
                </a:cubicBezTo>
                <a:lnTo>
                  <a:pt x="196075" y="5311409"/>
                </a:lnTo>
                <a:cubicBezTo>
                  <a:pt x="196075" y="5324034"/>
                  <a:pt x="185840" y="5334269"/>
                  <a:pt x="173215" y="5334269"/>
                </a:cubicBezTo>
                <a:lnTo>
                  <a:pt x="0" y="5334269"/>
                </a:lnTo>
                <a:close/>
                <a:moveTo>
                  <a:pt x="0" y="5135021"/>
                </a:moveTo>
                <a:lnTo>
                  <a:pt x="81776" y="5135021"/>
                </a:lnTo>
                <a:cubicBezTo>
                  <a:pt x="94401" y="5135021"/>
                  <a:pt x="104636" y="5145256"/>
                  <a:pt x="104636" y="5157881"/>
                </a:cubicBezTo>
                <a:lnTo>
                  <a:pt x="104635" y="5157881"/>
                </a:lnTo>
                <a:cubicBezTo>
                  <a:pt x="104635" y="5170506"/>
                  <a:pt x="94400" y="5180741"/>
                  <a:pt x="81775" y="5180741"/>
                </a:cubicBezTo>
                <a:lnTo>
                  <a:pt x="0" y="5180741"/>
                </a:lnTo>
                <a:close/>
                <a:moveTo>
                  <a:pt x="0" y="4937238"/>
                </a:moveTo>
                <a:lnTo>
                  <a:pt x="279104" y="4937238"/>
                </a:lnTo>
                <a:cubicBezTo>
                  <a:pt x="303950" y="4937238"/>
                  <a:pt x="324091" y="4957379"/>
                  <a:pt x="324091" y="4982225"/>
                </a:cubicBezTo>
                <a:cubicBezTo>
                  <a:pt x="324091" y="5007071"/>
                  <a:pt x="303950" y="5027212"/>
                  <a:pt x="279104" y="5027212"/>
                </a:cubicBezTo>
                <a:lnTo>
                  <a:pt x="0" y="5027212"/>
                </a:lnTo>
                <a:close/>
                <a:moveTo>
                  <a:pt x="0" y="4759399"/>
                </a:moveTo>
                <a:lnTo>
                  <a:pt x="81776" y="4759399"/>
                </a:lnTo>
                <a:cubicBezTo>
                  <a:pt x="94401" y="4759399"/>
                  <a:pt x="104636" y="4769634"/>
                  <a:pt x="104636" y="4782259"/>
                </a:cubicBezTo>
                <a:lnTo>
                  <a:pt x="104635" y="4782259"/>
                </a:lnTo>
                <a:cubicBezTo>
                  <a:pt x="104635" y="4794884"/>
                  <a:pt x="94400" y="4805119"/>
                  <a:pt x="81775" y="4805119"/>
                </a:cubicBezTo>
                <a:lnTo>
                  <a:pt x="0" y="4805119"/>
                </a:lnTo>
                <a:close/>
                <a:moveTo>
                  <a:pt x="0" y="4605871"/>
                </a:moveTo>
                <a:lnTo>
                  <a:pt x="173216" y="4605871"/>
                </a:lnTo>
                <a:cubicBezTo>
                  <a:pt x="185841" y="4605871"/>
                  <a:pt x="196076" y="4616106"/>
                  <a:pt x="196076" y="4628731"/>
                </a:cubicBezTo>
                <a:lnTo>
                  <a:pt x="196075" y="4628731"/>
                </a:lnTo>
                <a:cubicBezTo>
                  <a:pt x="196075" y="4641356"/>
                  <a:pt x="185840" y="4651591"/>
                  <a:pt x="173215" y="4651591"/>
                </a:cubicBezTo>
                <a:lnTo>
                  <a:pt x="0" y="4651591"/>
                </a:lnTo>
                <a:close/>
                <a:moveTo>
                  <a:pt x="0" y="4452343"/>
                </a:moveTo>
                <a:lnTo>
                  <a:pt x="81776" y="4452343"/>
                </a:lnTo>
                <a:cubicBezTo>
                  <a:pt x="94401" y="4452343"/>
                  <a:pt x="104636" y="4462578"/>
                  <a:pt x="104636" y="4475203"/>
                </a:cubicBezTo>
                <a:lnTo>
                  <a:pt x="104635" y="4475203"/>
                </a:lnTo>
                <a:cubicBezTo>
                  <a:pt x="104635" y="4487828"/>
                  <a:pt x="94400" y="4498063"/>
                  <a:pt x="81775" y="4498063"/>
                </a:cubicBezTo>
                <a:lnTo>
                  <a:pt x="0" y="4498063"/>
                </a:lnTo>
                <a:close/>
                <a:moveTo>
                  <a:pt x="0" y="4254560"/>
                </a:moveTo>
                <a:lnTo>
                  <a:pt x="279104" y="4254560"/>
                </a:lnTo>
                <a:cubicBezTo>
                  <a:pt x="303950" y="4254560"/>
                  <a:pt x="324091" y="4274701"/>
                  <a:pt x="324091" y="4299547"/>
                </a:cubicBezTo>
                <a:cubicBezTo>
                  <a:pt x="324091" y="4324393"/>
                  <a:pt x="303950" y="4344534"/>
                  <a:pt x="279104" y="4344534"/>
                </a:cubicBezTo>
                <a:lnTo>
                  <a:pt x="0" y="4344534"/>
                </a:lnTo>
                <a:close/>
                <a:moveTo>
                  <a:pt x="0" y="4076721"/>
                </a:moveTo>
                <a:lnTo>
                  <a:pt x="81776" y="4076721"/>
                </a:lnTo>
                <a:cubicBezTo>
                  <a:pt x="94401" y="4076721"/>
                  <a:pt x="104636" y="4086956"/>
                  <a:pt x="104636" y="4099581"/>
                </a:cubicBezTo>
                <a:lnTo>
                  <a:pt x="104635" y="4099581"/>
                </a:lnTo>
                <a:cubicBezTo>
                  <a:pt x="104635" y="4112206"/>
                  <a:pt x="94400" y="4122441"/>
                  <a:pt x="81775" y="4122441"/>
                </a:cubicBezTo>
                <a:lnTo>
                  <a:pt x="0" y="4122441"/>
                </a:lnTo>
                <a:close/>
                <a:moveTo>
                  <a:pt x="0" y="3923193"/>
                </a:moveTo>
                <a:lnTo>
                  <a:pt x="173216" y="3923193"/>
                </a:lnTo>
                <a:cubicBezTo>
                  <a:pt x="185841" y="3923193"/>
                  <a:pt x="196076" y="3933428"/>
                  <a:pt x="196076" y="3946053"/>
                </a:cubicBezTo>
                <a:lnTo>
                  <a:pt x="196075" y="3946053"/>
                </a:lnTo>
                <a:cubicBezTo>
                  <a:pt x="196075" y="3958678"/>
                  <a:pt x="185840" y="3968913"/>
                  <a:pt x="173215" y="3968913"/>
                </a:cubicBezTo>
                <a:lnTo>
                  <a:pt x="0" y="3968913"/>
                </a:lnTo>
                <a:close/>
                <a:moveTo>
                  <a:pt x="0" y="3769665"/>
                </a:moveTo>
                <a:lnTo>
                  <a:pt x="81776" y="3769665"/>
                </a:lnTo>
                <a:cubicBezTo>
                  <a:pt x="94401" y="3769665"/>
                  <a:pt x="104636" y="3779900"/>
                  <a:pt x="104636" y="3792525"/>
                </a:cubicBezTo>
                <a:lnTo>
                  <a:pt x="104635" y="3792525"/>
                </a:lnTo>
                <a:cubicBezTo>
                  <a:pt x="104635" y="3805150"/>
                  <a:pt x="94400" y="3815385"/>
                  <a:pt x="81775" y="3815385"/>
                </a:cubicBezTo>
                <a:lnTo>
                  <a:pt x="0" y="3815385"/>
                </a:lnTo>
                <a:close/>
                <a:moveTo>
                  <a:pt x="0" y="3571882"/>
                </a:moveTo>
                <a:lnTo>
                  <a:pt x="279104" y="3571882"/>
                </a:lnTo>
                <a:cubicBezTo>
                  <a:pt x="303950" y="3571882"/>
                  <a:pt x="324091" y="3592023"/>
                  <a:pt x="324091" y="3616869"/>
                </a:cubicBezTo>
                <a:cubicBezTo>
                  <a:pt x="324091" y="3641715"/>
                  <a:pt x="303950" y="3661856"/>
                  <a:pt x="279104" y="3661856"/>
                </a:cubicBezTo>
                <a:lnTo>
                  <a:pt x="0" y="3661856"/>
                </a:lnTo>
                <a:close/>
                <a:moveTo>
                  <a:pt x="0" y="3394043"/>
                </a:moveTo>
                <a:lnTo>
                  <a:pt x="81776" y="3394043"/>
                </a:lnTo>
                <a:cubicBezTo>
                  <a:pt x="94401" y="3394043"/>
                  <a:pt x="104636" y="3404279"/>
                  <a:pt x="104636" y="3416905"/>
                </a:cubicBezTo>
                <a:lnTo>
                  <a:pt x="104635" y="3416905"/>
                </a:lnTo>
                <a:cubicBezTo>
                  <a:pt x="104635" y="3429528"/>
                  <a:pt x="94400" y="3439763"/>
                  <a:pt x="81775" y="3439763"/>
                </a:cubicBezTo>
                <a:lnTo>
                  <a:pt x="0" y="3439763"/>
                </a:lnTo>
                <a:close/>
                <a:moveTo>
                  <a:pt x="0" y="3240516"/>
                </a:moveTo>
                <a:lnTo>
                  <a:pt x="173216" y="3240516"/>
                </a:lnTo>
                <a:cubicBezTo>
                  <a:pt x="185841" y="3240516"/>
                  <a:pt x="196076" y="3250752"/>
                  <a:pt x="196076" y="3263376"/>
                </a:cubicBezTo>
                <a:lnTo>
                  <a:pt x="196075" y="3263376"/>
                </a:lnTo>
                <a:cubicBezTo>
                  <a:pt x="196075" y="3276001"/>
                  <a:pt x="185840" y="3286236"/>
                  <a:pt x="173215" y="3286236"/>
                </a:cubicBezTo>
                <a:lnTo>
                  <a:pt x="0" y="3286236"/>
                </a:lnTo>
                <a:close/>
                <a:moveTo>
                  <a:pt x="0" y="3086989"/>
                </a:moveTo>
                <a:lnTo>
                  <a:pt x="81776" y="3086989"/>
                </a:lnTo>
                <a:cubicBezTo>
                  <a:pt x="94401" y="3086989"/>
                  <a:pt x="104636" y="3097224"/>
                  <a:pt x="104636" y="3109849"/>
                </a:cubicBezTo>
                <a:lnTo>
                  <a:pt x="104635" y="3109849"/>
                </a:lnTo>
                <a:cubicBezTo>
                  <a:pt x="104635" y="3122474"/>
                  <a:pt x="94400" y="3132709"/>
                  <a:pt x="81775" y="3132709"/>
                </a:cubicBezTo>
                <a:lnTo>
                  <a:pt x="0" y="3132709"/>
                </a:lnTo>
                <a:close/>
                <a:moveTo>
                  <a:pt x="0" y="2889206"/>
                </a:moveTo>
                <a:lnTo>
                  <a:pt x="279104" y="2889206"/>
                </a:lnTo>
                <a:cubicBezTo>
                  <a:pt x="303950" y="2889206"/>
                  <a:pt x="324091" y="2909347"/>
                  <a:pt x="324091" y="2934194"/>
                </a:cubicBezTo>
                <a:cubicBezTo>
                  <a:pt x="324091" y="2959039"/>
                  <a:pt x="303950" y="2979180"/>
                  <a:pt x="279104" y="2979180"/>
                </a:cubicBezTo>
                <a:lnTo>
                  <a:pt x="0" y="2979180"/>
                </a:lnTo>
                <a:close/>
                <a:moveTo>
                  <a:pt x="0" y="2711367"/>
                </a:moveTo>
                <a:lnTo>
                  <a:pt x="81776" y="2711367"/>
                </a:lnTo>
                <a:cubicBezTo>
                  <a:pt x="94401" y="2711367"/>
                  <a:pt x="104636" y="2721602"/>
                  <a:pt x="104636" y="2734227"/>
                </a:cubicBezTo>
                <a:lnTo>
                  <a:pt x="104635" y="2734227"/>
                </a:lnTo>
                <a:cubicBezTo>
                  <a:pt x="104635" y="2746852"/>
                  <a:pt x="94400" y="2757087"/>
                  <a:pt x="81775" y="2757087"/>
                </a:cubicBezTo>
                <a:lnTo>
                  <a:pt x="0" y="2757087"/>
                </a:lnTo>
                <a:close/>
                <a:moveTo>
                  <a:pt x="0" y="2557839"/>
                </a:moveTo>
                <a:lnTo>
                  <a:pt x="173216" y="2557839"/>
                </a:lnTo>
                <a:cubicBezTo>
                  <a:pt x="185841" y="2557839"/>
                  <a:pt x="196076" y="2568074"/>
                  <a:pt x="196076" y="2580699"/>
                </a:cubicBezTo>
                <a:lnTo>
                  <a:pt x="196075" y="2580699"/>
                </a:lnTo>
                <a:cubicBezTo>
                  <a:pt x="196075" y="2593324"/>
                  <a:pt x="185840" y="2603559"/>
                  <a:pt x="173215" y="2603559"/>
                </a:cubicBezTo>
                <a:lnTo>
                  <a:pt x="0" y="2603559"/>
                </a:lnTo>
                <a:close/>
                <a:moveTo>
                  <a:pt x="0" y="2404312"/>
                </a:moveTo>
                <a:lnTo>
                  <a:pt x="81776" y="2404312"/>
                </a:lnTo>
                <a:cubicBezTo>
                  <a:pt x="94401" y="2404312"/>
                  <a:pt x="104636" y="2414546"/>
                  <a:pt x="104636" y="2427171"/>
                </a:cubicBezTo>
                <a:lnTo>
                  <a:pt x="104635" y="2427171"/>
                </a:lnTo>
                <a:cubicBezTo>
                  <a:pt x="104635" y="2439796"/>
                  <a:pt x="94400" y="2450032"/>
                  <a:pt x="81775" y="2450032"/>
                </a:cubicBezTo>
                <a:lnTo>
                  <a:pt x="0" y="2450032"/>
                </a:lnTo>
                <a:close/>
                <a:moveTo>
                  <a:pt x="0" y="2206528"/>
                </a:moveTo>
                <a:lnTo>
                  <a:pt x="279104" y="2206528"/>
                </a:lnTo>
                <a:cubicBezTo>
                  <a:pt x="303950" y="2206528"/>
                  <a:pt x="324091" y="2226669"/>
                  <a:pt x="324091" y="2251515"/>
                </a:cubicBezTo>
                <a:cubicBezTo>
                  <a:pt x="324091" y="2276362"/>
                  <a:pt x="303950" y="2296503"/>
                  <a:pt x="279104" y="2296503"/>
                </a:cubicBezTo>
                <a:lnTo>
                  <a:pt x="0" y="2296503"/>
                </a:lnTo>
                <a:close/>
                <a:moveTo>
                  <a:pt x="0" y="2028689"/>
                </a:moveTo>
                <a:lnTo>
                  <a:pt x="81776" y="2028689"/>
                </a:lnTo>
                <a:cubicBezTo>
                  <a:pt x="94401" y="2028689"/>
                  <a:pt x="104636" y="2038925"/>
                  <a:pt x="104636" y="2051550"/>
                </a:cubicBezTo>
                <a:lnTo>
                  <a:pt x="104635" y="2051550"/>
                </a:lnTo>
                <a:cubicBezTo>
                  <a:pt x="104635" y="2064175"/>
                  <a:pt x="94400" y="2074409"/>
                  <a:pt x="81775" y="2074409"/>
                </a:cubicBezTo>
                <a:lnTo>
                  <a:pt x="0" y="2074409"/>
                </a:lnTo>
                <a:close/>
                <a:moveTo>
                  <a:pt x="0" y="1875162"/>
                </a:moveTo>
                <a:lnTo>
                  <a:pt x="173216" y="1875162"/>
                </a:lnTo>
                <a:cubicBezTo>
                  <a:pt x="185841" y="1875162"/>
                  <a:pt x="196076" y="1885397"/>
                  <a:pt x="196076" y="1898022"/>
                </a:cubicBezTo>
                <a:lnTo>
                  <a:pt x="196075" y="1898022"/>
                </a:lnTo>
                <a:cubicBezTo>
                  <a:pt x="196075" y="1910647"/>
                  <a:pt x="185840" y="1920882"/>
                  <a:pt x="173215" y="1920882"/>
                </a:cubicBezTo>
                <a:lnTo>
                  <a:pt x="0" y="1920882"/>
                </a:lnTo>
                <a:close/>
                <a:moveTo>
                  <a:pt x="0" y="1721635"/>
                </a:moveTo>
                <a:lnTo>
                  <a:pt x="81776" y="1721635"/>
                </a:lnTo>
                <a:cubicBezTo>
                  <a:pt x="94401" y="1721635"/>
                  <a:pt x="104636" y="1731870"/>
                  <a:pt x="104636" y="1744495"/>
                </a:cubicBezTo>
                <a:lnTo>
                  <a:pt x="104635" y="1744495"/>
                </a:lnTo>
                <a:cubicBezTo>
                  <a:pt x="104635" y="1757120"/>
                  <a:pt x="94400" y="1767355"/>
                  <a:pt x="81775" y="1767355"/>
                </a:cubicBezTo>
                <a:lnTo>
                  <a:pt x="0" y="1767355"/>
                </a:lnTo>
                <a:close/>
                <a:moveTo>
                  <a:pt x="0" y="1523851"/>
                </a:moveTo>
                <a:lnTo>
                  <a:pt x="279104" y="1523851"/>
                </a:lnTo>
                <a:cubicBezTo>
                  <a:pt x="303950" y="1523851"/>
                  <a:pt x="324091" y="1543992"/>
                  <a:pt x="324091" y="1568838"/>
                </a:cubicBezTo>
                <a:cubicBezTo>
                  <a:pt x="324091" y="1593684"/>
                  <a:pt x="303950" y="1613826"/>
                  <a:pt x="279104" y="1613826"/>
                </a:cubicBezTo>
                <a:lnTo>
                  <a:pt x="0" y="1613826"/>
                </a:lnTo>
                <a:close/>
                <a:moveTo>
                  <a:pt x="0" y="1346012"/>
                </a:moveTo>
                <a:lnTo>
                  <a:pt x="81776" y="1346012"/>
                </a:lnTo>
                <a:cubicBezTo>
                  <a:pt x="94401" y="1346012"/>
                  <a:pt x="104636" y="1356247"/>
                  <a:pt x="104636" y="1368872"/>
                </a:cubicBezTo>
                <a:lnTo>
                  <a:pt x="104635" y="1368872"/>
                </a:lnTo>
                <a:cubicBezTo>
                  <a:pt x="104635" y="1381497"/>
                  <a:pt x="94400" y="1391732"/>
                  <a:pt x="81775" y="1391732"/>
                </a:cubicBezTo>
                <a:lnTo>
                  <a:pt x="0" y="1391732"/>
                </a:lnTo>
                <a:close/>
                <a:moveTo>
                  <a:pt x="0" y="1192484"/>
                </a:moveTo>
                <a:lnTo>
                  <a:pt x="173216" y="1192484"/>
                </a:lnTo>
                <a:cubicBezTo>
                  <a:pt x="185841" y="1192484"/>
                  <a:pt x="196076" y="1202719"/>
                  <a:pt x="196076" y="1215344"/>
                </a:cubicBezTo>
                <a:lnTo>
                  <a:pt x="196075" y="1215344"/>
                </a:lnTo>
                <a:cubicBezTo>
                  <a:pt x="196075" y="1227969"/>
                  <a:pt x="185840" y="1238205"/>
                  <a:pt x="173215" y="1238205"/>
                </a:cubicBezTo>
                <a:lnTo>
                  <a:pt x="0" y="1238205"/>
                </a:lnTo>
                <a:close/>
                <a:moveTo>
                  <a:pt x="0" y="1038956"/>
                </a:moveTo>
                <a:lnTo>
                  <a:pt x="81776" y="1038956"/>
                </a:lnTo>
                <a:cubicBezTo>
                  <a:pt x="94401" y="1038956"/>
                  <a:pt x="104636" y="1049192"/>
                  <a:pt x="104636" y="1061817"/>
                </a:cubicBezTo>
                <a:lnTo>
                  <a:pt x="104635" y="1061817"/>
                </a:lnTo>
                <a:cubicBezTo>
                  <a:pt x="104635" y="1074442"/>
                  <a:pt x="94400" y="1084677"/>
                  <a:pt x="81775" y="1084677"/>
                </a:cubicBezTo>
                <a:lnTo>
                  <a:pt x="0" y="1084677"/>
                </a:lnTo>
                <a:close/>
                <a:moveTo>
                  <a:pt x="0" y="841173"/>
                </a:moveTo>
                <a:lnTo>
                  <a:pt x="279104" y="841173"/>
                </a:lnTo>
                <a:cubicBezTo>
                  <a:pt x="303950" y="841173"/>
                  <a:pt x="324091" y="861314"/>
                  <a:pt x="324091" y="886160"/>
                </a:cubicBezTo>
                <a:cubicBezTo>
                  <a:pt x="324091" y="911007"/>
                  <a:pt x="303950" y="931147"/>
                  <a:pt x="279104" y="931147"/>
                </a:cubicBezTo>
                <a:lnTo>
                  <a:pt x="0" y="931147"/>
                </a:lnTo>
                <a:close/>
                <a:moveTo>
                  <a:pt x="0" y="663334"/>
                </a:moveTo>
                <a:lnTo>
                  <a:pt x="81776" y="663334"/>
                </a:lnTo>
                <a:cubicBezTo>
                  <a:pt x="94401" y="663334"/>
                  <a:pt x="104636" y="673569"/>
                  <a:pt x="104636" y="686194"/>
                </a:cubicBezTo>
                <a:lnTo>
                  <a:pt x="104635" y="686194"/>
                </a:lnTo>
                <a:cubicBezTo>
                  <a:pt x="104635" y="698819"/>
                  <a:pt x="94400" y="709054"/>
                  <a:pt x="81775" y="709054"/>
                </a:cubicBezTo>
                <a:lnTo>
                  <a:pt x="0" y="709054"/>
                </a:lnTo>
                <a:close/>
                <a:moveTo>
                  <a:pt x="0" y="509806"/>
                </a:moveTo>
                <a:lnTo>
                  <a:pt x="173216" y="509806"/>
                </a:lnTo>
                <a:cubicBezTo>
                  <a:pt x="185841" y="509806"/>
                  <a:pt x="196076" y="520041"/>
                  <a:pt x="196076" y="532666"/>
                </a:cubicBezTo>
                <a:lnTo>
                  <a:pt x="196075" y="532666"/>
                </a:lnTo>
                <a:cubicBezTo>
                  <a:pt x="196075" y="545291"/>
                  <a:pt x="185840" y="555526"/>
                  <a:pt x="173215" y="555526"/>
                </a:cubicBezTo>
                <a:lnTo>
                  <a:pt x="0" y="555526"/>
                </a:lnTo>
                <a:close/>
                <a:moveTo>
                  <a:pt x="0" y="356279"/>
                </a:moveTo>
                <a:lnTo>
                  <a:pt x="81776" y="356279"/>
                </a:lnTo>
                <a:cubicBezTo>
                  <a:pt x="94401" y="356279"/>
                  <a:pt x="104636" y="366514"/>
                  <a:pt x="104636" y="379139"/>
                </a:cubicBezTo>
                <a:lnTo>
                  <a:pt x="104635" y="379139"/>
                </a:lnTo>
                <a:cubicBezTo>
                  <a:pt x="104635" y="391764"/>
                  <a:pt x="94400" y="401999"/>
                  <a:pt x="81775" y="401999"/>
                </a:cubicBezTo>
                <a:lnTo>
                  <a:pt x="0" y="401999"/>
                </a:lnTo>
                <a:close/>
                <a:moveTo>
                  <a:pt x="0" y="158496"/>
                </a:moveTo>
                <a:lnTo>
                  <a:pt x="279104" y="158496"/>
                </a:lnTo>
                <a:cubicBezTo>
                  <a:pt x="303950" y="158496"/>
                  <a:pt x="324091" y="178637"/>
                  <a:pt x="324091" y="203483"/>
                </a:cubicBezTo>
                <a:cubicBezTo>
                  <a:pt x="324091" y="228329"/>
                  <a:pt x="303950" y="248470"/>
                  <a:pt x="279104" y="248470"/>
                </a:cubicBezTo>
                <a:lnTo>
                  <a:pt x="0" y="248470"/>
                </a:lnTo>
                <a:close/>
                <a:moveTo>
                  <a:pt x="0" y="0"/>
                </a:moveTo>
                <a:lnTo>
                  <a:pt x="81776" y="0"/>
                </a:lnTo>
                <a:cubicBezTo>
                  <a:pt x="94401" y="0"/>
                  <a:pt x="104636" y="10235"/>
                  <a:pt x="104636" y="22860"/>
                </a:cubicBezTo>
                <a:lnTo>
                  <a:pt x="104635" y="22860"/>
                </a:lnTo>
                <a:cubicBezTo>
                  <a:pt x="104635" y="35485"/>
                  <a:pt x="94400" y="45720"/>
                  <a:pt x="81775" y="45720"/>
                </a:cubicBezTo>
                <a:lnTo>
                  <a:pt x="0" y="45720"/>
                </a:lnTo>
                <a:close/>
              </a:path>
            </a:pathLst>
          </a:custGeom>
          <a:solidFill>
            <a:schemeClr val="bg1">
              <a:alpha val="3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799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C309840-91AB-4C66-94CD-DBA446B53D4B}"/>
              </a:ext>
            </a:extLst>
          </p:cNvPr>
          <p:cNvCxnSpPr>
            <a:cxnSpLocks/>
          </p:cNvCxnSpPr>
          <p:nvPr userDrawn="1"/>
        </p:nvCxnSpPr>
        <p:spPr>
          <a:xfrm>
            <a:off x="1324037" y="3645839"/>
            <a:ext cx="212432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3F163C6F-8241-4517-B3D0-E5CA455564A4}"/>
              </a:ext>
            </a:extLst>
          </p:cNvPr>
          <p:cNvSpPr/>
          <p:nvPr userDrawn="1"/>
        </p:nvSpPr>
        <p:spPr>
          <a:xfrm>
            <a:off x="406294" y="6705600"/>
            <a:ext cx="11376237" cy="15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800">
                <a:solidFill>
                  <a:schemeClr val="bg1"/>
                </a:solidFill>
                <a:ea typeface="MS PGothic" pitchFamily="34" charset="-128"/>
              </a:rPr>
              <a:t>Pfizer Confidential – Internal Use Only, Not for Further Distribution</a:t>
            </a:r>
            <a:endParaRPr lang="en-US" sz="800">
              <a:solidFill>
                <a:schemeClr val="bg1"/>
              </a:solidFill>
              <a:ea typeface="MS PGothic" pitchFamily="34" charset="-128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FEDA845-42EA-4BE0-B4D1-F23E18BDA3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82578" y="6345913"/>
            <a:ext cx="638115" cy="370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9930013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83045-6CB7-4C88-8A4E-57AB94F2948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7373FB9-336B-4823-A4F3-D036E71CE9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441" y="6319838"/>
            <a:ext cx="10406527" cy="347662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/>
            </a:lvl1pPr>
            <a:lvl2pPr marL="457063" indent="0">
              <a:buNone/>
              <a:defRPr sz="1000"/>
            </a:lvl2pPr>
            <a:lvl3pPr marL="914126" indent="0">
              <a:buNone/>
              <a:defRPr sz="10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</a:lstStyle>
          <a:p>
            <a:pPr lvl="0"/>
            <a:r>
              <a:rPr lang="en-US"/>
              <a:t>Click to edit Footnotes/References</a:t>
            </a:r>
          </a:p>
        </p:txBody>
      </p:sp>
    </p:spTree>
    <p:extLst>
      <p:ext uri="{BB962C8B-B14F-4D97-AF65-F5344CB8AC3E}">
        <p14:creationId xmlns:p14="http://schemas.microsoft.com/office/powerpoint/2010/main" val="73708065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7936" indent="-7936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/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251265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6348" indent="-6348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75648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307593"/>
            <a:ext cx="11292840" cy="43251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6348" indent="-6348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640984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Navigation 1 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C4A93A-2CC3-A7B5-39A7-7B3E516423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F7C151-F43C-8DAF-213F-C60CF6025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A30784-4464-9D2D-E7BB-4DFBEE4C70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FB62BA-FEC3-4D30-A579-9FFC05D5D28E}" type="slidenum">
              <a:rPr lang="en-GB" smtClean="0"/>
              <a:t>‹#›</a:t>
            </a:fld>
            <a:endParaRPr lang="en-GB"/>
          </a:p>
        </p:txBody>
      </p:sp>
      <p:sp>
        <p:nvSpPr>
          <p:cNvPr id="31" name="Title 30">
            <a:extLst>
              <a:ext uri="{FF2B5EF4-FFF2-40B4-BE49-F238E27FC236}">
                <a16:creationId xmlns:a16="http://schemas.microsoft.com/office/drawing/2014/main" id="{7DDF2A6C-8BBE-1837-AE57-6B55A2B956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39516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2368296"/>
            <a:ext cx="11291583" cy="3383280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1129284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835580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7" y="2368296"/>
            <a:ext cx="5486400" cy="3383280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6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3383280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308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7" y="2368296"/>
            <a:ext cx="5486400" cy="3383280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531" indent="-228531" algn="l" defTabSz="914126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3" algn="r"/>
                <a:tab pos="228531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4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6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48AB6F3-8F33-46C5-B8AF-C6C2DBA35DAC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6262957" y="4471416"/>
            <a:ext cx="5486400" cy="1276312"/>
          </a:xfrm>
        </p:spPr>
        <p:txBody>
          <a:bodyPr/>
          <a:lstStyle>
            <a:lvl1pPr marL="172986" indent="-172986">
              <a:spcBef>
                <a:spcPts val="1000"/>
              </a:spcBef>
              <a:defRPr sz="1600"/>
            </a:lvl1pPr>
            <a:lvl2pPr marL="347559" indent="-119027">
              <a:spcBef>
                <a:spcPts val="500"/>
              </a:spcBef>
              <a:defRPr sz="1400"/>
            </a:lvl2pPr>
            <a:lvl3pPr marL="512609" indent="-107918">
              <a:spcBef>
                <a:spcPts val="200"/>
              </a:spcBef>
              <a:defRPr sz="1200"/>
            </a:lvl3pPr>
            <a:lvl4pPr marL="685594" indent="-109505">
              <a:spcBef>
                <a:spcPts val="200"/>
              </a:spcBef>
              <a:defRPr sz="1100"/>
            </a:lvl4pPr>
            <a:lvl5pPr marL="858580" indent="-117440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EA1C6BA-0114-4F33-85B2-4176902D014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62957" y="3911906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799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804538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slideLayout" Target="../slideLayouts/slideLayout48.xml"/><Relationship Id="rId39" Type="http://schemas.openxmlformats.org/officeDocument/2006/relationships/slideLayout" Target="../slideLayouts/slideLayout61.xml"/><Relationship Id="rId21" Type="http://schemas.openxmlformats.org/officeDocument/2006/relationships/slideLayout" Target="../slideLayouts/slideLayout43.xml"/><Relationship Id="rId34" Type="http://schemas.openxmlformats.org/officeDocument/2006/relationships/slideLayout" Target="../slideLayouts/slideLayout56.xml"/><Relationship Id="rId42" Type="http://schemas.openxmlformats.org/officeDocument/2006/relationships/slideLayout" Target="../slideLayouts/slideLayout64.xml"/><Relationship Id="rId47" Type="http://schemas.openxmlformats.org/officeDocument/2006/relationships/slideLayout" Target="../slideLayouts/slideLayout69.xml"/><Relationship Id="rId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9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33.xml"/><Relationship Id="rId24" Type="http://schemas.openxmlformats.org/officeDocument/2006/relationships/slideLayout" Target="../slideLayouts/slideLayout46.xml"/><Relationship Id="rId32" Type="http://schemas.openxmlformats.org/officeDocument/2006/relationships/slideLayout" Target="../slideLayouts/slideLayout54.xml"/><Relationship Id="rId37" Type="http://schemas.openxmlformats.org/officeDocument/2006/relationships/slideLayout" Target="../slideLayouts/slideLayout59.xml"/><Relationship Id="rId40" Type="http://schemas.openxmlformats.org/officeDocument/2006/relationships/slideLayout" Target="../slideLayouts/slideLayout62.xml"/><Relationship Id="rId45" Type="http://schemas.openxmlformats.org/officeDocument/2006/relationships/slideLayout" Target="../slideLayouts/slideLayout67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slideLayout" Target="../slideLayouts/slideLayout45.xml"/><Relationship Id="rId28" Type="http://schemas.openxmlformats.org/officeDocument/2006/relationships/slideLayout" Target="../slideLayouts/slideLayout50.xml"/><Relationship Id="rId36" Type="http://schemas.openxmlformats.org/officeDocument/2006/relationships/slideLayout" Target="../slideLayouts/slideLayout58.xml"/><Relationship Id="rId49" Type="http://schemas.openxmlformats.org/officeDocument/2006/relationships/image" Target="../media/image9.png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31" Type="http://schemas.openxmlformats.org/officeDocument/2006/relationships/slideLayout" Target="../slideLayouts/slideLayout53.xml"/><Relationship Id="rId44" Type="http://schemas.openxmlformats.org/officeDocument/2006/relationships/slideLayout" Target="../slideLayouts/slideLayout66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Relationship Id="rId27" Type="http://schemas.openxmlformats.org/officeDocument/2006/relationships/slideLayout" Target="../slideLayouts/slideLayout49.xml"/><Relationship Id="rId30" Type="http://schemas.openxmlformats.org/officeDocument/2006/relationships/slideLayout" Target="../slideLayouts/slideLayout52.xml"/><Relationship Id="rId35" Type="http://schemas.openxmlformats.org/officeDocument/2006/relationships/slideLayout" Target="../slideLayouts/slideLayout57.xml"/><Relationship Id="rId43" Type="http://schemas.openxmlformats.org/officeDocument/2006/relationships/slideLayout" Target="../slideLayouts/slideLayout65.xml"/><Relationship Id="rId48" Type="http://schemas.openxmlformats.org/officeDocument/2006/relationships/theme" Target="../theme/theme2.xml"/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slideLayout" Target="../slideLayouts/slideLayout47.xml"/><Relationship Id="rId33" Type="http://schemas.openxmlformats.org/officeDocument/2006/relationships/slideLayout" Target="../slideLayouts/slideLayout55.xml"/><Relationship Id="rId38" Type="http://schemas.openxmlformats.org/officeDocument/2006/relationships/slideLayout" Target="../slideLayouts/slideLayout60.xml"/><Relationship Id="rId46" Type="http://schemas.openxmlformats.org/officeDocument/2006/relationships/slideLayout" Target="../slideLayouts/slideLayout68.xml"/><Relationship Id="rId20" Type="http://schemas.openxmlformats.org/officeDocument/2006/relationships/slideLayout" Target="../slideLayouts/slideLayout42.xml"/><Relationship Id="rId41" Type="http://schemas.openxmlformats.org/officeDocument/2006/relationships/slideLayout" Target="../slideLayouts/slideLayout63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239C13F-A6FE-595E-3467-1A4F63903B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5489323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47" imgH="348" progId="TCLayout.ActiveDocument.1">
                  <p:embed/>
                </p:oleObj>
              </mc:Choice>
              <mc:Fallback>
                <p:oleObj name="think-cell Slide" r:id="rId26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239C13F-A6FE-595E-3467-1A4F63903B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46796" y="1801368"/>
            <a:ext cx="11292840" cy="3950208"/>
          </a:xfrm>
          <a:prstGeom prst="rect">
            <a:avLst/>
          </a:prstGeom>
        </p:spPr>
        <p:txBody>
          <a:bodyPr vert="horz" lIns="45720" tIns="45720" rIns="4572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 bwMode="gray">
          <a:xfrm>
            <a:off x="446798" y="484632"/>
            <a:ext cx="11292840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F9F93DF4-D19B-46BE-B88F-8BB1DA82CA35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4"/>
            <a:ext cx="914400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46C14D5-25B9-40A9-A7B3-25F17FEDDC3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5" name="Google Shape;52;p7">
            <a:extLst>
              <a:ext uri="{FF2B5EF4-FFF2-40B4-BE49-F238E27FC236}">
                <a16:creationId xmlns:a16="http://schemas.microsoft.com/office/drawing/2014/main" id="{32B9580A-B465-4E15-BAF0-0919554158DC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rgbClr val="A1AAB1"/>
                </a:solidFill>
              </a:rPr>
              <a:t>Confidential</a:t>
            </a:r>
            <a:endParaRPr sz="800" b="1">
              <a:solidFill>
                <a:srgbClr val="A1AAB1"/>
              </a:solidFill>
            </a:endParaRP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05B5027-9C8E-4D3E-B630-4D23F5F13B5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216" y="6303596"/>
            <a:ext cx="2265814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>
                <a:solidFill>
                  <a:srgbClr val="0000C9"/>
                </a:solidFill>
              </a:rPr>
              <a:t>Breakthroughs that change patients’ lives</a:t>
            </a:r>
          </a:p>
        </p:txBody>
      </p:sp>
    </p:spTree>
    <p:custDataLst>
      <p:tags r:id="rId24"/>
    </p:custDataLst>
    <p:extLst>
      <p:ext uri="{BB962C8B-B14F-4D97-AF65-F5344CB8AC3E}">
        <p14:creationId xmlns:p14="http://schemas.microsoft.com/office/powerpoint/2010/main" val="38135648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0" r:id="rId16"/>
    <p:sldLayoutId id="2147483711" r:id="rId17"/>
    <p:sldLayoutId id="2147483712" r:id="rId18"/>
    <p:sldLayoutId id="2147483713" r:id="rId19"/>
    <p:sldLayoutId id="2147483714" r:id="rId20"/>
    <p:sldLayoutId id="2147483716" r:id="rId21"/>
    <p:sldLayoutId id="2147483783" r:id="rId22"/>
  </p:sldLayoutIdLst>
  <p:hf sldNum="0" hdr="0" ftr="0" dt="0"/>
  <p:txStyles>
    <p:titleStyle>
      <a:lvl1pPr algn="l" defTabSz="914126" rtl="0" eaLnBrk="1" latinLnBrk="0" hangingPunct="1">
        <a:lnSpc>
          <a:spcPct val="85000"/>
        </a:lnSpc>
        <a:spcBef>
          <a:spcPts val="0"/>
        </a:spcBef>
        <a:buNone/>
        <a:defRPr lang="en-US" sz="2699" b="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999"/>
        </a:spcBef>
        <a:buClrTx/>
        <a:buSzPct val="100000"/>
        <a:buFont typeface="Arial" panose="020B0604020202020204" pitchFamily="34" charset="0"/>
        <a:buChar char="•"/>
        <a:defRPr lang="en-US" sz="1999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57063" indent="-169812" algn="l" defTabSz="914126" rtl="0" eaLnBrk="1" latinLnBrk="0" hangingPunct="1">
        <a:lnSpc>
          <a:spcPct val="90000"/>
        </a:lnSpc>
        <a:spcBef>
          <a:spcPts val="1000"/>
        </a:spcBef>
        <a:buClrTx/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685594" indent="-171399" algn="l" defTabSz="914126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126" indent="-171399" algn="l" defTabSz="914126" rtl="0" eaLnBrk="1" latinLnBrk="0" hangingPunct="1">
        <a:lnSpc>
          <a:spcPct val="90000"/>
        </a:lnSpc>
        <a:spcBef>
          <a:spcPts val="200"/>
        </a:spcBef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8698" indent="-114266" algn="l" defTabSz="914126" rtl="0" eaLnBrk="1" latinLnBrk="0" hangingPunct="1">
        <a:lnSpc>
          <a:spcPct val="90000"/>
        </a:lnSpc>
        <a:spcBef>
          <a:spcPts val="10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6707" y="31810"/>
            <a:ext cx="11514361" cy="72200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6708" y="914400"/>
            <a:ext cx="9876068" cy="54315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7BAAA80-6355-4A91-850F-1C70787FE457}"/>
              </a:ext>
            </a:extLst>
          </p:cNvPr>
          <p:cNvSpPr/>
          <p:nvPr userDrawn="1"/>
        </p:nvSpPr>
        <p:spPr>
          <a:xfrm>
            <a:off x="0" y="0"/>
            <a:ext cx="304721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690E294-D3F9-460C-B82F-006AE2F53000}"/>
              </a:ext>
            </a:extLst>
          </p:cNvPr>
          <p:cNvSpPr/>
          <p:nvPr userDrawn="1"/>
        </p:nvSpPr>
        <p:spPr>
          <a:xfrm>
            <a:off x="282891" y="0"/>
            <a:ext cx="45707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69" name="Freeform: Shape 68">
            <a:extLst>
              <a:ext uri="{FF2B5EF4-FFF2-40B4-BE49-F238E27FC236}">
                <a16:creationId xmlns:a16="http://schemas.microsoft.com/office/drawing/2014/main" id="{D517DA44-36FB-44B2-8A6D-64F80339A648}"/>
              </a:ext>
            </a:extLst>
          </p:cNvPr>
          <p:cNvSpPr/>
          <p:nvPr/>
        </p:nvSpPr>
        <p:spPr>
          <a:xfrm>
            <a:off x="0" y="141675"/>
            <a:ext cx="197040" cy="6853152"/>
          </a:xfrm>
          <a:custGeom>
            <a:avLst/>
            <a:gdLst>
              <a:gd name="connsiteX0" fmla="*/ 0 w 197091"/>
              <a:gd name="connsiteY0" fmla="*/ 6807432 h 6853152"/>
              <a:gd name="connsiteX1" fmla="*/ 42166 w 197091"/>
              <a:gd name="connsiteY1" fmla="*/ 6807432 h 6853152"/>
              <a:gd name="connsiteX2" fmla="*/ 65026 w 197091"/>
              <a:gd name="connsiteY2" fmla="*/ 6830292 h 6853152"/>
              <a:gd name="connsiteX3" fmla="*/ 65025 w 197091"/>
              <a:gd name="connsiteY3" fmla="*/ 6830292 h 6853152"/>
              <a:gd name="connsiteX4" fmla="*/ 42165 w 197091"/>
              <a:gd name="connsiteY4" fmla="*/ 6853152 h 6853152"/>
              <a:gd name="connsiteX5" fmla="*/ 0 w 197091"/>
              <a:gd name="connsiteY5" fmla="*/ 6853152 h 6853152"/>
              <a:gd name="connsiteX6" fmla="*/ 0 w 197091"/>
              <a:gd name="connsiteY6" fmla="*/ 6653904 h 6853152"/>
              <a:gd name="connsiteX7" fmla="*/ 97193 w 197091"/>
              <a:gd name="connsiteY7" fmla="*/ 6653904 h 6853152"/>
              <a:gd name="connsiteX8" fmla="*/ 120053 w 197091"/>
              <a:gd name="connsiteY8" fmla="*/ 6676764 h 6853152"/>
              <a:gd name="connsiteX9" fmla="*/ 120052 w 197091"/>
              <a:gd name="connsiteY9" fmla="*/ 6676764 h 6853152"/>
              <a:gd name="connsiteX10" fmla="*/ 97192 w 197091"/>
              <a:gd name="connsiteY10" fmla="*/ 6699624 h 6853152"/>
              <a:gd name="connsiteX11" fmla="*/ 0 w 197091"/>
              <a:gd name="connsiteY11" fmla="*/ 6699624 h 6853152"/>
              <a:gd name="connsiteX12" fmla="*/ 0 w 197091"/>
              <a:gd name="connsiteY12" fmla="*/ 6500376 h 6853152"/>
              <a:gd name="connsiteX13" fmla="*/ 42166 w 197091"/>
              <a:gd name="connsiteY13" fmla="*/ 6500376 h 6853152"/>
              <a:gd name="connsiteX14" fmla="*/ 65026 w 197091"/>
              <a:gd name="connsiteY14" fmla="*/ 6523236 h 6853152"/>
              <a:gd name="connsiteX15" fmla="*/ 65025 w 197091"/>
              <a:gd name="connsiteY15" fmla="*/ 6523236 h 6853152"/>
              <a:gd name="connsiteX16" fmla="*/ 42165 w 197091"/>
              <a:gd name="connsiteY16" fmla="*/ 6546096 h 6853152"/>
              <a:gd name="connsiteX17" fmla="*/ 0 w 197091"/>
              <a:gd name="connsiteY17" fmla="*/ 6546096 h 6853152"/>
              <a:gd name="connsiteX18" fmla="*/ 0 w 197091"/>
              <a:gd name="connsiteY18" fmla="*/ 6302593 h 6853152"/>
              <a:gd name="connsiteX19" fmla="*/ 152104 w 197091"/>
              <a:gd name="connsiteY19" fmla="*/ 6302593 h 6853152"/>
              <a:gd name="connsiteX20" fmla="*/ 197091 w 197091"/>
              <a:gd name="connsiteY20" fmla="*/ 6347580 h 6853152"/>
              <a:gd name="connsiteX21" fmla="*/ 152104 w 197091"/>
              <a:gd name="connsiteY21" fmla="*/ 6392567 h 6853152"/>
              <a:gd name="connsiteX22" fmla="*/ 0 w 197091"/>
              <a:gd name="connsiteY22" fmla="*/ 6392567 h 6853152"/>
              <a:gd name="connsiteX23" fmla="*/ 0 w 197091"/>
              <a:gd name="connsiteY23" fmla="*/ 6124757 h 6853152"/>
              <a:gd name="connsiteX24" fmla="*/ 42166 w 197091"/>
              <a:gd name="connsiteY24" fmla="*/ 6124757 h 6853152"/>
              <a:gd name="connsiteX25" fmla="*/ 65026 w 197091"/>
              <a:gd name="connsiteY25" fmla="*/ 6147617 h 6853152"/>
              <a:gd name="connsiteX26" fmla="*/ 65025 w 197091"/>
              <a:gd name="connsiteY26" fmla="*/ 6147617 h 6853152"/>
              <a:gd name="connsiteX27" fmla="*/ 42165 w 197091"/>
              <a:gd name="connsiteY27" fmla="*/ 6170477 h 6853152"/>
              <a:gd name="connsiteX28" fmla="*/ 0 w 197091"/>
              <a:gd name="connsiteY28" fmla="*/ 6170477 h 6853152"/>
              <a:gd name="connsiteX29" fmla="*/ 0 w 197091"/>
              <a:gd name="connsiteY29" fmla="*/ 5971229 h 6853152"/>
              <a:gd name="connsiteX30" fmla="*/ 97193 w 197091"/>
              <a:gd name="connsiteY30" fmla="*/ 5971229 h 6853152"/>
              <a:gd name="connsiteX31" fmla="*/ 120053 w 197091"/>
              <a:gd name="connsiteY31" fmla="*/ 5994089 h 6853152"/>
              <a:gd name="connsiteX32" fmla="*/ 120052 w 197091"/>
              <a:gd name="connsiteY32" fmla="*/ 5994089 h 6853152"/>
              <a:gd name="connsiteX33" fmla="*/ 97192 w 197091"/>
              <a:gd name="connsiteY33" fmla="*/ 6016949 h 6853152"/>
              <a:gd name="connsiteX34" fmla="*/ 0 w 197091"/>
              <a:gd name="connsiteY34" fmla="*/ 6016949 h 6853152"/>
              <a:gd name="connsiteX35" fmla="*/ 0 w 197091"/>
              <a:gd name="connsiteY35" fmla="*/ 5817701 h 6853152"/>
              <a:gd name="connsiteX36" fmla="*/ 42166 w 197091"/>
              <a:gd name="connsiteY36" fmla="*/ 5817701 h 6853152"/>
              <a:gd name="connsiteX37" fmla="*/ 65026 w 197091"/>
              <a:gd name="connsiteY37" fmla="*/ 5840561 h 6853152"/>
              <a:gd name="connsiteX38" fmla="*/ 65025 w 197091"/>
              <a:gd name="connsiteY38" fmla="*/ 5840561 h 6853152"/>
              <a:gd name="connsiteX39" fmla="*/ 42165 w 197091"/>
              <a:gd name="connsiteY39" fmla="*/ 5863421 h 6853152"/>
              <a:gd name="connsiteX40" fmla="*/ 0 w 197091"/>
              <a:gd name="connsiteY40" fmla="*/ 5863421 h 6853152"/>
              <a:gd name="connsiteX41" fmla="*/ 0 w 197091"/>
              <a:gd name="connsiteY41" fmla="*/ 5619918 h 6853152"/>
              <a:gd name="connsiteX42" fmla="*/ 152104 w 197091"/>
              <a:gd name="connsiteY42" fmla="*/ 5619918 h 6853152"/>
              <a:gd name="connsiteX43" fmla="*/ 197091 w 197091"/>
              <a:gd name="connsiteY43" fmla="*/ 5664905 h 6853152"/>
              <a:gd name="connsiteX44" fmla="*/ 152104 w 197091"/>
              <a:gd name="connsiteY44" fmla="*/ 5709892 h 6853152"/>
              <a:gd name="connsiteX45" fmla="*/ 0 w 197091"/>
              <a:gd name="connsiteY45" fmla="*/ 5709892 h 6853152"/>
              <a:gd name="connsiteX46" fmla="*/ 0 w 197091"/>
              <a:gd name="connsiteY46" fmla="*/ 5442079 h 6853152"/>
              <a:gd name="connsiteX47" fmla="*/ 42166 w 197091"/>
              <a:gd name="connsiteY47" fmla="*/ 5442079 h 6853152"/>
              <a:gd name="connsiteX48" fmla="*/ 65026 w 197091"/>
              <a:gd name="connsiteY48" fmla="*/ 5464939 h 6853152"/>
              <a:gd name="connsiteX49" fmla="*/ 65025 w 197091"/>
              <a:gd name="connsiteY49" fmla="*/ 5464939 h 6853152"/>
              <a:gd name="connsiteX50" fmla="*/ 42165 w 197091"/>
              <a:gd name="connsiteY50" fmla="*/ 5487799 h 6853152"/>
              <a:gd name="connsiteX51" fmla="*/ 0 w 197091"/>
              <a:gd name="connsiteY51" fmla="*/ 5487799 h 6853152"/>
              <a:gd name="connsiteX52" fmla="*/ 0 w 197091"/>
              <a:gd name="connsiteY52" fmla="*/ 5288551 h 6853152"/>
              <a:gd name="connsiteX53" fmla="*/ 97193 w 197091"/>
              <a:gd name="connsiteY53" fmla="*/ 5288551 h 6853152"/>
              <a:gd name="connsiteX54" fmla="*/ 120053 w 197091"/>
              <a:gd name="connsiteY54" fmla="*/ 5311411 h 6853152"/>
              <a:gd name="connsiteX55" fmla="*/ 120052 w 197091"/>
              <a:gd name="connsiteY55" fmla="*/ 5311411 h 6853152"/>
              <a:gd name="connsiteX56" fmla="*/ 97192 w 197091"/>
              <a:gd name="connsiteY56" fmla="*/ 5334271 h 6853152"/>
              <a:gd name="connsiteX57" fmla="*/ 0 w 197091"/>
              <a:gd name="connsiteY57" fmla="*/ 5334271 h 6853152"/>
              <a:gd name="connsiteX58" fmla="*/ 0 w 197091"/>
              <a:gd name="connsiteY58" fmla="*/ 5135023 h 6853152"/>
              <a:gd name="connsiteX59" fmla="*/ 42166 w 197091"/>
              <a:gd name="connsiteY59" fmla="*/ 5135023 h 6853152"/>
              <a:gd name="connsiteX60" fmla="*/ 65026 w 197091"/>
              <a:gd name="connsiteY60" fmla="*/ 5157883 h 6853152"/>
              <a:gd name="connsiteX61" fmla="*/ 65025 w 197091"/>
              <a:gd name="connsiteY61" fmla="*/ 5157883 h 6853152"/>
              <a:gd name="connsiteX62" fmla="*/ 42165 w 197091"/>
              <a:gd name="connsiteY62" fmla="*/ 5180743 h 6853152"/>
              <a:gd name="connsiteX63" fmla="*/ 0 w 197091"/>
              <a:gd name="connsiteY63" fmla="*/ 5180743 h 6853152"/>
              <a:gd name="connsiteX64" fmla="*/ 0 w 197091"/>
              <a:gd name="connsiteY64" fmla="*/ 4937240 h 6853152"/>
              <a:gd name="connsiteX65" fmla="*/ 152104 w 197091"/>
              <a:gd name="connsiteY65" fmla="*/ 4937240 h 6853152"/>
              <a:gd name="connsiteX66" fmla="*/ 197091 w 197091"/>
              <a:gd name="connsiteY66" fmla="*/ 4982227 h 6853152"/>
              <a:gd name="connsiteX67" fmla="*/ 152104 w 197091"/>
              <a:gd name="connsiteY67" fmla="*/ 5027214 h 6853152"/>
              <a:gd name="connsiteX68" fmla="*/ 0 w 197091"/>
              <a:gd name="connsiteY68" fmla="*/ 5027214 h 6853152"/>
              <a:gd name="connsiteX69" fmla="*/ 0 w 197091"/>
              <a:gd name="connsiteY69" fmla="*/ 4759401 h 6853152"/>
              <a:gd name="connsiteX70" fmla="*/ 42166 w 197091"/>
              <a:gd name="connsiteY70" fmla="*/ 4759401 h 6853152"/>
              <a:gd name="connsiteX71" fmla="*/ 65026 w 197091"/>
              <a:gd name="connsiteY71" fmla="*/ 4782261 h 6853152"/>
              <a:gd name="connsiteX72" fmla="*/ 65025 w 197091"/>
              <a:gd name="connsiteY72" fmla="*/ 4782261 h 6853152"/>
              <a:gd name="connsiteX73" fmla="*/ 42165 w 197091"/>
              <a:gd name="connsiteY73" fmla="*/ 4805121 h 6853152"/>
              <a:gd name="connsiteX74" fmla="*/ 0 w 197091"/>
              <a:gd name="connsiteY74" fmla="*/ 4805121 h 6853152"/>
              <a:gd name="connsiteX75" fmla="*/ 0 w 197091"/>
              <a:gd name="connsiteY75" fmla="*/ 4605873 h 6853152"/>
              <a:gd name="connsiteX76" fmla="*/ 97193 w 197091"/>
              <a:gd name="connsiteY76" fmla="*/ 4605873 h 6853152"/>
              <a:gd name="connsiteX77" fmla="*/ 120053 w 197091"/>
              <a:gd name="connsiteY77" fmla="*/ 4628733 h 6853152"/>
              <a:gd name="connsiteX78" fmla="*/ 120052 w 197091"/>
              <a:gd name="connsiteY78" fmla="*/ 4628733 h 6853152"/>
              <a:gd name="connsiteX79" fmla="*/ 97192 w 197091"/>
              <a:gd name="connsiteY79" fmla="*/ 4651593 h 6853152"/>
              <a:gd name="connsiteX80" fmla="*/ 0 w 197091"/>
              <a:gd name="connsiteY80" fmla="*/ 4651593 h 6853152"/>
              <a:gd name="connsiteX81" fmla="*/ 0 w 197091"/>
              <a:gd name="connsiteY81" fmla="*/ 4452345 h 6853152"/>
              <a:gd name="connsiteX82" fmla="*/ 42166 w 197091"/>
              <a:gd name="connsiteY82" fmla="*/ 4452345 h 6853152"/>
              <a:gd name="connsiteX83" fmla="*/ 65026 w 197091"/>
              <a:gd name="connsiteY83" fmla="*/ 4475205 h 6853152"/>
              <a:gd name="connsiteX84" fmla="*/ 65025 w 197091"/>
              <a:gd name="connsiteY84" fmla="*/ 4475205 h 6853152"/>
              <a:gd name="connsiteX85" fmla="*/ 42165 w 197091"/>
              <a:gd name="connsiteY85" fmla="*/ 4498065 h 6853152"/>
              <a:gd name="connsiteX86" fmla="*/ 0 w 197091"/>
              <a:gd name="connsiteY86" fmla="*/ 4498065 h 6853152"/>
              <a:gd name="connsiteX87" fmla="*/ 0 w 197091"/>
              <a:gd name="connsiteY87" fmla="*/ 4254562 h 6853152"/>
              <a:gd name="connsiteX88" fmla="*/ 152104 w 197091"/>
              <a:gd name="connsiteY88" fmla="*/ 4254562 h 6853152"/>
              <a:gd name="connsiteX89" fmla="*/ 197091 w 197091"/>
              <a:gd name="connsiteY89" fmla="*/ 4299549 h 6853152"/>
              <a:gd name="connsiteX90" fmla="*/ 152104 w 197091"/>
              <a:gd name="connsiteY90" fmla="*/ 4344536 h 6853152"/>
              <a:gd name="connsiteX91" fmla="*/ 0 w 197091"/>
              <a:gd name="connsiteY91" fmla="*/ 4344536 h 6853152"/>
              <a:gd name="connsiteX92" fmla="*/ 0 w 197091"/>
              <a:gd name="connsiteY92" fmla="*/ 4076723 h 6853152"/>
              <a:gd name="connsiteX93" fmla="*/ 42166 w 197091"/>
              <a:gd name="connsiteY93" fmla="*/ 4076723 h 6853152"/>
              <a:gd name="connsiteX94" fmla="*/ 65026 w 197091"/>
              <a:gd name="connsiteY94" fmla="*/ 4099583 h 6853152"/>
              <a:gd name="connsiteX95" fmla="*/ 65025 w 197091"/>
              <a:gd name="connsiteY95" fmla="*/ 4099583 h 6853152"/>
              <a:gd name="connsiteX96" fmla="*/ 42165 w 197091"/>
              <a:gd name="connsiteY96" fmla="*/ 4122443 h 6853152"/>
              <a:gd name="connsiteX97" fmla="*/ 0 w 197091"/>
              <a:gd name="connsiteY97" fmla="*/ 4122443 h 6853152"/>
              <a:gd name="connsiteX98" fmla="*/ 0 w 197091"/>
              <a:gd name="connsiteY98" fmla="*/ 3923195 h 6853152"/>
              <a:gd name="connsiteX99" fmla="*/ 97193 w 197091"/>
              <a:gd name="connsiteY99" fmla="*/ 3923195 h 6853152"/>
              <a:gd name="connsiteX100" fmla="*/ 120053 w 197091"/>
              <a:gd name="connsiteY100" fmla="*/ 3946055 h 6853152"/>
              <a:gd name="connsiteX101" fmla="*/ 120052 w 197091"/>
              <a:gd name="connsiteY101" fmla="*/ 3946055 h 6853152"/>
              <a:gd name="connsiteX102" fmla="*/ 97192 w 197091"/>
              <a:gd name="connsiteY102" fmla="*/ 3968915 h 6853152"/>
              <a:gd name="connsiteX103" fmla="*/ 0 w 197091"/>
              <a:gd name="connsiteY103" fmla="*/ 3968915 h 6853152"/>
              <a:gd name="connsiteX104" fmla="*/ 0 w 197091"/>
              <a:gd name="connsiteY104" fmla="*/ 3769667 h 6853152"/>
              <a:gd name="connsiteX105" fmla="*/ 42166 w 197091"/>
              <a:gd name="connsiteY105" fmla="*/ 3769667 h 6853152"/>
              <a:gd name="connsiteX106" fmla="*/ 65026 w 197091"/>
              <a:gd name="connsiteY106" fmla="*/ 3792527 h 6853152"/>
              <a:gd name="connsiteX107" fmla="*/ 65025 w 197091"/>
              <a:gd name="connsiteY107" fmla="*/ 3792527 h 6853152"/>
              <a:gd name="connsiteX108" fmla="*/ 42165 w 197091"/>
              <a:gd name="connsiteY108" fmla="*/ 3815387 h 6853152"/>
              <a:gd name="connsiteX109" fmla="*/ 0 w 197091"/>
              <a:gd name="connsiteY109" fmla="*/ 3815387 h 6853152"/>
              <a:gd name="connsiteX110" fmla="*/ 0 w 197091"/>
              <a:gd name="connsiteY110" fmla="*/ 3571884 h 6853152"/>
              <a:gd name="connsiteX111" fmla="*/ 152104 w 197091"/>
              <a:gd name="connsiteY111" fmla="*/ 3571884 h 6853152"/>
              <a:gd name="connsiteX112" fmla="*/ 197091 w 197091"/>
              <a:gd name="connsiteY112" fmla="*/ 3616871 h 6853152"/>
              <a:gd name="connsiteX113" fmla="*/ 152104 w 197091"/>
              <a:gd name="connsiteY113" fmla="*/ 3661858 h 6853152"/>
              <a:gd name="connsiteX114" fmla="*/ 0 w 197091"/>
              <a:gd name="connsiteY114" fmla="*/ 3661858 h 6853152"/>
              <a:gd name="connsiteX115" fmla="*/ 0 w 197091"/>
              <a:gd name="connsiteY115" fmla="*/ 3394045 h 6853152"/>
              <a:gd name="connsiteX116" fmla="*/ 42166 w 197091"/>
              <a:gd name="connsiteY116" fmla="*/ 3394045 h 6853152"/>
              <a:gd name="connsiteX117" fmla="*/ 65026 w 197091"/>
              <a:gd name="connsiteY117" fmla="*/ 3416905 h 6853152"/>
              <a:gd name="connsiteX118" fmla="*/ 65025 w 197091"/>
              <a:gd name="connsiteY118" fmla="*/ 3416905 h 6853152"/>
              <a:gd name="connsiteX119" fmla="*/ 42165 w 197091"/>
              <a:gd name="connsiteY119" fmla="*/ 3439765 h 6853152"/>
              <a:gd name="connsiteX120" fmla="*/ 0 w 197091"/>
              <a:gd name="connsiteY120" fmla="*/ 3439765 h 6853152"/>
              <a:gd name="connsiteX121" fmla="*/ 0 w 197091"/>
              <a:gd name="connsiteY121" fmla="*/ 3240518 h 6853152"/>
              <a:gd name="connsiteX122" fmla="*/ 97193 w 197091"/>
              <a:gd name="connsiteY122" fmla="*/ 3240518 h 6853152"/>
              <a:gd name="connsiteX123" fmla="*/ 120053 w 197091"/>
              <a:gd name="connsiteY123" fmla="*/ 3263377 h 6853152"/>
              <a:gd name="connsiteX124" fmla="*/ 120052 w 197091"/>
              <a:gd name="connsiteY124" fmla="*/ 3263377 h 6853152"/>
              <a:gd name="connsiteX125" fmla="*/ 97192 w 197091"/>
              <a:gd name="connsiteY125" fmla="*/ 3286237 h 6853152"/>
              <a:gd name="connsiteX126" fmla="*/ 0 w 197091"/>
              <a:gd name="connsiteY126" fmla="*/ 3286237 h 6853152"/>
              <a:gd name="connsiteX127" fmla="*/ 0 w 197091"/>
              <a:gd name="connsiteY127" fmla="*/ 3086989 h 6853152"/>
              <a:gd name="connsiteX128" fmla="*/ 42166 w 197091"/>
              <a:gd name="connsiteY128" fmla="*/ 3086989 h 6853152"/>
              <a:gd name="connsiteX129" fmla="*/ 65026 w 197091"/>
              <a:gd name="connsiteY129" fmla="*/ 3109849 h 6853152"/>
              <a:gd name="connsiteX130" fmla="*/ 65025 w 197091"/>
              <a:gd name="connsiteY130" fmla="*/ 3109849 h 6853152"/>
              <a:gd name="connsiteX131" fmla="*/ 42165 w 197091"/>
              <a:gd name="connsiteY131" fmla="*/ 3132710 h 6853152"/>
              <a:gd name="connsiteX132" fmla="*/ 0 w 197091"/>
              <a:gd name="connsiteY132" fmla="*/ 3132710 h 6853152"/>
              <a:gd name="connsiteX133" fmla="*/ 0 w 197091"/>
              <a:gd name="connsiteY133" fmla="*/ 2889207 h 6853152"/>
              <a:gd name="connsiteX134" fmla="*/ 152104 w 197091"/>
              <a:gd name="connsiteY134" fmla="*/ 2889207 h 6853152"/>
              <a:gd name="connsiteX135" fmla="*/ 197091 w 197091"/>
              <a:gd name="connsiteY135" fmla="*/ 2934193 h 6853152"/>
              <a:gd name="connsiteX136" fmla="*/ 152104 w 197091"/>
              <a:gd name="connsiteY136" fmla="*/ 2979180 h 6853152"/>
              <a:gd name="connsiteX137" fmla="*/ 0 w 197091"/>
              <a:gd name="connsiteY137" fmla="*/ 2979180 h 6853152"/>
              <a:gd name="connsiteX138" fmla="*/ 0 w 197091"/>
              <a:gd name="connsiteY138" fmla="*/ 2711368 h 6853152"/>
              <a:gd name="connsiteX139" fmla="*/ 42166 w 197091"/>
              <a:gd name="connsiteY139" fmla="*/ 2711368 h 6853152"/>
              <a:gd name="connsiteX140" fmla="*/ 65026 w 197091"/>
              <a:gd name="connsiteY140" fmla="*/ 2734227 h 6853152"/>
              <a:gd name="connsiteX141" fmla="*/ 65025 w 197091"/>
              <a:gd name="connsiteY141" fmla="*/ 2734227 h 6853152"/>
              <a:gd name="connsiteX142" fmla="*/ 42165 w 197091"/>
              <a:gd name="connsiteY142" fmla="*/ 2757087 h 6853152"/>
              <a:gd name="connsiteX143" fmla="*/ 0 w 197091"/>
              <a:gd name="connsiteY143" fmla="*/ 2757087 h 6853152"/>
              <a:gd name="connsiteX144" fmla="*/ 0 w 197091"/>
              <a:gd name="connsiteY144" fmla="*/ 2557839 h 6853152"/>
              <a:gd name="connsiteX145" fmla="*/ 97193 w 197091"/>
              <a:gd name="connsiteY145" fmla="*/ 2557839 h 6853152"/>
              <a:gd name="connsiteX146" fmla="*/ 120053 w 197091"/>
              <a:gd name="connsiteY146" fmla="*/ 2580699 h 6853152"/>
              <a:gd name="connsiteX147" fmla="*/ 120052 w 197091"/>
              <a:gd name="connsiteY147" fmla="*/ 2580699 h 6853152"/>
              <a:gd name="connsiteX148" fmla="*/ 97192 w 197091"/>
              <a:gd name="connsiteY148" fmla="*/ 2603560 h 6853152"/>
              <a:gd name="connsiteX149" fmla="*/ 0 w 197091"/>
              <a:gd name="connsiteY149" fmla="*/ 2603560 h 6853152"/>
              <a:gd name="connsiteX150" fmla="*/ 0 w 197091"/>
              <a:gd name="connsiteY150" fmla="*/ 2404311 h 6853152"/>
              <a:gd name="connsiteX151" fmla="*/ 42166 w 197091"/>
              <a:gd name="connsiteY151" fmla="*/ 2404311 h 6853152"/>
              <a:gd name="connsiteX152" fmla="*/ 65026 w 197091"/>
              <a:gd name="connsiteY152" fmla="*/ 2427172 h 6853152"/>
              <a:gd name="connsiteX153" fmla="*/ 65025 w 197091"/>
              <a:gd name="connsiteY153" fmla="*/ 2427172 h 6853152"/>
              <a:gd name="connsiteX154" fmla="*/ 42165 w 197091"/>
              <a:gd name="connsiteY154" fmla="*/ 2450031 h 6853152"/>
              <a:gd name="connsiteX155" fmla="*/ 0 w 197091"/>
              <a:gd name="connsiteY155" fmla="*/ 2450031 h 6853152"/>
              <a:gd name="connsiteX156" fmla="*/ 0 w 197091"/>
              <a:gd name="connsiteY156" fmla="*/ 2206529 h 6853152"/>
              <a:gd name="connsiteX157" fmla="*/ 152104 w 197091"/>
              <a:gd name="connsiteY157" fmla="*/ 2206529 h 6853152"/>
              <a:gd name="connsiteX158" fmla="*/ 197091 w 197091"/>
              <a:gd name="connsiteY158" fmla="*/ 2251515 h 6853152"/>
              <a:gd name="connsiteX159" fmla="*/ 152104 w 197091"/>
              <a:gd name="connsiteY159" fmla="*/ 2296502 h 6853152"/>
              <a:gd name="connsiteX160" fmla="*/ 0 w 197091"/>
              <a:gd name="connsiteY160" fmla="*/ 2296502 h 6853152"/>
              <a:gd name="connsiteX161" fmla="*/ 0 w 197091"/>
              <a:gd name="connsiteY161" fmla="*/ 2028689 h 6853152"/>
              <a:gd name="connsiteX162" fmla="*/ 42166 w 197091"/>
              <a:gd name="connsiteY162" fmla="*/ 2028689 h 6853152"/>
              <a:gd name="connsiteX163" fmla="*/ 65026 w 197091"/>
              <a:gd name="connsiteY163" fmla="*/ 2051549 h 6853152"/>
              <a:gd name="connsiteX164" fmla="*/ 65025 w 197091"/>
              <a:gd name="connsiteY164" fmla="*/ 2051549 h 6853152"/>
              <a:gd name="connsiteX165" fmla="*/ 42165 w 197091"/>
              <a:gd name="connsiteY165" fmla="*/ 2074410 h 6853152"/>
              <a:gd name="connsiteX166" fmla="*/ 0 w 197091"/>
              <a:gd name="connsiteY166" fmla="*/ 2074410 h 6853152"/>
              <a:gd name="connsiteX167" fmla="*/ 0 w 197091"/>
              <a:gd name="connsiteY167" fmla="*/ 1875163 h 6853152"/>
              <a:gd name="connsiteX168" fmla="*/ 97193 w 197091"/>
              <a:gd name="connsiteY168" fmla="*/ 1875163 h 6853152"/>
              <a:gd name="connsiteX169" fmla="*/ 120053 w 197091"/>
              <a:gd name="connsiteY169" fmla="*/ 1898022 h 6853152"/>
              <a:gd name="connsiteX170" fmla="*/ 120052 w 197091"/>
              <a:gd name="connsiteY170" fmla="*/ 1898022 h 6853152"/>
              <a:gd name="connsiteX171" fmla="*/ 97192 w 197091"/>
              <a:gd name="connsiteY171" fmla="*/ 1920882 h 6853152"/>
              <a:gd name="connsiteX172" fmla="*/ 0 w 197091"/>
              <a:gd name="connsiteY172" fmla="*/ 1920882 h 6853152"/>
              <a:gd name="connsiteX173" fmla="*/ 0 w 197091"/>
              <a:gd name="connsiteY173" fmla="*/ 1721635 h 6853152"/>
              <a:gd name="connsiteX174" fmla="*/ 42166 w 197091"/>
              <a:gd name="connsiteY174" fmla="*/ 1721635 h 6853152"/>
              <a:gd name="connsiteX175" fmla="*/ 65026 w 197091"/>
              <a:gd name="connsiteY175" fmla="*/ 1744495 h 6853152"/>
              <a:gd name="connsiteX176" fmla="*/ 65025 w 197091"/>
              <a:gd name="connsiteY176" fmla="*/ 1744495 h 6853152"/>
              <a:gd name="connsiteX177" fmla="*/ 42165 w 197091"/>
              <a:gd name="connsiteY177" fmla="*/ 1767355 h 6853152"/>
              <a:gd name="connsiteX178" fmla="*/ 0 w 197091"/>
              <a:gd name="connsiteY178" fmla="*/ 1767355 h 6853152"/>
              <a:gd name="connsiteX179" fmla="*/ 0 w 197091"/>
              <a:gd name="connsiteY179" fmla="*/ 1523852 h 6853152"/>
              <a:gd name="connsiteX180" fmla="*/ 152104 w 197091"/>
              <a:gd name="connsiteY180" fmla="*/ 1523852 h 6853152"/>
              <a:gd name="connsiteX181" fmla="*/ 197091 w 197091"/>
              <a:gd name="connsiteY181" fmla="*/ 1568839 h 6853152"/>
              <a:gd name="connsiteX182" fmla="*/ 152104 w 197091"/>
              <a:gd name="connsiteY182" fmla="*/ 1613826 h 6853152"/>
              <a:gd name="connsiteX183" fmla="*/ 0 w 197091"/>
              <a:gd name="connsiteY183" fmla="*/ 1613826 h 6853152"/>
              <a:gd name="connsiteX184" fmla="*/ 0 w 197091"/>
              <a:gd name="connsiteY184" fmla="*/ 1346013 h 6853152"/>
              <a:gd name="connsiteX185" fmla="*/ 42166 w 197091"/>
              <a:gd name="connsiteY185" fmla="*/ 1346013 h 6853152"/>
              <a:gd name="connsiteX186" fmla="*/ 65026 w 197091"/>
              <a:gd name="connsiteY186" fmla="*/ 1368873 h 6853152"/>
              <a:gd name="connsiteX187" fmla="*/ 65025 w 197091"/>
              <a:gd name="connsiteY187" fmla="*/ 1368873 h 6853152"/>
              <a:gd name="connsiteX188" fmla="*/ 42165 w 197091"/>
              <a:gd name="connsiteY188" fmla="*/ 1391733 h 6853152"/>
              <a:gd name="connsiteX189" fmla="*/ 0 w 197091"/>
              <a:gd name="connsiteY189" fmla="*/ 1391733 h 6853152"/>
              <a:gd name="connsiteX190" fmla="*/ 0 w 197091"/>
              <a:gd name="connsiteY190" fmla="*/ 1192485 h 6853152"/>
              <a:gd name="connsiteX191" fmla="*/ 97193 w 197091"/>
              <a:gd name="connsiteY191" fmla="*/ 1192485 h 6853152"/>
              <a:gd name="connsiteX192" fmla="*/ 120053 w 197091"/>
              <a:gd name="connsiteY192" fmla="*/ 1215345 h 6853152"/>
              <a:gd name="connsiteX193" fmla="*/ 120052 w 197091"/>
              <a:gd name="connsiteY193" fmla="*/ 1215345 h 6853152"/>
              <a:gd name="connsiteX194" fmla="*/ 97192 w 197091"/>
              <a:gd name="connsiteY194" fmla="*/ 1238205 h 6853152"/>
              <a:gd name="connsiteX195" fmla="*/ 0 w 197091"/>
              <a:gd name="connsiteY195" fmla="*/ 1238205 h 6853152"/>
              <a:gd name="connsiteX196" fmla="*/ 0 w 197091"/>
              <a:gd name="connsiteY196" fmla="*/ 1038956 h 6853152"/>
              <a:gd name="connsiteX197" fmla="*/ 42166 w 197091"/>
              <a:gd name="connsiteY197" fmla="*/ 1038956 h 6853152"/>
              <a:gd name="connsiteX198" fmla="*/ 65026 w 197091"/>
              <a:gd name="connsiteY198" fmla="*/ 1061816 h 6853152"/>
              <a:gd name="connsiteX199" fmla="*/ 65025 w 197091"/>
              <a:gd name="connsiteY199" fmla="*/ 1061816 h 6853152"/>
              <a:gd name="connsiteX200" fmla="*/ 42165 w 197091"/>
              <a:gd name="connsiteY200" fmla="*/ 1084676 h 6853152"/>
              <a:gd name="connsiteX201" fmla="*/ 0 w 197091"/>
              <a:gd name="connsiteY201" fmla="*/ 1084676 h 6853152"/>
              <a:gd name="connsiteX202" fmla="*/ 0 w 197091"/>
              <a:gd name="connsiteY202" fmla="*/ 841174 h 6853152"/>
              <a:gd name="connsiteX203" fmla="*/ 152104 w 197091"/>
              <a:gd name="connsiteY203" fmla="*/ 841174 h 6853152"/>
              <a:gd name="connsiteX204" fmla="*/ 197091 w 197091"/>
              <a:gd name="connsiteY204" fmla="*/ 886161 h 6853152"/>
              <a:gd name="connsiteX205" fmla="*/ 152104 w 197091"/>
              <a:gd name="connsiteY205" fmla="*/ 931148 h 6853152"/>
              <a:gd name="connsiteX206" fmla="*/ 0 w 197091"/>
              <a:gd name="connsiteY206" fmla="*/ 931148 h 6853152"/>
              <a:gd name="connsiteX207" fmla="*/ 0 w 197091"/>
              <a:gd name="connsiteY207" fmla="*/ 663335 h 6853152"/>
              <a:gd name="connsiteX208" fmla="*/ 42166 w 197091"/>
              <a:gd name="connsiteY208" fmla="*/ 663335 h 6853152"/>
              <a:gd name="connsiteX209" fmla="*/ 65026 w 197091"/>
              <a:gd name="connsiteY209" fmla="*/ 686195 h 6853152"/>
              <a:gd name="connsiteX210" fmla="*/ 65025 w 197091"/>
              <a:gd name="connsiteY210" fmla="*/ 686195 h 6853152"/>
              <a:gd name="connsiteX211" fmla="*/ 42165 w 197091"/>
              <a:gd name="connsiteY211" fmla="*/ 709055 h 6853152"/>
              <a:gd name="connsiteX212" fmla="*/ 0 w 197091"/>
              <a:gd name="connsiteY212" fmla="*/ 709055 h 6853152"/>
              <a:gd name="connsiteX213" fmla="*/ 0 w 197091"/>
              <a:gd name="connsiteY213" fmla="*/ 509807 h 6853152"/>
              <a:gd name="connsiteX214" fmla="*/ 97193 w 197091"/>
              <a:gd name="connsiteY214" fmla="*/ 509807 h 6853152"/>
              <a:gd name="connsiteX215" fmla="*/ 120053 w 197091"/>
              <a:gd name="connsiteY215" fmla="*/ 532667 h 6853152"/>
              <a:gd name="connsiteX216" fmla="*/ 120052 w 197091"/>
              <a:gd name="connsiteY216" fmla="*/ 532667 h 6853152"/>
              <a:gd name="connsiteX217" fmla="*/ 97192 w 197091"/>
              <a:gd name="connsiteY217" fmla="*/ 555527 h 6853152"/>
              <a:gd name="connsiteX218" fmla="*/ 0 w 197091"/>
              <a:gd name="connsiteY218" fmla="*/ 555527 h 6853152"/>
              <a:gd name="connsiteX219" fmla="*/ 0 w 197091"/>
              <a:gd name="connsiteY219" fmla="*/ 356279 h 6853152"/>
              <a:gd name="connsiteX220" fmla="*/ 42166 w 197091"/>
              <a:gd name="connsiteY220" fmla="*/ 356279 h 6853152"/>
              <a:gd name="connsiteX221" fmla="*/ 65026 w 197091"/>
              <a:gd name="connsiteY221" fmla="*/ 379139 h 6853152"/>
              <a:gd name="connsiteX222" fmla="*/ 65025 w 197091"/>
              <a:gd name="connsiteY222" fmla="*/ 379139 h 6853152"/>
              <a:gd name="connsiteX223" fmla="*/ 42165 w 197091"/>
              <a:gd name="connsiteY223" fmla="*/ 401999 h 6853152"/>
              <a:gd name="connsiteX224" fmla="*/ 0 w 197091"/>
              <a:gd name="connsiteY224" fmla="*/ 401999 h 6853152"/>
              <a:gd name="connsiteX225" fmla="*/ 0 w 197091"/>
              <a:gd name="connsiteY225" fmla="*/ 158496 h 6853152"/>
              <a:gd name="connsiteX226" fmla="*/ 152104 w 197091"/>
              <a:gd name="connsiteY226" fmla="*/ 158496 h 6853152"/>
              <a:gd name="connsiteX227" fmla="*/ 197091 w 197091"/>
              <a:gd name="connsiteY227" fmla="*/ 203483 h 6853152"/>
              <a:gd name="connsiteX228" fmla="*/ 152104 w 197091"/>
              <a:gd name="connsiteY228" fmla="*/ 248470 h 6853152"/>
              <a:gd name="connsiteX229" fmla="*/ 0 w 197091"/>
              <a:gd name="connsiteY229" fmla="*/ 248470 h 6853152"/>
              <a:gd name="connsiteX230" fmla="*/ 0 w 197091"/>
              <a:gd name="connsiteY230" fmla="*/ 0 h 6853152"/>
              <a:gd name="connsiteX231" fmla="*/ 42166 w 197091"/>
              <a:gd name="connsiteY231" fmla="*/ 0 h 6853152"/>
              <a:gd name="connsiteX232" fmla="*/ 65026 w 197091"/>
              <a:gd name="connsiteY232" fmla="*/ 22860 h 6853152"/>
              <a:gd name="connsiteX233" fmla="*/ 65025 w 197091"/>
              <a:gd name="connsiteY233" fmla="*/ 22860 h 6853152"/>
              <a:gd name="connsiteX234" fmla="*/ 42165 w 197091"/>
              <a:gd name="connsiteY234" fmla="*/ 45720 h 6853152"/>
              <a:gd name="connsiteX235" fmla="*/ 0 w 197091"/>
              <a:gd name="connsiteY235" fmla="*/ 45720 h 6853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</a:cxnLst>
            <a:rect l="l" t="t" r="r" b="b"/>
            <a:pathLst>
              <a:path w="197091" h="6853152">
                <a:moveTo>
                  <a:pt x="0" y="6807432"/>
                </a:moveTo>
                <a:lnTo>
                  <a:pt x="42166" y="6807432"/>
                </a:lnTo>
                <a:cubicBezTo>
                  <a:pt x="54791" y="6807432"/>
                  <a:pt x="65026" y="6817667"/>
                  <a:pt x="65026" y="6830292"/>
                </a:cubicBezTo>
                <a:lnTo>
                  <a:pt x="65025" y="6830292"/>
                </a:lnTo>
                <a:cubicBezTo>
                  <a:pt x="65025" y="6842917"/>
                  <a:pt x="54790" y="6853152"/>
                  <a:pt x="42165" y="6853152"/>
                </a:cubicBezTo>
                <a:lnTo>
                  <a:pt x="0" y="6853152"/>
                </a:lnTo>
                <a:close/>
                <a:moveTo>
                  <a:pt x="0" y="6653904"/>
                </a:moveTo>
                <a:lnTo>
                  <a:pt x="97193" y="6653904"/>
                </a:lnTo>
                <a:cubicBezTo>
                  <a:pt x="109818" y="6653904"/>
                  <a:pt x="120053" y="6664139"/>
                  <a:pt x="120053" y="6676764"/>
                </a:cubicBezTo>
                <a:lnTo>
                  <a:pt x="120052" y="6676764"/>
                </a:lnTo>
                <a:cubicBezTo>
                  <a:pt x="120052" y="6689389"/>
                  <a:pt x="109817" y="6699624"/>
                  <a:pt x="97192" y="6699624"/>
                </a:cubicBezTo>
                <a:lnTo>
                  <a:pt x="0" y="6699624"/>
                </a:lnTo>
                <a:close/>
                <a:moveTo>
                  <a:pt x="0" y="6500376"/>
                </a:moveTo>
                <a:lnTo>
                  <a:pt x="42166" y="6500376"/>
                </a:lnTo>
                <a:cubicBezTo>
                  <a:pt x="54791" y="6500376"/>
                  <a:pt x="65026" y="6510611"/>
                  <a:pt x="65026" y="6523236"/>
                </a:cubicBezTo>
                <a:lnTo>
                  <a:pt x="65025" y="6523236"/>
                </a:lnTo>
                <a:cubicBezTo>
                  <a:pt x="65025" y="6535861"/>
                  <a:pt x="54790" y="6546096"/>
                  <a:pt x="42165" y="6546096"/>
                </a:cubicBezTo>
                <a:lnTo>
                  <a:pt x="0" y="6546096"/>
                </a:lnTo>
                <a:close/>
                <a:moveTo>
                  <a:pt x="0" y="6302593"/>
                </a:moveTo>
                <a:lnTo>
                  <a:pt x="152104" y="6302593"/>
                </a:lnTo>
                <a:cubicBezTo>
                  <a:pt x="176950" y="6302593"/>
                  <a:pt x="197091" y="6322734"/>
                  <a:pt x="197091" y="6347580"/>
                </a:cubicBezTo>
                <a:cubicBezTo>
                  <a:pt x="197091" y="6372426"/>
                  <a:pt x="176950" y="6392567"/>
                  <a:pt x="152104" y="6392567"/>
                </a:cubicBezTo>
                <a:lnTo>
                  <a:pt x="0" y="6392567"/>
                </a:lnTo>
                <a:close/>
                <a:moveTo>
                  <a:pt x="0" y="6124757"/>
                </a:moveTo>
                <a:lnTo>
                  <a:pt x="42166" y="6124757"/>
                </a:lnTo>
                <a:cubicBezTo>
                  <a:pt x="54791" y="6124757"/>
                  <a:pt x="65026" y="6134992"/>
                  <a:pt x="65026" y="6147617"/>
                </a:cubicBezTo>
                <a:lnTo>
                  <a:pt x="65025" y="6147617"/>
                </a:lnTo>
                <a:cubicBezTo>
                  <a:pt x="65025" y="6160242"/>
                  <a:pt x="54790" y="6170477"/>
                  <a:pt x="42165" y="6170477"/>
                </a:cubicBezTo>
                <a:lnTo>
                  <a:pt x="0" y="6170477"/>
                </a:lnTo>
                <a:close/>
                <a:moveTo>
                  <a:pt x="0" y="5971229"/>
                </a:moveTo>
                <a:lnTo>
                  <a:pt x="97193" y="5971229"/>
                </a:lnTo>
                <a:cubicBezTo>
                  <a:pt x="109818" y="5971229"/>
                  <a:pt x="120053" y="5981464"/>
                  <a:pt x="120053" y="5994089"/>
                </a:cubicBezTo>
                <a:lnTo>
                  <a:pt x="120052" y="5994089"/>
                </a:lnTo>
                <a:cubicBezTo>
                  <a:pt x="120052" y="6006714"/>
                  <a:pt x="109817" y="6016949"/>
                  <a:pt x="97192" y="6016949"/>
                </a:cubicBezTo>
                <a:lnTo>
                  <a:pt x="0" y="6016949"/>
                </a:lnTo>
                <a:close/>
                <a:moveTo>
                  <a:pt x="0" y="5817701"/>
                </a:moveTo>
                <a:lnTo>
                  <a:pt x="42166" y="5817701"/>
                </a:lnTo>
                <a:cubicBezTo>
                  <a:pt x="54791" y="5817701"/>
                  <a:pt x="65026" y="5827936"/>
                  <a:pt x="65026" y="5840561"/>
                </a:cubicBezTo>
                <a:lnTo>
                  <a:pt x="65025" y="5840561"/>
                </a:lnTo>
                <a:cubicBezTo>
                  <a:pt x="65025" y="5853186"/>
                  <a:pt x="54790" y="5863421"/>
                  <a:pt x="42165" y="5863421"/>
                </a:cubicBezTo>
                <a:lnTo>
                  <a:pt x="0" y="5863421"/>
                </a:lnTo>
                <a:close/>
                <a:moveTo>
                  <a:pt x="0" y="5619918"/>
                </a:moveTo>
                <a:lnTo>
                  <a:pt x="152104" y="5619918"/>
                </a:lnTo>
                <a:cubicBezTo>
                  <a:pt x="176950" y="5619918"/>
                  <a:pt x="197091" y="5640059"/>
                  <a:pt x="197091" y="5664905"/>
                </a:cubicBezTo>
                <a:cubicBezTo>
                  <a:pt x="197091" y="5689751"/>
                  <a:pt x="176950" y="5709892"/>
                  <a:pt x="152104" y="5709892"/>
                </a:cubicBezTo>
                <a:lnTo>
                  <a:pt x="0" y="5709892"/>
                </a:lnTo>
                <a:close/>
                <a:moveTo>
                  <a:pt x="0" y="5442079"/>
                </a:moveTo>
                <a:lnTo>
                  <a:pt x="42166" y="5442079"/>
                </a:lnTo>
                <a:cubicBezTo>
                  <a:pt x="54791" y="5442079"/>
                  <a:pt x="65026" y="5452314"/>
                  <a:pt x="65026" y="5464939"/>
                </a:cubicBezTo>
                <a:lnTo>
                  <a:pt x="65025" y="5464939"/>
                </a:lnTo>
                <a:cubicBezTo>
                  <a:pt x="65025" y="5477564"/>
                  <a:pt x="54790" y="5487799"/>
                  <a:pt x="42165" y="5487799"/>
                </a:cubicBezTo>
                <a:lnTo>
                  <a:pt x="0" y="5487799"/>
                </a:lnTo>
                <a:close/>
                <a:moveTo>
                  <a:pt x="0" y="5288551"/>
                </a:moveTo>
                <a:lnTo>
                  <a:pt x="97193" y="5288551"/>
                </a:lnTo>
                <a:cubicBezTo>
                  <a:pt x="109818" y="5288551"/>
                  <a:pt x="120053" y="5298786"/>
                  <a:pt x="120053" y="5311411"/>
                </a:cubicBezTo>
                <a:lnTo>
                  <a:pt x="120052" y="5311411"/>
                </a:lnTo>
                <a:cubicBezTo>
                  <a:pt x="120052" y="5324036"/>
                  <a:pt x="109817" y="5334271"/>
                  <a:pt x="97192" y="5334271"/>
                </a:cubicBezTo>
                <a:lnTo>
                  <a:pt x="0" y="5334271"/>
                </a:lnTo>
                <a:close/>
                <a:moveTo>
                  <a:pt x="0" y="5135023"/>
                </a:moveTo>
                <a:lnTo>
                  <a:pt x="42166" y="5135023"/>
                </a:lnTo>
                <a:cubicBezTo>
                  <a:pt x="54791" y="5135023"/>
                  <a:pt x="65026" y="5145258"/>
                  <a:pt x="65026" y="5157883"/>
                </a:cubicBezTo>
                <a:lnTo>
                  <a:pt x="65025" y="5157883"/>
                </a:lnTo>
                <a:cubicBezTo>
                  <a:pt x="65025" y="5170508"/>
                  <a:pt x="54790" y="5180743"/>
                  <a:pt x="42165" y="5180743"/>
                </a:cubicBezTo>
                <a:lnTo>
                  <a:pt x="0" y="5180743"/>
                </a:lnTo>
                <a:close/>
                <a:moveTo>
                  <a:pt x="0" y="4937240"/>
                </a:moveTo>
                <a:lnTo>
                  <a:pt x="152104" y="4937240"/>
                </a:lnTo>
                <a:cubicBezTo>
                  <a:pt x="176950" y="4937240"/>
                  <a:pt x="197091" y="4957381"/>
                  <a:pt x="197091" y="4982227"/>
                </a:cubicBezTo>
                <a:cubicBezTo>
                  <a:pt x="197091" y="5007073"/>
                  <a:pt x="176950" y="5027214"/>
                  <a:pt x="152104" y="5027214"/>
                </a:cubicBezTo>
                <a:lnTo>
                  <a:pt x="0" y="5027214"/>
                </a:lnTo>
                <a:close/>
                <a:moveTo>
                  <a:pt x="0" y="4759401"/>
                </a:moveTo>
                <a:lnTo>
                  <a:pt x="42166" y="4759401"/>
                </a:lnTo>
                <a:cubicBezTo>
                  <a:pt x="54791" y="4759401"/>
                  <a:pt x="65026" y="4769636"/>
                  <a:pt x="65026" y="4782261"/>
                </a:cubicBezTo>
                <a:lnTo>
                  <a:pt x="65025" y="4782261"/>
                </a:lnTo>
                <a:cubicBezTo>
                  <a:pt x="65025" y="4794886"/>
                  <a:pt x="54790" y="4805121"/>
                  <a:pt x="42165" y="4805121"/>
                </a:cubicBezTo>
                <a:lnTo>
                  <a:pt x="0" y="4805121"/>
                </a:lnTo>
                <a:close/>
                <a:moveTo>
                  <a:pt x="0" y="4605873"/>
                </a:moveTo>
                <a:lnTo>
                  <a:pt x="97193" y="4605873"/>
                </a:lnTo>
                <a:cubicBezTo>
                  <a:pt x="109818" y="4605873"/>
                  <a:pt x="120053" y="4616108"/>
                  <a:pt x="120053" y="4628733"/>
                </a:cubicBezTo>
                <a:lnTo>
                  <a:pt x="120052" y="4628733"/>
                </a:lnTo>
                <a:cubicBezTo>
                  <a:pt x="120052" y="4641358"/>
                  <a:pt x="109817" y="4651593"/>
                  <a:pt x="97192" y="4651593"/>
                </a:cubicBezTo>
                <a:lnTo>
                  <a:pt x="0" y="4651593"/>
                </a:lnTo>
                <a:close/>
                <a:moveTo>
                  <a:pt x="0" y="4452345"/>
                </a:moveTo>
                <a:lnTo>
                  <a:pt x="42166" y="4452345"/>
                </a:lnTo>
                <a:cubicBezTo>
                  <a:pt x="54791" y="4452345"/>
                  <a:pt x="65026" y="4462580"/>
                  <a:pt x="65026" y="4475205"/>
                </a:cubicBezTo>
                <a:lnTo>
                  <a:pt x="65025" y="4475205"/>
                </a:lnTo>
                <a:cubicBezTo>
                  <a:pt x="65025" y="4487830"/>
                  <a:pt x="54790" y="4498065"/>
                  <a:pt x="42165" y="4498065"/>
                </a:cubicBezTo>
                <a:lnTo>
                  <a:pt x="0" y="4498065"/>
                </a:lnTo>
                <a:close/>
                <a:moveTo>
                  <a:pt x="0" y="4254562"/>
                </a:moveTo>
                <a:lnTo>
                  <a:pt x="152104" y="4254562"/>
                </a:lnTo>
                <a:cubicBezTo>
                  <a:pt x="176950" y="4254562"/>
                  <a:pt x="197091" y="4274703"/>
                  <a:pt x="197091" y="4299549"/>
                </a:cubicBezTo>
                <a:cubicBezTo>
                  <a:pt x="197091" y="4324395"/>
                  <a:pt x="176950" y="4344536"/>
                  <a:pt x="152104" y="4344536"/>
                </a:cubicBezTo>
                <a:lnTo>
                  <a:pt x="0" y="4344536"/>
                </a:lnTo>
                <a:close/>
                <a:moveTo>
                  <a:pt x="0" y="4076723"/>
                </a:moveTo>
                <a:lnTo>
                  <a:pt x="42166" y="4076723"/>
                </a:lnTo>
                <a:cubicBezTo>
                  <a:pt x="54791" y="4076723"/>
                  <a:pt x="65026" y="4086958"/>
                  <a:pt x="65026" y="4099583"/>
                </a:cubicBezTo>
                <a:lnTo>
                  <a:pt x="65025" y="4099583"/>
                </a:lnTo>
                <a:cubicBezTo>
                  <a:pt x="65025" y="4112208"/>
                  <a:pt x="54790" y="4122443"/>
                  <a:pt x="42165" y="4122443"/>
                </a:cubicBezTo>
                <a:lnTo>
                  <a:pt x="0" y="4122443"/>
                </a:lnTo>
                <a:close/>
                <a:moveTo>
                  <a:pt x="0" y="3923195"/>
                </a:moveTo>
                <a:lnTo>
                  <a:pt x="97193" y="3923195"/>
                </a:lnTo>
                <a:cubicBezTo>
                  <a:pt x="109818" y="3923195"/>
                  <a:pt x="120053" y="3933430"/>
                  <a:pt x="120053" y="3946055"/>
                </a:cubicBezTo>
                <a:lnTo>
                  <a:pt x="120052" y="3946055"/>
                </a:lnTo>
                <a:cubicBezTo>
                  <a:pt x="120052" y="3958680"/>
                  <a:pt x="109817" y="3968915"/>
                  <a:pt x="97192" y="3968915"/>
                </a:cubicBezTo>
                <a:lnTo>
                  <a:pt x="0" y="3968915"/>
                </a:lnTo>
                <a:close/>
                <a:moveTo>
                  <a:pt x="0" y="3769667"/>
                </a:moveTo>
                <a:lnTo>
                  <a:pt x="42166" y="3769667"/>
                </a:lnTo>
                <a:cubicBezTo>
                  <a:pt x="54791" y="3769667"/>
                  <a:pt x="65026" y="3779902"/>
                  <a:pt x="65026" y="3792527"/>
                </a:cubicBezTo>
                <a:lnTo>
                  <a:pt x="65025" y="3792527"/>
                </a:lnTo>
                <a:cubicBezTo>
                  <a:pt x="65025" y="3805152"/>
                  <a:pt x="54790" y="3815387"/>
                  <a:pt x="42165" y="3815387"/>
                </a:cubicBezTo>
                <a:lnTo>
                  <a:pt x="0" y="3815387"/>
                </a:lnTo>
                <a:close/>
                <a:moveTo>
                  <a:pt x="0" y="3571884"/>
                </a:moveTo>
                <a:lnTo>
                  <a:pt x="152104" y="3571884"/>
                </a:lnTo>
                <a:cubicBezTo>
                  <a:pt x="176950" y="3571884"/>
                  <a:pt x="197091" y="3592025"/>
                  <a:pt x="197091" y="3616871"/>
                </a:cubicBezTo>
                <a:cubicBezTo>
                  <a:pt x="197091" y="3641717"/>
                  <a:pt x="176950" y="3661858"/>
                  <a:pt x="152104" y="3661858"/>
                </a:cubicBezTo>
                <a:lnTo>
                  <a:pt x="0" y="3661858"/>
                </a:lnTo>
                <a:close/>
                <a:moveTo>
                  <a:pt x="0" y="3394045"/>
                </a:moveTo>
                <a:lnTo>
                  <a:pt x="42166" y="3394045"/>
                </a:lnTo>
                <a:cubicBezTo>
                  <a:pt x="54791" y="3394045"/>
                  <a:pt x="65026" y="3404280"/>
                  <a:pt x="65026" y="3416905"/>
                </a:cubicBezTo>
                <a:lnTo>
                  <a:pt x="65025" y="3416905"/>
                </a:lnTo>
                <a:cubicBezTo>
                  <a:pt x="65025" y="3429530"/>
                  <a:pt x="54790" y="3439765"/>
                  <a:pt x="42165" y="3439765"/>
                </a:cubicBezTo>
                <a:lnTo>
                  <a:pt x="0" y="3439765"/>
                </a:lnTo>
                <a:close/>
                <a:moveTo>
                  <a:pt x="0" y="3240518"/>
                </a:moveTo>
                <a:lnTo>
                  <a:pt x="97193" y="3240518"/>
                </a:lnTo>
                <a:cubicBezTo>
                  <a:pt x="109818" y="3240518"/>
                  <a:pt x="120053" y="3250752"/>
                  <a:pt x="120053" y="3263377"/>
                </a:cubicBezTo>
                <a:lnTo>
                  <a:pt x="120052" y="3263377"/>
                </a:lnTo>
                <a:cubicBezTo>
                  <a:pt x="120052" y="3276002"/>
                  <a:pt x="109817" y="3286237"/>
                  <a:pt x="97192" y="3286237"/>
                </a:cubicBezTo>
                <a:lnTo>
                  <a:pt x="0" y="3286237"/>
                </a:lnTo>
                <a:close/>
                <a:moveTo>
                  <a:pt x="0" y="3086989"/>
                </a:moveTo>
                <a:lnTo>
                  <a:pt x="42166" y="3086989"/>
                </a:lnTo>
                <a:cubicBezTo>
                  <a:pt x="54791" y="3086989"/>
                  <a:pt x="65026" y="3097224"/>
                  <a:pt x="65026" y="3109849"/>
                </a:cubicBezTo>
                <a:lnTo>
                  <a:pt x="65025" y="3109849"/>
                </a:lnTo>
                <a:cubicBezTo>
                  <a:pt x="65025" y="3122474"/>
                  <a:pt x="54790" y="3132710"/>
                  <a:pt x="42165" y="3132710"/>
                </a:cubicBezTo>
                <a:lnTo>
                  <a:pt x="0" y="3132710"/>
                </a:lnTo>
                <a:close/>
                <a:moveTo>
                  <a:pt x="0" y="2889207"/>
                </a:moveTo>
                <a:lnTo>
                  <a:pt x="152104" y="2889207"/>
                </a:lnTo>
                <a:cubicBezTo>
                  <a:pt x="176950" y="2889207"/>
                  <a:pt x="197091" y="2909347"/>
                  <a:pt x="197091" y="2934193"/>
                </a:cubicBezTo>
                <a:cubicBezTo>
                  <a:pt x="197091" y="2959039"/>
                  <a:pt x="176950" y="2979180"/>
                  <a:pt x="152104" y="2979180"/>
                </a:cubicBezTo>
                <a:lnTo>
                  <a:pt x="0" y="2979180"/>
                </a:lnTo>
                <a:close/>
                <a:moveTo>
                  <a:pt x="0" y="2711368"/>
                </a:moveTo>
                <a:lnTo>
                  <a:pt x="42166" y="2711368"/>
                </a:lnTo>
                <a:cubicBezTo>
                  <a:pt x="54791" y="2711368"/>
                  <a:pt x="65026" y="2721603"/>
                  <a:pt x="65026" y="2734227"/>
                </a:cubicBezTo>
                <a:lnTo>
                  <a:pt x="65025" y="2734227"/>
                </a:lnTo>
                <a:cubicBezTo>
                  <a:pt x="65025" y="2746852"/>
                  <a:pt x="54790" y="2757087"/>
                  <a:pt x="42165" y="2757087"/>
                </a:cubicBezTo>
                <a:lnTo>
                  <a:pt x="0" y="2757087"/>
                </a:lnTo>
                <a:close/>
                <a:moveTo>
                  <a:pt x="0" y="2557839"/>
                </a:moveTo>
                <a:lnTo>
                  <a:pt x="97193" y="2557839"/>
                </a:lnTo>
                <a:cubicBezTo>
                  <a:pt x="109818" y="2557839"/>
                  <a:pt x="120053" y="2568074"/>
                  <a:pt x="120053" y="2580699"/>
                </a:cubicBezTo>
                <a:lnTo>
                  <a:pt x="120052" y="2580699"/>
                </a:lnTo>
                <a:cubicBezTo>
                  <a:pt x="120052" y="2593324"/>
                  <a:pt x="109817" y="2603560"/>
                  <a:pt x="97192" y="2603560"/>
                </a:cubicBezTo>
                <a:lnTo>
                  <a:pt x="0" y="2603560"/>
                </a:lnTo>
                <a:close/>
                <a:moveTo>
                  <a:pt x="0" y="2404311"/>
                </a:moveTo>
                <a:lnTo>
                  <a:pt x="42166" y="2404311"/>
                </a:lnTo>
                <a:cubicBezTo>
                  <a:pt x="54791" y="2404311"/>
                  <a:pt x="65026" y="2414546"/>
                  <a:pt x="65026" y="2427172"/>
                </a:cubicBezTo>
                <a:lnTo>
                  <a:pt x="65025" y="2427172"/>
                </a:lnTo>
                <a:cubicBezTo>
                  <a:pt x="65025" y="2439796"/>
                  <a:pt x="54790" y="2450031"/>
                  <a:pt x="42165" y="2450031"/>
                </a:cubicBezTo>
                <a:lnTo>
                  <a:pt x="0" y="2450031"/>
                </a:lnTo>
                <a:close/>
                <a:moveTo>
                  <a:pt x="0" y="2206529"/>
                </a:moveTo>
                <a:lnTo>
                  <a:pt x="152104" y="2206529"/>
                </a:lnTo>
                <a:cubicBezTo>
                  <a:pt x="176950" y="2206529"/>
                  <a:pt x="197091" y="2226669"/>
                  <a:pt x="197091" y="2251515"/>
                </a:cubicBezTo>
                <a:cubicBezTo>
                  <a:pt x="197091" y="2276361"/>
                  <a:pt x="176950" y="2296502"/>
                  <a:pt x="152104" y="2296502"/>
                </a:cubicBezTo>
                <a:lnTo>
                  <a:pt x="0" y="2296502"/>
                </a:lnTo>
                <a:close/>
                <a:moveTo>
                  <a:pt x="0" y="2028689"/>
                </a:moveTo>
                <a:lnTo>
                  <a:pt x="42166" y="2028689"/>
                </a:lnTo>
                <a:cubicBezTo>
                  <a:pt x="54791" y="2028689"/>
                  <a:pt x="65026" y="2038924"/>
                  <a:pt x="65026" y="2051549"/>
                </a:cubicBezTo>
                <a:lnTo>
                  <a:pt x="65025" y="2051549"/>
                </a:lnTo>
                <a:cubicBezTo>
                  <a:pt x="65025" y="2064175"/>
                  <a:pt x="54790" y="2074410"/>
                  <a:pt x="42165" y="2074410"/>
                </a:cubicBezTo>
                <a:lnTo>
                  <a:pt x="0" y="2074410"/>
                </a:lnTo>
                <a:close/>
                <a:moveTo>
                  <a:pt x="0" y="1875163"/>
                </a:moveTo>
                <a:lnTo>
                  <a:pt x="97193" y="1875163"/>
                </a:lnTo>
                <a:cubicBezTo>
                  <a:pt x="109818" y="1875163"/>
                  <a:pt x="120053" y="1885397"/>
                  <a:pt x="120053" y="1898022"/>
                </a:cubicBezTo>
                <a:lnTo>
                  <a:pt x="120052" y="1898022"/>
                </a:lnTo>
                <a:cubicBezTo>
                  <a:pt x="120052" y="1910648"/>
                  <a:pt x="109817" y="1920882"/>
                  <a:pt x="97192" y="1920882"/>
                </a:cubicBezTo>
                <a:lnTo>
                  <a:pt x="0" y="1920882"/>
                </a:lnTo>
                <a:close/>
                <a:moveTo>
                  <a:pt x="0" y="1721635"/>
                </a:moveTo>
                <a:lnTo>
                  <a:pt x="42166" y="1721635"/>
                </a:lnTo>
                <a:cubicBezTo>
                  <a:pt x="54791" y="1721635"/>
                  <a:pt x="65026" y="1731869"/>
                  <a:pt x="65026" y="1744495"/>
                </a:cubicBezTo>
                <a:lnTo>
                  <a:pt x="65025" y="1744495"/>
                </a:lnTo>
                <a:cubicBezTo>
                  <a:pt x="65025" y="1757120"/>
                  <a:pt x="54790" y="1767355"/>
                  <a:pt x="42165" y="1767355"/>
                </a:cubicBezTo>
                <a:lnTo>
                  <a:pt x="0" y="1767355"/>
                </a:lnTo>
                <a:close/>
                <a:moveTo>
                  <a:pt x="0" y="1523852"/>
                </a:moveTo>
                <a:lnTo>
                  <a:pt x="152104" y="1523852"/>
                </a:lnTo>
                <a:cubicBezTo>
                  <a:pt x="176950" y="1523852"/>
                  <a:pt x="197091" y="1543993"/>
                  <a:pt x="197091" y="1568839"/>
                </a:cubicBezTo>
                <a:cubicBezTo>
                  <a:pt x="197091" y="1593684"/>
                  <a:pt x="176950" y="1613826"/>
                  <a:pt x="152104" y="1613826"/>
                </a:cubicBezTo>
                <a:lnTo>
                  <a:pt x="0" y="1613826"/>
                </a:lnTo>
                <a:close/>
                <a:moveTo>
                  <a:pt x="0" y="1346013"/>
                </a:moveTo>
                <a:lnTo>
                  <a:pt x="42166" y="1346013"/>
                </a:lnTo>
                <a:cubicBezTo>
                  <a:pt x="54791" y="1346013"/>
                  <a:pt x="65026" y="1356248"/>
                  <a:pt x="65026" y="1368873"/>
                </a:cubicBezTo>
                <a:lnTo>
                  <a:pt x="65025" y="1368873"/>
                </a:lnTo>
                <a:cubicBezTo>
                  <a:pt x="65025" y="1381498"/>
                  <a:pt x="54790" y="1391733"/>
                  <a:pt x="42165" y="1391733"/>
                </a:cubicBezTo>
                <a:lnTo>
                  <a:pt x="0" y="1391733"/>
                </a:lnTo>
                <a:close/>
                <a:moveTo>
                  <a:pt x="0" y="1192485"/>
                </a:moveTo>
                <a:lnTo>
                  <a:pt x="97193" y="1192485"/>
                </a:lnTo>
                <a:cubicBezTo>
                  <a:pt x="109818" y="1192485"/>
                  <a:pt x="120053" y="1202720"/>
                  <a:pt x="120053" y="1215345"/>
                </a:cubicBezTo>
                <a:lnTo>
                  <a:pt x="120052" y="1215345"/>
                </a:lnTo>
                <a:cubicBezTo>
                  <a:pt x="120052" y="1227970"/>
                  <a:pt x="109817" y="1238205"/>
                  <a:pt x="97192" y="1238205"/>
                </a:cubicBezTo>
                <a:lnTo>
                  <a:pt x="0" y="1238205"/>
                </a:lnTo>
                <a:close/>
                <a:moveTo>
                  <a:pt x="0" y="1038956"/>
                </a:moveTo>
                <a:lnTo>
                  <a:pt x="42166" y="1038956"/>
                </a:lnTo>
                <a:cubicBezTo>
                  <a:pt x="54791" y="1038956"/>
                  <a:pt x="65026" y="1049192"/>
                  <a:pt x="65026" y="1061816"/>
                </a:cubicBezTo>
                <a:lnTo>
                  <a:pt x="65025" y="1061816"/>
                </a:lnTo>
                <a:cubicBezTo>
                  <a:pt x="65025" y="1074442"/>
                  <a:pt x="54790" y="1084676"/>
                  <a:pt x="42165" y="1084676"/>
                </a:cubicBezTo>
                <a:lnTo>
                  <a:pt x="0" y="1084676"/>
                </a:lnTo>
                <a:close/>
                <a:moveTo>
                  <a:pt x="0" y="841174"/>
                </a:moveTo>
                <a:lnTo>
                  <a:pt x="152104" y="841174"/>
                </a:lnTo>
                <a:cubicBezTo>
                  <a:pt x="176950" y="841174"/>
                  <a:pt x="197091" y="861315"/>
                  <a:pt x="197091" y="886161"/>
                </a:cubicBezTo>
                <a:cubicBezTo>
                  <a:pt x="197091" y="911007"/>
                  <a:pt x="176950" y="931148"/>
                  <a:pt x="152104" y="931148"/>
                </a:cubicBezTo>
                <a:lnTo>
                  <a:pt x="0" y="931148"/>
                </a:lnTo>
                <a:close/>
                <a:moveTo>
                  <a:pt x="0" y="663335"/>
                </a:moveTo>
                <a:lnTo>
                  <a:pt x="42166" y="663335"/>
                </a:lnTo>
                <a:cubicBezTo>
                  <a:pt x="54791" y="663335"/>
                  <a:pt x="65026" y="673570"/>
                  <a:pt x="65026" y="686195"/>
                </a:cubicBezTo>
                <a:lnTo>
                  <a:pt x="65025" y="686195"/>
                </a:lnTo>
                <a:cubicBezTo>
                  <a:pt x="65025" y="698820"/>
                  <a:pt x="54790" y="709055"/>
                  <a:pt x="42165" y="709055"/>
                </a:cubicBezTo>
                <a:lnTo>
                  <a:pt x="0" y="709055"/>
                </a:lnTo>
                <a:close/>
                <a:moveTo>
                  <a:pt x="0" y="509807"/>
                </a:moveTo>
                <a:lnTo>
                  <a:pt x="97193" y="509807"/>
                </a:lnTo>
                <a:cubicBezTo>
                  <a:pt x="109818" y="509807"/>
                  <a:pt x="120053" y="520042"/>
                  <a:pt x="120053" y="532667"/>
                </a:cubicBezTo>
                <a:lnTo>
                  <a:pt x="120052" y="532667"/>
                </a:lnTo>
                <a:cubicBezTo>
                  <a:pt x="120052" y="545292"/>
                  <a:pt x="109817" y="555527"/>
                  <a:pt x="97192" y="555527"/>
                </a:cubicBezTo>
                <a:lnTo>
                  <a:pt x="0" y="555527"/>
                </a:lnTo>
                <a:close/>
                <a:moveTo>
                  <a:pt x="0" y="356279"/>
                </a:moveTo>
                <a:lnTo>
                  <a:pt x="42166" y="356279"/>
                </a:lnTo>
                <a:cubicBezTo>
                  <a:pt x="54791" y="356279"/>
                  <a:pt x="65026" y="366514"/>
                  <a:pt x="65026" y="379139"/>
                </a:cubicBezTo>
                <a:lnTo>
                  <a:pt x="65025" y="379139"/>
                </a:lnTo>
                <a:cubicBezTo>
                  <a:pt x="65025" y="391764"/>
                  <a:pt x="54790" y="401999"/>
                  <a:pt x="42165" y="401999"/>
                </a:cubicBezTo>
                <a:lnTo>
                  <a:pt x="0" y="401999"/>
                </a:lnTo>
                <a:close/>
                <a:moveTo>
                  <a:pt x="0" y="158496"/>
                </a:moveTo>
                <a:lnTo>
                  <a:pt x="152104" y="158496"/>
                </a:lnTo>
                <a:cubicBezTo>
                  <a:pt x="176950" y="158496"/>
                  <a:pt x="197091" y="178637"/>
                  <a:pt x="197091" y="203483"/>
                </a:cubicBezTo>
                <a:cubicBezTo>
                  <a:pt x="197091" y="228329"/>
                  <a:pt x="176950" y="248470"/>
                  <a:pt x="152104" y="248470"/>
                </a:cubicBezTo>
                <a:lnTo>
                  <a:pt x="0" y="248470"/>
                </a:lnTo>
                <a:close/>
                <a:moveTo>
                  <a:pt x="0" y="0"/>
                </a:moveTo>
                <a:lnTo>
                  <a:pt x="42166" y="0"/>
                </a:lnTo>
                <a:cubicBezTo>
                  <a:pt x="54791" y="0"/>
                  <a:pt x="65026" y="10235"/>
                  <a:pt x="65026" y="22860"/>
                </a:cubicBezTo>
                <a:lnTo>
                  <a:pt x="65025" y="22860"/>
                </a:lnTo>
                <a:cubicBezTo>
                  <a:pt x="65025" y="35485"/>
                  <a:pt x="54790" y="45720"/>
                  <a:pt x="42165" y="45720"/>
                </a:cubicBezTo>
                <a:lnTo>
                  <a:pt x="0" y="45720"/>
                </a:lnTo>
                <a:close/>
              </a:path>
            </a:pathLst>
          </a:custGeom>
          <a:solidFill>
            <a:schemeClr val="bg1">
              <a:alpha val="3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9067AC57-0993-4841-9877-618A266C0F08}"/>
              </a:ext>
            </a:extLst>
          </p:cNvPr>
          <p:cNvSpPr/>
          <p:nvPr userDrawn="1"/>
        </p:nvSpPr>
        <p:spPr>
          <a:xfrm>
            <a:off x="406294" y="6705600"/>
            <a:ext cx="11376237" cy="15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800">
                <a:solidFill>
                  <a:schemeClr val="tx1">
                    <a:lumMod val="60000"/>
                    <a:lumOff val="40000"/>
                  </a:schemeClr>
                </a:solidFill>
                <a:ea typeface="MS PGothic" pitchFamily="34" charset="-128"/>
              </a:rPr>
              <a:t>Pfizer Confidential – Internal Use Only, Not for Further Distribution</a:t>
            </a:r>
            <a:endParaRPr lang="en-US" sz="800">
              <a:solidFill>
                <a:schemeClr val="tx1">
                  <a:lumMod val="60000"/>
                  <a:lumOff val="40000"/>
                </a:schemeClr>
              </a:solidFill>
              <a:ea typeface="MS PGothic" pitchFamily="34" charset="-128"/>
            </a:endParaRPr>
          </a:p>
        </p:txBody>
      </p:sp>
      <p:cxnSp>
        <p:nvCxnSpPr>
          <p:cNvPr id="24" name="Connecteur droit 7">
            <a:extLst>
              <a:ext uri="{FF2B5EF4-FFF2-40B4-BE49-F238E27FC236}">
                <a16:creationId xmlns:a16="http://schemas.microsoft.com/office/drawing/2014/main" id="{414ABB1C-3475-4259-AC77-6A0B7AD5C807}"/>
              </a:ext>
            </a:extLst>
          </p:cNvPr>
          <p:cNvCxnSpPr>
            <a:cxnSpLocks/>
          </p:cNvCxnSpPr>
          <p:nvPr userDrawn="1"/>
        </p:nvCxnSpPr>
        <p:spPr>
          <a:xfrm>
            <a:off x="478243" y="746240"/>
            <a:ext cx="11710583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17982" y="6670743"/>
            <a:ext cx="406294" cy="155448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83045-6CB7-4C88-8A4E-57AB94F29488}" type="slidenum">
              <a:rPr lang="en-US" smtClean="0"/>
              <a:pPr/>
              <a:t>‹#›</a:t>
            </a:fld>
            <a:endParaRPr lang="en-US" sz="800">
              <a:solidFill>
                <a:schemeClr val="tx1">
                  <a:tint val="75000"/>
                </a:schemeClr>
              </a:solidFill>
            </a:endParaRPr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54B200A8-0270-4F73-B53E-A4E7DC523E12}"/>
              </a:ext>
            </a:extLst>
          </p:cNvPr>
          <p:cNvPicPr>
            <a:picLocks noChangeAspect="1"/>
          </p:cNvPicPr>
          <p:nvPr userDrawn="1"/>
        </p:nvPicPr>
        <p:blipFill>
          <a:blip r:embed="rId49"/>
          <a:stretch>
            <a:fillRect/>
          </a:stretch>
        </p:blipFill>
        <p:spPr>
          <a:xfrm>
            <a:off x="10935067" y="6357764"/>
            <a:ext cx="813812" cy="335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5072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  <p:sldLayoutId id="2147483732" r:id="rId14"/>
    <p:sldLayoutId id="2147483733" r:id="rId15"/>
    <p:sldLayoutId id="2147483734" r:id="rId16"/>
    <p:sldLayoutId id="2147483735" r:id="rId17"/>
    <p:sldLayoutId id="2147483736" r:id="rId18"/>
    <p:sldLayoutId id="2147483737" r:id="rId19"/>
    <p:sldLayoutId id="2147483738" r:id="rId20"/>
    <p:sldLayoutId id="2147483739" r:id="rId21"/>
    <p:sldLayoutId id="2147483740" r:id="rId22"/>
    <p:sldLayoutId id="2147483741" r:id="rId23"/>
    <p:sldLayoutId id="2147483742" r:id="rId24"/>
    <p:sldLayoutId id="2147483743" r:id="rId25"/>
    <p:sldLayoutId id="2147483744" r:id="rId26"/>
    <p:sldLayoutId id="2147483745" r:id="rId27"/>
    <p:sldLayoutId id="2147483746" r:id="rId28"/>
    <p:sldLayoutId id="2147483747" r:id="rId29"/>
    <p:sldLayoutId id="2147483748" r:id="rId30"/>
    <p:sldLayoutId id="2147483749" r:id="rId31"/>
    <p:sldLayoutId id="2147483750" r:id="rId32"/>
    <p:sldLayoutId id="2147483751" r:id="rId33"/>
    <p:sldLayoutId id="2147483752" r:id="rId34"/>
    <p:sldLayoutId id="2147483753" r:id="rId35"/>
    <p:sldLayoutId id="2147483754" r:id="rId36"/>
    <p:sldLayoutId id="2147483755" r:id="rId37"/>
    <p:sldLayoutId id="2147483756" r:id="rId38"/>
    <p:sldLayoutId id="2147483757" r:id="rId39"/>
    <p:sldLayoutId id="2147483758" r:id="rId40"/>
    <p:sldLayoutId id="2147483759" r:id="rId41"/>
    <p:sldLayoutId id="2147483760" r:id="rId42"/>
    <p:sldLayoutId id="2147483761" r:id="rId43"/>
    <p:sldLayoutId id="2147483762" r:id="rId44"/>
    <p:sldLayoutId id="2147483763" r:id="rId45"/>
    <p:sldLayoutId id="2147483764" r:id="rId46"/>
    <p:sldLayoutId id="2147483765" r:id="rId47"/>
  </p:sldLayoutIdLst>
  <p:transition>
    <p:fade/>
  </p:transition>
  <p:hf hdr="0" ftr="0" dt="0"/>
  <p:txStyles>
    <p:titleStyle>
      <a:lvl1pPr algn="l" defTabSz="914126" rtl="0" eaLnBrk="1" latinLnBrk="0" hangingPunct="1">
        <a:lnSpc>
          <a:spcPct val="85000"/>
        </a:lnSpc>
        <a:spcBef>
          <a:spcPct val="0"/>
        </a:spcBef>
        <a:buNone/>
        <a:defRPr sz="1799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169812" indent="-169812" algn="l" defTabSz="914126" rtl="0" eaLnBrk="1" latinLnBrk="0" hangingPunct="1">
        <a:lnSpc>
          <a:spcPct val="95000"/>
        </a:lnSpc>
        <a:spcBef>
          <a:spcPts val="100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1pPr>
      <a:lvl2pPr marL="515783" indent="-169812" algn="l" defTabSz="914126" rtl="0" eaLnBrk="1" latinLnBrk="0" hangingPunct="1">
        <a:lnSpc>
          <a:spcPct val="95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–"/>
        <a:defRPr sz="1400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2pPr>
      <a:lvl3pPr marL="855406" indent="-115853" algn="l" defTabSz="914126" rtl="0" eaLnBrk="1" latinLnBrk="0" hangingPunct="1">
        <a:lnSpc>
          <a:spcPct val="95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3pPr>
      <a:lvl4pPr marL="1201377" indent="-169812" algn="l" defTabSz="914126" rtl="0" eaLnBrk="1" latinLnBrk="0" hangingPunct="1">
        <a:lnSpc>
          <a:spcPct val="95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–"/>
        <a:defRPr sz="1100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4pPr>
      <a:lvl5pPr marL="1487042" indent="-115853" algn="l" defTabSz="914126" rtl="0" eaLnBrk="1" latinLnBrk="0" hangingPunct="1">
        <a:lnSpc>
          <a:spcPct val="95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100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64">
          <p15:clr>
            <a:srgbClr val="F26B43"/>
          </p15:clr>
        </p15:guide>
        <p15:guide id="2" pos="384">
          <p15:clr>
            <a:srgbClr val="F26B43"/>
          </p15:clr>
        </p15:guide>
        <p15:guide id="3" pos="7440">
          <p15:clr>
            <a:srgbClr val="F26B43"/>
          </p15:clr>
        </p15:guide>
        <p15:guide id="4" pos="3912">
          <p15:clr>
            <a:srgbClr val="F26B43"/>
          </p15:clr>
        </p15:guide>
        <p15:guide id="5" orient="horz" pos="420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21.xml"/><Relationship Id="rId6" Type="http://schemas.openxmlformats.org/officeDocument/2006/relationships/image" Target="../media/image3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3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image" Target="../media/image33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37.jpeg"/><Relationship Id="rId12" Type="http://schemas.microsoft.com/office/2007/relationships/diagramDrawing" Target="../diagrams/drawing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11" Type="http://schemas.openxmlformats.org/officeDocument/2006/relationships/diagramColors" Target="../diagrams/colors2.xml"/><Relationship Id="rId5" Type="http://schemas.openxmlformats.org/officeDocument/2006/relationships/diagramColors" Target="../diagrams/colors1.xml"/><Relationship Id="rId10" Type="http://schemas.openxmlformats.org/officeDocument/2006/relationships/diagramQuickStyle" Target="../diagrams/quickStyle2.xml"/><Relationship Id="rId4" Type="http://schemas.openxmlformats.org/officeDocument/2006/relationships/diagramQuickStyle" Target="../diagrams/quickStyle1.xml"/><Relationship Id="rId9" Type="http://schemas.openxmlformats.org/officeDocument/2006/relationships/diagramLayout" Target="../diagrams/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5F256F9-DB73-1913-0BE9-EA66FFAE7E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3" y="3372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5F256F9-DB73-1913-0BE9-EA66FFAE7E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3" y="3372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D7EDAC72-7C89-EA23-7233-13263E4B1C99}"/>
              </a:ext>
            </a:extLst>
          </p:cNvPr>
          <p:cNvSpPr txBox="1">
            <a:spLocks/>
          </p:cNvSpPr>
          <p:nvPr/>
        </p:nvSpPr>
        <p:spPr>
          <a:xfrm>
            <a:off x="4300486" y="6195955"/>
            <a:ext cx="3587853" cy="421858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kern="1200" spc="-50" dirty="0" smtClean="0">
                <a:solidFill>
                  <a:srgbClr val="0000CA"/>
                </a:solidFill>
                <a:latin typeface="Pfizer Diatype" panose="020B050404020206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spc="-50" dirty="0" smtClean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spc="-50" dirty="0">
                <a:solidFill>
                  <a:srgbClr val="02005E"/>
                </a:solidFill>
                <a:latin typeface="Pfizer Diatype" panose="020B0504040202060203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126"/>
            <a:endParaRPr lang="en-US" sz="1950">
              <a:solidFill>
                <a:srgbClr val="000000"/>
              </a:solidFill>
              <a:latin typeface="Pfizer Diatype"/>
            </a:endParaRP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3A93B22F-073C-C38D-3019-E715DABBF04E}"/>
              </a:ext>
            </a:extLst>
          </p:cNvPr>
          <p:cNvSpPr txBox="1">
            <a:spLocks/>
          </p:cNvSpPr>
          <p:nvPr/>
        </p:nvSpPr>
        <p:spPr bwMode="gray">
          <a:xfrm>
            <a:off x="282035" y="5395356"/>
            <a:ext cx="11865352" cy="461665"/>
          </a:xfrm>
          <a:prstGeom prst="rect">
            <a:avLst/>
          </a:prstGeom>
          <a:noFill/>
        </p:spPr>
        <p:txBody>
          <a:bodyPr vert="horz" wrap="square" lIns="0" tIns="45720" rIns="0" bIns="45720" rtlCol="0">
            <a:noAutofit/>
          </a:bodyPr>
          <a:lstStyle>
            <a:lvl1pPr marL="0" indent="0" algn="l" defTabSz="91412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063" indent="-169812" algn="l" defTabSz="91412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685594" indent="-171399" algn="l" defTabSz="91412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914126" indent="-171399" algn="l" defTabSz="91412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088698" indent="-114266" algn="l" defTabSz="91412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3846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7020" algn="ctr">
              <a:spcBef>
                <a:spcPts val="1998"/>
              </a:spcBef>
            </a:pPr>
            <a:r>
              <a:rPr lang="pl-PL" sz="14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Zapoznaj się z Charakterystyką Produktu Leczniczego (</a:t>
            </a:r>
            <a:r>
              <a:rPr lang="pl-PL" sz="140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ChPL</a:t>
            </a:r>
            <a:r>
              <a:rPr lang="pl-PL" sz="14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) w celu uzyskania pełnych informacji na temat właściwego stosowania Genotropin </a:t>
            </a:r>
            <a:endParaRPr lang="pl-PL" sz="1400" dirty="0"/>
          </a:p>
          <a:p>
            <a:pPr algn="ctr"/>
            <a:endParaRPr lang="pl-PL" dirty="0"/>
          </a:p>
        </p:txBody>
      </p:sp>
      <p:sp>
        <p:nvSpPr>
          <p:cNvPr id="13" name="pole tekstowe 12">
            <a:extLst>
              <a:ext uri="{FF2B5EF4-FFF2-40B4-BE49-F238E27FC236}">
                <a16:creationId xmlns:a16="http://schemas.microsoft.com/office/drawing/2014/main" id="{7AD00471-BD6D-6559-EA08-91CD38F3CFA7}"/>
              </a:ext>
            </a:extLst>
          </p:cNvPr>
          <p:cNvSpPr txBox="1"/>
          <p:nvPr/>
        </p:nvSpPr>
        <p:spPr>
          <a:xfrm>
            <a:off x="2163504" y="5901120"/>
            <a:ext cx="846831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l-PL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fizer Polska Sp. z o.o. z siedzibą w Warszawie, ul. Żwirki i Wigury 16B, 02-092 Warszawa. Kapitał zakładowy 33 860 000,00 zł,</a:t>
            </a:r>
          </a:p>
          <a:p>
            <a:pPr algn="ctr"/>
            <a:r>
              <a:rPr lang="pl-PL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KRS 22310, Sąd Rejonowy dla m.st. Warszawy w Warszawie</a:t>
            </a:r>
            <a:r>
              <a:rPr lang="pl-PL" sz="1200" dirty="0">
                <a:latin typeface="Calibri" panose="020F0502020204030204" pitchFamily="34" charset="0"/>
                <a:ea typeface="Calibri" panose="020F0502020204030204" pitchFamily="34" charset="0"/>
              </a:rPr>
              <a:t>, </a:t>
            </a:r>
            <a:r>
              <a:rPr lang="pl-PL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NIP 521-31-15-586</a:t>
            </a:r>
            <a:r>
              <a:rPr lang="pl-PL" sz="1200" dirty="0">
                <a:latin typeface="Calibri" panose="020F0502020204030204" pitchFamily="34" charset="0"/>
                <a:ea typeface="Calibri" panose="020F0502020204030204" pitchFamily="34" charset="0"/>
              </a:rPr>
              <a:t>, </a:t>
            </a:r>
            <a:r>
              <a:rPr lang="pl-PL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numer w rejestrze BDO 000189470.</a:t>
            </a:r>
          </a:p>
        </p:txBody>
      </p:sp>
      <p:pic>
        <p:nvPicPr>
          <p:cNvPr id="18" name="Obraz 17">
            <a:extLst>
              <a:ext uri="{FF2B5EF4-FFF2-40B4-BE49-F238E27FC236}">
                <a16:creationId xmlns:a16="http://schemas.microsoft.com/office/drawing/2014/main" id="{151E6897-62E8-1F23-1F18-528D8A08485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26398" y="448814"/>
            <a:ext cx="4136028" cy="4691514"/>
          </a:xfrm>
          <a:prstGeom prst="rect">
            <a:avLst/>
          </a:prstGeom>
        </p:spPr>
      </p:pic>
      <p:sp>
        <p:nvSpPr>
          <p:cNvPr id="4" name="pole tekstowe 3">
            <a:extLst>
              <a:ext uri="{FF2B5EF4-FFF2-40B4-BE49-F238E27FC236}">
                <a16:creationId xmlns:a16="http://schemas.microsoft.com/office/drawing/2014/main" id="{D5D20DE2-BAB5-31F1-58A6-25E31DBD0006}"/>
              </a:ext>
            </a:extLst>
          </p:cNvPr>
          <p:cNvSpPr txBox="1"/>
          <p:nvPr/>
        </p:nvSpPr>
        <p:spPr bwMode="gray">
          <a:xfrm>
            <a:off x="4768726" y="6463924"/>
            <a:ext cx="609245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400" b="0" i="0" dirty="0">
                <a:solidFill>
                  <a:srgbClr val="1D1D1D"/>
                </a:solidFill>
                <a:effectLst/>
                <a:latin typeface="Arial" panose="020B0604020202020204" pitchFamily="34" charset="0"/>
              </a:rPr>
              <a:t>PP-GEN-POL-0036 Marzec 2025</a:t>
            </a:r>
            <a:endParaRPr lang="pl-PL" sz="1400" dirty="0"/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402850BE-DDFB-2AE5-61A0-EA727171611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017" y="5857021"/>
            <a:ext cx="2105319" cy="809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9739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19B65004-FA27-A212-84E9-4B5B1C046C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8F215187-FA56-50B4-F5A0-53D904760F43}"/>
              </a:ext>
            </a:extLst>
          </p:cNvPr>
          <p:cNvSpPr txBox="1"/>
          <p:nvPr/>
        </p:nvSpPr>
        <p:spPr bwMode="gray">
          <a:xfrm>
            <a:off x="1618735" y="6368990"/>
            <a:ext cx="1977081" cy="340729"/>
          </a:xfrm>
          <a:prstGeom prst="rect">
            <a:avLst/>
          </a:prstGeom>
          <a:solidFill>
            <a:schemeClr val="bg1"/>
          </a:solidFill>
        </p:spPr>
        <p:txBody>
          <a:bodyPr wrap="square" lIns="45720" tIns="45720" rIns="45720" bIns="45720" rtlCol="0">
            <a:noAutofit/>
          </a:bodyPr>
          <a:lstStyle/>
          <a:p>
            <a:pPr marL="171450" indent="-17145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IE" sz="1600" err="1"/>
          </a:p>
        </p:txBody>
      </p:sp>
      <p:sp>
        <p:nvSpPr>
          <p:cNvPr id="3" name="Tytuł 2">
            <a:extLst>
              <a:ext uri="{FF2B5EF4-FFF2-40B4-BE49-F238E27FC236}">
                <a16:creationId xmlns:a16="http://schemas.microsoft.com/office/drawing/2014/main" id="{E4D6D4B0-03F3-E4C4-5323-9F4CBDF80947}"/>
              </a:ext>
            </a:extLst>
          </p:cNvPr>
          <p:cNvSpPr txBox="1">
            <a:spLocks/>
          </p:cNvSpPr>
          <p:nvPr/>
        </p:nvSpPr>
        <p:spPr bwMode="gray">
          <a:xfrm>
            <a:off x="560717" y="345724"/>
            <a:ext cx="11079156" cy="564104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126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699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4000" b="1" spc="-25">
                <a:solidFill>
                  <a:srgbClr val="0000CA"/>
                </a:solidFill>
                <a:latin typeface="Pfizer Tomorrow"/>
              </a:rPr>
              <a:t>Dawkowanie i sposób podawania</a:t>
            </a:r>
            <a:endParaRPr lang="pl-PL" sz="4000" spc="-25">
              <a:solidFill>
                <a:srgbClr val="0000CA"/>
              </a:solidFill>
              <a:latin typeface="Pfizer Tomorrow"/>
            </a:endParaRPr>
          </a:p>
        </p:txBody>
      </p:sp>
      <p:sp>
        <p:nvSpPr>
          <p:cNvPr id="8" name="Symbol zastępczy zawartości 3">
            <a:extLst>
              <a:ext uri="{FF2B5EF4-FFF2-40B4-BE49-F238E27FC236}">
                <a16:creationId xmlns:a16="http://schemas.microsoft.com/office/drawing/2014/main" id="{E719AC92-E30B-4B03-C704-0B4F6305002D}"/>
              </a:ext>
            </a:extLst>
          </p:cNvPr>
          <p:cNvSpPr txBox="1">
            <a:spLocks/>
          </p:cNvSpPr>
          <p:nvPr/>
        </p:nvSpPr>
        <p:spPr bwMode="gray">
          <a:xfrm>
            <a:off x="367699" y="1430572"/>
            <a:ext cx="11454875" cy="939493"/>
          </a:xfrm>
          <a:prstGeom prst="rect">
            <a:avLst/>
          </a:prstGeom>
        </p:spPr>
        <p:txBody>
          <a:bodyPr vert="horz" lIns="45720" tIns="45720" rIns="45720" bIns="45720" rtlCol="0" anchor="t">
            <a:noAutofit/>
          </a:bodyPr>
          <a:lstStyle>
            <a:lvl1pPr marL="228531" indent="-228531" algn="l" defTabSz="914126" rtl="0" eaLnBrk="1" latinLnBrk="0" hangingPunct="1">
              <a:lnSpc>
                <a:spcPct val="90000"/>
              </a:lnSpc>
              <a:spcBef>
                <a:spcPts val="1999"/>
              </a:spcBef>
              <a:buClrTx/>
              <a:buSzPct val="100000"/>
              <a:buFont typeface="Arial" panose="020B0604020202020204" pitchFamily="34" charset="0"/>
              <a:buChar char="•"/>
              <a:defRPr lang="en-US" sz="1999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63" indent="-169812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594" indent="-171399" algn="l" defTabSz="914126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126" indent="-171399" algn="l" defTabSz="914126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8698" indent="-114266" algn="l" defTabSz="914126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846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2770" lvl="1" indent="-285750">
              <a:buSzPct val="100000"/>
            </a:pPr>
            <a:r>
              <a:rPr lang="pl-PL" sz="180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Dawkowanie i sposób podawania powinny być dostosowane indywidualnie</a:t>
            </a:r>
          </a:p>
          <a:p>
            <a:pPr marL="572770" lvl="1" indent="-285750">
              <a:buSzPct val="100000"/>
            </a:pPr>
            <a:r>
              <a:rPr lang="pl-PL" sz="180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Genotropin</a:t>
            </a:r>
            <a:r>
              <a:rPr lang="pl-PL" sz="180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podaje się </a:t>
            </a:r>
            <a:r>
              <a:rPr lang="pl-PL" sz="1800" b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odskórnie</a:t>
            </a:r>
            <a:r>
              <a:rPr lang="pl-PL" sz="180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. Miejsce wstrzyknięcia należy zmieniać, aby uniknąć zmian skórnych. </a:t>
            </a:r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DC8FAED0-F9CA-E32F-6E73-8CF7B90CF8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9395" y="2370065"/>
            <a:ext cx="11553180" cy="3602110"/>
          </a:xfrm>
          <a:prstGeom prst="rect">
            <a:avLst/>
          </a:prstGeom>
        </p:spPr>
      </p:pic>
      <p:pic>
        <p:nvPicPr>
          <p:cNvPr id="2" name="Obraz 1">
            <a:extLst>
              <a:ext uri="{FF2B5EF4-FFF2-40B4-BE49-F238E27FC236}">
                <a16:creationId xmlns:a16="http://schemas.microsoft.com/office/drawing/2014/main" id="{4334758E-E922-DB55-010B-65CC5F1047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848" y="6140423"/>
            <a:ext cx="3600953" cy="600159"/>
          </a:xfrm>
          <a:prstGeom prst="rect">
            <a:avLst/>
          </a:prstGeom>
        </p:spPr>
      </p:pic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B6C99FA8-1E44-F539-293A-2FAE0289A599}"/>
              </a:ext>
            </a:extLst>
          </p:cNvPr>
          <p:cNvSpPr txBox="1">
            <a:spLocks/>
          </p:cNvSpPr>
          <p:nvPr/>
        </p:nvSpPr>
        <p:spPr>
          <a:xfrm>
            <a:off x="8674191" y="6523168"/>
            <a:ext cx="3489277" cy="311923"/>
          </a:xfrm>
          <a:prstGeom prst="rect">
            <a:avLst/>
          </a:prstGeom>
        </p:spPr>
        <p:txBody>
          <a:bodyPr vert="horz" lIns="91416" tIns="45708" rIns="91416" bIns="45708" rtlCol="0" anchor="b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126">
              <a:buClr>
                <a:srgbClr val="CE0056"/>
              </a:buClr>
              <a:defRPr/>
            </a:pPr>
            <a:r>
              <a:rPr lang="pl-PL" sz="900" dirty="0">
                <a:solidFill>
                  <a:srgbClr val="000000"/>
                </a:solidFill>
              </a:rPr>
              <a:t>Charakterystyka Produktu Leczniczego </a:t>
            </a:r>
            <a:r>
              <a:rPr lang="pl-PL" sz="900" dirty="0" err="1">
                <a:solidFill>
                  <a:srgbClr val="000000"/>
                </a:solidFill>
              </a:rPr>
              <a:t>Genotropin</a:t>
            </a:r>
            <a:r>
              <a:rPr lang="pl-PL" sz="900" dirty="0">
                <a:solidFill>
                  <a:srgbClr val="000000"/>
                </a:solidFill>
              </a:rPr>
              <a:t> 10.05.2024r.</a:t>
            </a:r>
            <a:endParaRPr lang="en-US" sz="900" dirty="0">
              <a:solidFill>
                <a:srgbClr val="000000"/>
              </a:solidFill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80123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07C0001E-87BB-7D31-CB96-AE0F01E377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D2047E8D-F05C-1126-4A1C-C6ACC51514EA}"/>
              </a:ext>
            </a:extLst>
          </p:cNvPr>
          <p:cNvSpPr txBox="1"/>
          <p:nvPr/>
        </p:nvSpPr>
        <p:spPr>
          <a:xfrm>
            <a:off x="598360" y="3383292"/>
            <a:ext cx="2676002" cy="24615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914126">
              <a:defRPr/>
            </a:pPr>
            <a:endParaRPr lang="en-US" sz="100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2" name="Tytuł 2">
            <a:extLst>
              <a:ext uri="{FF2B5EF4-FFF2-40B4-BE49-F238E27FC236}">
                <a16:creationId xmlns:a16="http://schemas.microsoft.com/office/drawing/2014/main" id="{6E2F1E49-3D26-A907-326B-FB56AAB9B7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701" y="230473"/>
            <a:ext cx="2676003" cy="564104"/>
          </a:xfrm>
        </p:spPr>
        <p:txBody>
          <a:bodyPr/>
          <a:lstStyle/>
          <a:p>
            <a:r>
              <a:rPr lang="pl-PL" sz="3600" b="1" spc="-25" dirty="0">
                <a:solidFill>
                  <a:srgbClr val="0000CA"/>
                </a:solidFill>
                <a:latin typeface="Pfizer Tomorrow"/>
              </a:rPr>
              <a:t>Działania </a:t>
            </a:r>
            <a:br>
              <a:rPr lang="pl-PL" sz="3600" b="1" spc="-25" dirty="0">
                <a:solidFill>
                  <a:srgbClr val="0000CA"/>
                </a:solidFill>
                <a:latin typeface="Pfizer Tomorrow"/>
              </a:rPr>
            </a:br>
            <a:r>
              <a:rPr lang="pl-PL" sz="3600" b="1" spc="-25" dirty="0">
                <a:solidFill>
                  <a:srgbClr val="0000CA"/>
                </a:solidFill>
                <a:latin typeface="Pfizer Tomorrow"/>
              </a:rPr>
              <a:t>niepożądane</a:t>
            </a:r>
            <a:endParaRPr lang="pl-PL" sz="3600" spc="-25" dirty="0">
              <a:solidFill>
                <a:srgbClr val="0000CA"/>
              </a:solidFill>
              <a:latin typeface="Pfizer Tomorrow"/>
            </a:endParaRP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5ADC3FA4-6CC0-5513-EEF3-E9778B49DE08}"/>
              </a:ext>
            </a:extLst>
          </p:cNvPr>
          <p:cNvSpPr txBox="1">
            <a:spLocks/>
          </p:cNvSpPr>
          <p:nvPr/>
        </p:nvSpPr>
        <p:spPr>
          <a:xfrm>
            <a:off x="9095370" y="6462174"/>
            <a:ext cx="3800079" cy="329238"/>
          </a:xfrm>
          <a:prstGeom prst="rect">
            <a:avLst/>
          </a:prstGeom>
        </p:spPr>
        <p:txBody>
          <a:bodyPr vert="horz" lIns="91416" tIns="45708" rIns="91416" bIns="45708" rtlCol="0" anchor="b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126">
              <a:buClr>
                <a:srgbClr val="CE0056"/>
              </a:buClr>
              <a:defRPr/>
            </a:pPr>
            <a:r>
              <a:rPr lang="pl-PL" sz="800" dirty="0">
                <a:solidFill>
                  <a:srgbClr val="000000"/>
                </a:solidFill>
              </a:rPr>
              <a:t>Charakterystyka Produktu Leczniczego </a:t>
            </a:r>
            <a:r>
              <a:rPr lang="pl-PL" sz="800" dirty="0" err="1">
                <a:solidFill>
                  <a:srgbClr val="000000"/>
                </a:solidFill>
              </a:rPr>
              <a:t>Genotropin</a:t>
            </a:r>
            <a:r>
              <a:rPr lang="pl-PL" sz="800" dirty="0">
                <a:solidFill>
                  <a:srgbClr val="000000"/>
                </a:solidFill>
              </a:rPr>
              <a:t> 10.05.2024r.</a:t>
            </a:r>
            <a:endParaRPr lang="en-US" sz="800" dirty="0">
              <a:solidFill>
                <a:srgbClr val="000000"/>
              </a:solidFill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BAF199C9-F848-1087-8258-32A43DE15F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94704" y="75732"/>
            <a:ext cx="6295016" cy="6706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08555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5E20D062-446D-9A9D-EA64-F0DFE96C57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C234A524-4DDC-9EC9-738F-61C4583F6FBE}"/>
              </a:ext>
            </a:extLst>
          </p:cNvPr>
          <p:cNvSpPr txBox="1"/>
          <p:nvPr/>
        </p:nvSpPr>
        <p:spPr>
          <a:xfrm>
            <a:off x="598360" y="3383292"/>
            <a:ext cx="2676002" cy="24615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914126">
              <a:defRPr/>
            </a:pPr>
            <a:endParaRPr lang="en-US" sz="100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2" name="Tytuł 2">
            <a:extLst>
              <a:ext uri="{FF2B5EF4-FFF2-40B4-BE49-F238E27FC236}">
                <a16:creationId xmlns:a16="http://schemas.microsoft.com/office/drawing/2014/main" id="{16B9AAE8-1B39-25FA-163F-F12898D417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701" y="230473"/>
            <a:ext cx="2676003" cy="564104"/>
          </a:xfrm>
        </p:spPr>
        <p:txBody>
          <a:bodyPr/>
          <a:lstStyle/>
          <a:p>
            <a:r>
              <a:rPr lang="pl-PL" sz="3600" b="1" spc="-25" dirty="0">
                <a:solidFill>
                  <a:srgbClr val="0000CA"/>
                </a:solidFill>
                <a:latin typeface="Pfizer Tomorrow"/>
              </a:rPr>
              <a:t>Działania </a:t>
            </a:r>
            <a:br>
              <a:rPr lang="pl-PL" sz="3600" b="1" spc="-25" dirty="0">
                <a:solidFill>
                  <a:srgbClr val="0000CA"/>
                </a:solidFill>
                <a:latin typeface="Pfizer Tomorrow"/>
              </a:rPr>
            </a:br>
            <a:r>
              <a:rPr lang="pl-PL" sz="3600" b="1" spc="-25" dirty="0">
                <a:solidFill>
                  <a:srgbClr val="0000CA"/>
                </a:solidFill>
                <a:latin typeface="Pfizer Tomorrow"/>
              </a:rPr>
              <a:t>niepożądane</a:t>
            </a:r>
            <a:endParaRPr lang="pl-PL" sz="3600" spc="-25" dirty="0">
              <a:solidFill>
                <a:srgbClr val="0000CA"/>
              </a:solidFill>
              <a:latin typeface="Pfizer Tomorrow"/>
            </a:endParaRP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FEE9359B-928B-F085-DA61-2DF4659F75BC}"/>
              </a:ext>
            </a:extLst>
          </p:cNvPr>
          <p:cNvSpPr txBox="1">
            <a:spLocks/>
          </p:cNvSpPr>
          <p:nvPr/>
        </p:nvSpPr>
        <p:spPr>
          <a:xfrm>
            <a:off x="9095370" y="6462174"/>
            <a:ext cx="3800079" cy="329238"/>
          </a:xfrm>
          <a:prstGeom prst="rect">
            <a:avLst/>
          </a:prstGeom>
        </p:spPr>
        <p:txBody>
          <a:bodyPr vert="horz" lIns="91416" tIns="45708" rIns="91416" bIns="45708" rtlCol="0" anchor="b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126">
              <a:buClr>
                <a:srgbClr val="CE0056"/>
              </a:buClr>
              <a:defRPr/>
            </a:pPr>
            <a:r>
              <a:rPr lang="pl-PL" sz="800" dirty="0">
                <a:solidFill>
                  <a:srgbClr val="000000"/>
                </a:solidFill>
              </a:rPr>
              <a:t>Charakterystyka Produktu Leczniczego </a:t>
            </a:r>
            <a:r>
              <a:rPr lang="pl-PL" sz="800" dirty="0" err="1">
                <a:solidFill>
                  <a:srgbClr val="000000"/>
                </a:solidFill>
              </a:rPr>
              <a:t>Genotropin</a:t>
            </a:r>
            <a:r>
              <a:rPr lang="pl-PL" sz="800" dirty="0">
                <a:solidFill>
                  <a:srgbClr val="000000"/>
                </a:solidFill>
              </a:rPr>
              <a:t> 10.05.2024r.</a:t>
            </a:r>
            <a:endParaRPr lang="en-US" sz="800" dirty="0">
              <a:solidFill>
                <a:srgbClr val="000000"/>
              </a:solidFill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240D8FA7-C348-BD48-E71E-25BA1C534C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94704" y="1344130"/>
            <a:ext cx="7813809" cy="5118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46210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az 8">
            <a:extLst>
              <a:ext uri="{FF2B5EF4-FFF2-40B4-BE49-F238E27FC236}">
                <a16:creationId xmlns:a16="http://schemas.microsoft.com/office/drawing/2014/main" id="{1871840D-6B75-0F49-C689-C7C99FEAE6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8586" y="601735"/>
            <a:ext cx="10051651" cy="5654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6700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az 8">
            <a:extLst>
              <a:ext uri="{FF2B5EF4-FFF2-40B4-BE49-F238E27FC236}">
                <a16:creationId xmlns:a16="http://schemas.microsoft.com/office/drawing/2014/main" id="{7848E234-9A4A-F2FA-ED92-55085A21FF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8586" y="601735"/>
            <a:ext cx="10051651" cy="5654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31677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az 8">
            <a:extLst>
              <a:ext uri="{FF2B5EF4-FFF2-40B4-BE49-F238E27FC236}">
                <a16:creationId xmlns:a16="http://schemas.microsoft.com/office/drawing/2014/main" id="{5D533CA3-ACC1-7F74-B056-67084176DF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8586" y="601735"/>
            <a:ext cx="10051651" cy="5654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91271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487244-D58F-5FF3-37A3-3E1E9DF28B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1">
            <a:extLst>
              <a:ext uri="{FF2B5EF4-FFF2-40B4-BE49-F238E27FC236}">
                <a16:creationId xmlns:a16="http://schemas.microsoft.com/office/drawing/2014/main" id="{3EAA8B17-EB7A-253B-EE69-25682EC31D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8586" y="601735"/>
            <a:ext cx="10051651" cy="5654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987471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10DB9E-EA3E-F3FE-EADE-E9AC04E17C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1">
            <a:extLst>
              <a:ext uri="{FF2B5EF4-FFF2-40B4-BE49-F238E27FC236}">
                <a16:creationId xmlns:a16="http://schemas.microsoft.com/office/drawing/2014/main" id="{7B3E2822-5C53-8861-88C0-C698378E7C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8586" y="601735"/>
            <a:ext cx="10051651" cy="5654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55157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ytuł 1">
            <a:extLst>
              <a:ext uri="{FF2B5EF4-FFF2-40B4-BE49-F238E27FC236}">
                <a16:creationId xmlns:a16="http://schemas.microsoft.com/office/drawing/2014/main" id="{A653F850-EB1A-7ECA-F3DF-BE863CE187C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53175" y="507645"/>
            <a:ext cx="8206153" cy="622722"/>
          </a:xfrm>
          <a:prstGeom prst="rect">
            <a:avLst/>
          </a:prstGeom>
        </p:spPr>
        <p:txBody>
          <a:bodyPr vert="horz" lIns="0" tIns="45720" rIns="0" bIns="45720" rtlCol="0" anchor="t" anchorCtr="0">
            <a:normAutofit/>
          </a:bodyPr>
          <a:lstStyle>
            <a:lvl1pPr algn="l" defTabSz="914126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699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3600" b="1" spc="-25">
                <a:solidFill>
                  <a:srgbClr val="0000CA"/>
                </a:solidFill>
                <a:latin typeface="Pfizer Tomorrow"/>
              </a:rPr>
              <a:t>Hormon wzrostu - </a:t>
            </a:r>
            <a:r>
              <a:rPr lang="pl-PL" sz="3600" b="1" spc="-25" err="1">
                <a:solidFill>
                  <a:srgbClr val="0000CA"/>
                </a:solidFill>
                <a:latin typeface="Pfizer Tomorrow"/>
              </a:rPr>
              <a:t>Genotropin</a:t>
            </a:r>
            <a:endParaRPr lang="pl-PL" sz="3200" b="1" spc="-25"/>
          </a:p>
        </p:txBody>
      </p:sp>
      <p:sp>
        <p:nvSpPr>
          <p:cNvPr id="2" name="Symbol zastępczy zawartości 3">
            <a:extLst>
              <a:ext uri="{FF2B5EF4-FFF2-40B4-BE49-F238E27FC236}">
                <a16:creationId xmlns:a16="http://schemas.microsoft.com/office/drawing/2014/main" id="{9215A585-1099-4AA9-B5E8-6E714E8B64F3}"/>
              </a:ext>
            </a:extLst>
          </p:cNvPr>
          <p:cNvSpPr txBox="1">
            <a:spLocks/>
          </p:cNvSpPr>
          <p:nvPr/>
        </p:nvSpPr>
        <p:spPr bwMode="gray">
          <a:xfrm>
            <a:off x="335848" y="1362085"/>
            <a:ext cx="10698908" cy="4400360"/>
          </a:xfrm>
          <a:prstGeom prst="rect">
            <a:avLst/>
          </a:prstGeom>
        </p:spPr>
        <p:txBody>
          <a:bodyPr vert="horz" lIns="45720" tIns="45720" rIns="45720" bIns="45720" rtlCol="0" anchor="t">
            <a:noAutofit/>
          </a:bodyPr>
          <a:lstStyle>
            <a:lvl1pPr marL="228531" indent="-228531" algn="l" defTabSz="914126" rtl="0" eaLnBrk="1" latinLnBrk="0" hangingPunct="1">
              <a:lnSpc>
                <a:spcPct val="90000"/>
              </a:lnSpc>
              <a:spcBef>
                <a:spcPts val="1999"/>
              </a:spcBef>
              <a:buClrTx/>
              <a:buSzPct val="100000"/>
              <a:buFont typeface="Arial" panose="020B0604020202020204" pitchFamily="34" charset="0"/>
              <a:buChar char="•"/>
              <a:defRPr lang="en-US" sz="1999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63" indent="-169812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594" indent="-171399" algn="l" defTabSz="914126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126" indent="-171399" algn="l" defTabSz="914126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8698" indent="-114266" algn="l" defTabSz="914126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846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2770" lvl="1" indent="-285750">
              <a:buSzPct val="100000"/>
            </a:pPr>
            <a:r>
              <a:rPr lang="pl-PL" sz="1600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Hormon wzrostu (</a:t>
            </a:r>
            <a:r>
              <a:rPr lang="pl-PL" sz="1600" i="1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ang. </a:t>
            </a:r>
            <a:r>
              <a:rPr lang="pl-PL" sz="1600" i="1" dirty="0" err="1">
                <a:solidFill>
                  <a:schemeClr val="accent1">
                    <a:lumMod val="75000"/>
                  </a:schemeClr>
                </a:solidFill>
                <a:cs typeface="Arial"/>
              </a:rPr>
              <a:t>Growth</a:t>
            </a:r>
            <a:r>
              <a:rPr lang="pl-PL" sz="1600" i="1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 </a:t>
            </a:r>
            <a:r>
              <a:rPr lang="pl-PL" sz="1600" i="1" dirty="0" err="1">
                <a:solidFill>
                  <a:schemeClr val="accent1">
                    <a:lumMod val="75000"/>
                  </a:schemeClr>
                </a:solidFill>
                <a:cs typeface="Arial"/>
              </a:rPr>
              <a:t>Hormone</a:t>
            </a:r>
            <a:r>
              <a:rPr lang="pl-PL" sz="1600" i="1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, GH</a:t>
            </a:r>
            <a:r>
              <a:rPr lang="pl-PL" sz="1600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) wydzielany jest przez całe życie </a:t>
            </a:r>
          </a:p>
          <a:p>
            <a:pPr marL="801301" lvl="2" indent="-285750">
              <a:buSzPct val="100000"/>
            </a:pPr>
            <a:r>
              <a:rPr lang="pl-PL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najwięcej w dzieciństwie</a:t>
            </a:r>
          </a:p>
          <a:p>
            <a:pPr marL="801301" lvl="2" indent="-285750">
              <a:buSzPct val="100000"/>
            </a:pPr>
            <a:r>
              <a:rPr lang="pl-PL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potem stopniowo zmniejszając się</a:t>
            </a:r>
          </a:p>
          <a:p>
            <a:pPr marL="801301" lvl="2" indent="-285750">
              <a:buSzPct val="100000"/>
            </a:pPr>
            <a:r>
              <a:rPr lang="pl-PL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najmniej u osób w wieku podeszłym</a:t>
            </a:r>
          </a:p>
          <a:p>
            <a:pPr marL="572770" lvl="1" indent="-285750">
              <a:buSzPct val="100000"/>
            </a:pPr>
            <a:r>
              <a:rPr lang="pl-PL" sz="1600" b="1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Wydzielanie GH</a:t>
            </a:r>
          </a:p>
          <a:p>
            <a:pPr marL="801301" lvl="2" indent="-285750">
              <a:buSzPct val="100000"/>
            </a:pPr>
            <a:r>
              <a:rPr lang="pl-PL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przedni płat przysadki</a:t>
            </a:r>
          </a:p>
          <a:p>
            <a:pPr marL="801301" lvl="2" indent="-285750">
              <a:buSzPct val="100000"/>
            </a:pPr>
            <a:r>
              <a:rPr lang="pl-PL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pulsacyjnie, głównie podczas snu</a:t>
            </a:r>
          </a:p>
          <a:p>
            <a:pPr marL="572770" lvl="1" indent="-285750">
              <a:buSzPct val="100000"/>
            </a:pPr>
            <a:r>
              <a:rPr lang="pl-PL" sz="1600" b="1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Działanie</a:t>
            </a:r>
          </a:p>
          <a:p>
            <a:pPr marL="801301" lvl="2" indent="-285750">
              <a:buSzPct val="100000"/>
            </a:pPr>
            <a:r>
              <a:rPr lang="pl-PL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poprzez </a:t>
            </a:r>
            <a:r>
              <a:rPr lang="pl-PL" dirty="0" err="1">
                <a:solidFill>
                  <a:schemeClr val="accent1">
                    <a:lumMod val="75000"/>
                  </a:schemeClr>
                </a:solidFill>
                <a:cs typeface="Arial"/>
              </a:rPr>
              <a:t>insulinowo-podobny</a:t>
            </a:r>
            <a:r>
              <a:rPr lang="pl-PL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 czynnik wzrostu I (IGF-I), (</a:t>
            </a:r>
            <a:r>
              <a:rPr lang="pl-PL" dirty="0" err="1">
                <a:solidFill>
                  <a:schemeClr val="accent1">
                    <a:lumMod val="75000"/>
                  </a:schemeClr>
                </a:solidFill>
                <a:cs typeface="Arial"/>
              </a:rPr>
              <a:t>somatomedyna</a:t>
            </a:r>
            <a:r>
              <a:rPr lang="pl-PL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: IGF-I i IGF-II)</a:t>
            </a:r>
          </a:p>
          <a:p>
            <a:pPr marL="801301" lvl="2" indent="-285750">
              <a:buSzPct val="100000"/>
            </a:pPr>
            <a:r>
              <a:rPr lang="pl-PL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Bezpośrednio</a:t>
            </a:r>
          </a:p>
          <a:p>
            <a:pPr marL="572770" lvl="1" indent="-285750">
              <a:buSzPct val="100000"/>
            </a:pPr>
            <a:r>
              <a:rPr lang="pl-PL" sz="1600" b="1" dirty="0" err="1">
                <a:solidFill>
                  <a:schemeClr val="accent1">
                    <a:lumMod val="75000"/>
                  </a:schemeClr>
                </a:solidFill>
                <a:cs typeface="Arial"/>
              </a:rPr>
              <a:t>Genotropin</a:t>
            </a:r>
            <a:r>
              <a:rPr lang="pl-PL" sz="1600" b="1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:</a:t>
            </a:r>
          </a:p>
          <a:p>
            <a:pPr marL="801301" lvl="2" indent="-285750">
              <a:buSzPct val="100000"/>
            </a:pPr>
            <a:r>
              <a:rPr lang="pl-PL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Ludzki hormon wzrostu produkowany w komórkach bakterii Escherichia coli otrzymywany technologią rekombinacji DNA. </a:t>
            </a:r>
          </a:p>
          <a:p>
            <a:pPr marL="801301" lvl="2" indent="-285750">
              <a:buSzPct val="100000"/>
            </a:pPr>
            <a:r>
              <a:rPr lang="pl-PL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Substancja czynna to </a:t>
            </a:r>
            <a:r>
              <a:rPr lang="pl-PL" dirty="0" err="1">
                <a:solidFill>
                  <a:schemeClr val="accent1">
                    <a:lumMod val="75000"/>
                  </a:schemeClr>
                </a:solidFill>
                <a:cs typeface="Arial"/>
              </a:rPr>
              <a:t>somatropina</a:t>
            </a:r>
            <a:r>
              <a:rPr lang="pl-PL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, która jest niezbędna do prawidłowego wzrostu dzieci. U dorosłych z niedoborem hormonu wzrostu </a:t>
            </a:r>
            <a:r>
              <a:rPr lang="pl-PL" dirty="0" err="1">
                <a:solidFill>
                  <a:schemeClr val="accent1">
                    <a:lumMod val="75000"/>
                  </a:schemeClr>
                </a:solidFill>
                <a:cs typeface="Arial"/>
              </a:rPr>
              <a:t>somatropina</a:t>
            </a:r>
            <a:r>
              <a:rPr lang="pl-PL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 zmniejsza masę tkanki tłuszczowej i zwiększa masę mięśni. </a:t>
            </a:r>
          </a:p>
          <a:p>
            <a:pPr marL="572770" lvl="1" indent="-285750">
              <a:buSzPct val="100000"/>
            </a:pPr>
            <a:endParaRPr lang="pl-PL" sz="1601" dirty="0">
              <a:solidFill>
                <a:schemeClr val="accent1">
                  <a:lumMod val="75000"/>
                </a:schemeClr>
              </a:solidFill>
              <a:cs typeface="Arial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1273879-3B29-4873-DBE7-BECA7ACD2D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87" t="6047" r="24802" b="6384"/>
          <a:stretch>
            <a:fillRect/>
          </a:stretch>
        </p:blipFill>
        <p:spPr bwMode="auto">
          <a:xfrm>
            <a:off x="9674420" y="324359"/>
            <a:ext cx="1732954" cy="20754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11">
            <a:extLst>
              <a:ext uri="{FF2B5EF4-FFF2-40B4-BE49-F238E27FC236}">
                <a16:creationId xmlns:a16="http://schemas.microsoft.com/office/drawing/2014/main" id="{442AC4AC-6A2D-490F-6DDD-6D8ECEBB16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36492" y="6494361"/>
            <a:ext cx="359936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n-GB" altLang="en-US" sz="1000" dirty="0" err="1"/>
              <a:t>Lewiński</a:t>
            </a:r>
            <a:r>
              <a:rPr lang="en-GB" altLang="en-US" sz="1000" dirty="0"/>
              <a:t> et al, </a:t>
            </a:r>
            <a:r>
              <a:rPr lang="en-GB" altLang="en-US" sz="1000" dirty="0" err="1"/>
              <a:t>Endokrynologia</a:t>
            </a:r>
            <a:r>
              <a:rPr lang="en-GB" altLang="en-US" sz="1000" dirty="0"/>
              <a:t> Polska, 2018; 69(5):468-496</a:t>
            </a:r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B4119856-102D-B412-A10A-77159A0750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848" y="6140423"/>
            <a:ext cx="3600953" cy="600159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raphic 4">
            <a:extLst>
              <a:ext uri="{FF2B5EF4-FFF2-40B4-BE49-F238E27FC236}">
                <a16:creationId xmlns:a16="http://schemas.microsoft.com/office/drawing/2014/main" id="{16C33058-B45C-6F70-E321-B4B75DDD84CF}"/>
              </a:ext>
            </a:extLst>
          </p:cNvPr>
          <p:cNvSpPr/>
          <p:nvPr/>
        </p:nvSpPr>
        <p:spPr>
          <a:xfrm>
            <a:off x="324939" y="2383654"/>
            <a:ext cx="11774374" cy="3558811"/>
          </a:xfrm>
          <a:custGeom>
            <a:avLst/>
            <a:gdLst>
              <a:gd name="connsiteX0" fmla="*/ 12188952 w 12188952"/>
              <a:gd name="connsiteY0" fmla="*/ 2297991 h 3559738"/>
              <a:gd name="connsiteX1" fmla="*/ 0 w 12188952"/>
              <a:gd name="connsiteY1" fmla="*/ 0 h 3559738"/>
              <a:gd name="connsiteX2" fmla="*/ 0 w 12188952"/>
              <a:gd name="connsiteY2" fmla="*/ 138827 h 3559738"/>
              <a:gd name="connsiteX3" fmla="*/ 12186032 w 12188952"/>
              <a:gd name="connsiteY3" fmla="*/ 3077193 h 3559738"/>
              <a:gd name="connsiteX4" fmla="*/ 12188952 w 12188952"/>
              <a:gd name="connsiteY4" fmla="*/ 2297991 h 3559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8952" h="3559738">
                <a:moveTo>
                  <a:pt x="12188952" y="2297991"/>
                </a:moveTo>
                <a:cubicBezTo>
                  <a:pt x="8273759" y="3691216"/>
                  <a:pt x="3915193" y="2925101"/>
                  <a:pt x="0" y="0"/>
                </a:cubicBezTo>
                <a:lnTo>
                  <a:pt x="0" y="138827"/>
                </a:lnTo>
                <a:cubicBezTo>
                  <a:pt x="3914177" y="3276149"/>
                  <a:pt x="8271600" y="4255368"/>
                  <a:pt x="12186032" y="3077193"/>
                </a:cubicBezTo>
                <a:cubicBezTo>
                  <a:pt x="12187047" y="2817806"/>
                  <a:pt x="12188025" y="2558085"/>
                  <a:pt x="12188952" y="2297991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lumMod val="75000"/>
                </a:schemeClr>
              </a:gs>
              <a:gs pos="100000">
                <a:schemeClr val="accent2">
                  <a:alpha val="27000"/>
                </a:schemeClr>
              </a:gs>
            </a:gsLst>
            <a:lin ang="13500000" scaled="1"/>
            <a:tileRect/>
          </a:gradFill>
          <a:ln w="12690" cap="flat">
            <a:noFill/>
            <a:prstDash val="solid"/>
            <a:miter/>
          </a:ln>
        </p:spPr>
        <p:txBody>
          <a:bodyPr rtlCol="0" anchor="ctr"/>
          <a:lstStyle/>
          <a:p>
            <a:pPr defTabSz="914126">
              <a:defRPr/>
            </a:pPr>
            <a:endParaRPr lang="en-US" sz="1799">
              <a:solidFill>
                <a:srgbClr val="434343"/>
              </a:solidFill>
              <a:latin typeface="Arial" panose="020B0604020202020204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E59C949-0EB5-0969-0B92-CDA43678A961}"/>
              </a:ext>
            </a:extLst>
          </p:cNvPr>
          <p:cNvGrpSpPr/>
          <p:nvPr/>
        </p:nvGrpSpPr>
        <p:grpSpPr>
          <a:xfrm>
            <a:off x="682750" y="1941495"/>
            <a:ext cx="1123061" cy="1232589"/>
            <a:chOff x="682928" y="1941108"/>
            <a:chExt cx="1123354" cy="1232910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2B0AE569-A026-0211-4025-7102CE3E66A9}"/>
                </a:ext>
              </a:extLst>
            </p:cNvPr>
            <p:cNvSpPr txBox="1"/>
            <p:nvPr/>
          </p:nvSpPr>
          <p:spPr>
            <a:xfrm>
              <a:off x="682928" y="1941108"/>
              <a:ext cx="1123354" cy="784830"/>
            </a:xfrm>
            <a:prstGeom prst="rect">
              <a:avLst/>
            </a:prstGeom>
            <a:noFill/>
          </p:spPr>
          <p:txBody>
            <a:bodyPr wrap="square" lIns="45708" tIns="91416" rIns="45708" bIns="45708" rtlCol="0">
              <a:spAutoFit/>
            </a:bodyPr>
            <a:lstStyle/>
            <a:p>
              <a:pPr defTabSz="914126">
                <a:defRPr/>
              </a:pPr>
              <a:r>
                <a:rPr lang="en-GB" sz="1799" u="sng">
                  <a:solidFill>
                    <a:srgbClr val="002060"/>
                  </a:solidFill>
                  <a:latin typeface="Arial" panose="020B0604020202020204"/>
                </a:rPr>
                <a:t>1981</a:t>
              </a:r>
            </a:p>
            <a:p>
              <a:pPr defTabSz="914126">
                <a:defRPr/>
              </a:pPr>
              <a:r>
                <a:rPr lang="en-GB" sz="1200" b="1">
                  <a:solidFill>
                    <a:srgbClr val="000000"/>
                  </a:solidFill>
                  <a:latin typeface="Arial" panose="020B0604020202020204"/>
                </a:rPr>
                <a:t>Development of first rhGH</a:t>
              </a:r>
              <a:r>
                <a:rPr lang="en-GB" sz="1200" b="1" baseline="30000">
                  <a:solidFill>
                    <a:srgbClr val="000000"/>
                  </a:solidFill>
                  <a:latin typeface="Arial" panose="020B0604020202020204"/>
                </a:rPr>
                <a:t>1</a:t>
              </a:r>
              <a:endParaRPr lang="en-GB" sz="1200" b="1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679945AD-B5C0-D7C0-5B49-9989FA5A67D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53441" y="3097526"/>
              <a:ext cx="182327" cy="76492"/>
            </a:xfrm>
            <a:prstGeom prst="ellipse">
              <a:avLst/>
            </a:prstGeom>
            <a:solidFill>
              <a:srgbClr val="FFFFFF">
                <a:alpha val="71000"/>
              </a:srgbClr>
            </a:solidFill>
            <a:ln w="3175">
              <a:solidFill>
                <a:schemeClr val="bg1"/>
              </a:solidFill>
            </a:ln>
            <a:effectLst>
              <a:outerShdw blurRad="50800" dist="25400" dir="7200000" algn="bl" rotWithShape="0">
                <a:prstClr val="black">
                  <a:alpha val="3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>
                <a:solidFill>
                  <a:prstClr val="white"/>
                </a:solidFill>
                <a:latin typeface="Arial" panose="020B0604020202020204"/>
              </a:endParaRPr>
            </a:p>
          </p:txBody>
        </p:sp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5B833F3C-0D6F-3429-12E5-B3D3D4342AB3}"/>
                </a:ext>
              </a:extLst>
            </p:cNvPr>
            <p:cNvCxnSpPr>
              <a:cxnSpLocks/>
              <a:stCxn id="9" idx="2"/>
            </p:cNvCxnSpPr>
            <p:nvPr/>
          </p:nvCxnSpPr>
          <p:spPr>
            <a:xfrm flipH="1">
              <a:off x="1240423" y="2725938"/>
              <a:ext cx="4182" cy="408503"/>
            </a:xfrm>
            <a:prstGeom prst="straightConnector1">
              <a:avLst/>
            </a:prstGeom>
            <a:ln w="15875" cap="rnd">
              <a:headEnd type="none"/>
              <a:tailEnd type="none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00474054-2BB7-F793-E2B5-DD44E0547F8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96336" y="3113972"/>
              <a:ext cx="94491" cy="39643"/>
            </a:xfrm>
            <a:prstGeom prst="ellipse">
              <a:avLst/>
            </a:prstGeom>
            <a:solidFill>
              <a:schemeClr val="accent1">
                <a:alpha val="70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>
                <a:solidFill>
                  <a:prstClr val="white"/>
                </a:solidFill>
                <a:latin typeface="Arial" panose="020B0604020202020204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84D13A7-286E-DC6B-48F6-113CB750BF6A}"/>
              </a:ext>
            </a:extLst>
          </p:cNvPr>
          <p:cNvGrpSpPr/>
          <p:nvPr/>
        </p:nvGrpSpPr>
        <p:grpSpPr>
          <a:xfrm>
            <a:off x="1656589" y="1466355"/>
            <a:ext cx="1266731" cy="2391839"/>
            <a:chOff x="1657020" y="1465844"/>
            <a:chExt cx="1267061" cy="2392462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E368388-61A4-9904-E18F-E3283905B7A0}"/>
                </a:ext>
              </a:extLst>
            </p:cNvPr>
            <p:cNvSpPr txBox="1"/>
            <p:nvPr/>
          </p:nvSpPr>
          <p:spPr>
            <a:xfrm>
              <a:off x="1657020" y="1465844"/>
              <a:ext cx="1267061" cy="784830"/>
            </a:xfrm>
            <a:prstGeom prst="rect">
              <a:avLst/>
            </a:prstGeom>
            <a:noFill/>
          </p:spPr>
          <p:txBody>
            <a:bodyPr wrap="square" lIns="45708" tIns="91416" rIns="45708" bIns="45708" rtlCol="0">
              <a:spAutoFit/>
            </a:bodyPr>
            <a:lstStyle/>
            <a:p>
              <a:pPr defTabSz="914126">
                <a:defRPr/>
              </a:pPr>
              <a:r>
                <a:rPr lang="en-GB" sz="1799" u="sng">
                  <a:solidFill>
                    <a:srgbClr val="002060"/>
                  </a:solidFill>
                  <a:latin typeface="Arial" panose="020B0604020202020204"/>
                </a:rPr>
                <a:t>1985</a:t>
              </a:r>
              <a:endParaRPr lang="en-GB" sz="1200" u="sng">
                <a:solidFill>
                  <a:srgbClr val="002060"/>
                </a:solidFill>
                <a:latin typeface="Arial" panose="020B0604020202020204"/>
              </a:endParaRPr>
            </a:p>
            <a:p>
              <a:pPr defTabSz="914126">
                <a:defRPr/>
              </a:pPr>
              <a:r>
                <a:rPr lang="en-GB" sz="1200" b="1">
                  <a:solidFill>
                    <a:srgbClr val="000000"/>
                  </a:solidFill>
                  <a:latin typeface="Arial" panose="020B0604020202020204"/>
                </a:rPr>
                <a:t>Approval of rhGH for PGHD</a:t>
              </a:r>
              <a:r>
                <a:rPr lang="en-GB" sz="1200" b="1" baseline="30000">
                  <a:solidFill>
                    <a:srgbClr val="000000"/>
                  </a:solidFill>
                  <a:latin typeface="Arial" panose="020B0604020202020204"/>
                </a:rPr>
                <a:t>1</a:t>
              </a:r>
              <a:endParaRPr lang="en-GB" sz="1200" b="1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BF9BCC55-824E-12BF-1228-8F2E2777521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161960" y="3750410"/>
              <a:ext cx="257182" cy="107896"/>
            </a:xfrm>
            <a:prstGeom prst="ellipse">
              <a:avLst/>
            </a:prstGeom>
            <a:solidFill>
              <a:srgbClr val="FFFFFF">
                <a:alpha val="71000"/>
              </a:srgbClr>
            </a:solidFill>
            <a:ln w="6350">
              <a:solidFill>
                <a:schemeClr val="bg1"/>
              </a:solidFill>
            </a:ln>
            <a:effectLst>
              <a:outerShdw blurRad="50800" dist="25400" dir="7200000" algn="bl" rotWithShape="0">
                <a:prstClr val="black">
                  <a:alpha val="3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>
                <a:solidFill>
                  <a:prstClr val="white"/>
                </a:solidFill>
                <a:latin typeface="Arial" panose="020B0604020202020204"/>
              </a:endParaRPr>
            </a:p>
          </p:txBody>
        </p: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58250766-2AE6-7A4F-1740-79719E0737A4}"/>
                </a:ext>
              </a:extLst>
            </p:cNvPr>
            <p:cNvCxnSpPr>
              <a:cxnSpLocks/>
              <a:stCxn id="14" idx="2"/>
            </p:cNvCxnSpPr>
            <p:nvPr/>
          </p:nvCxnSpPr>
          <p:spPr>
            <a:xfrm flipH="1">
              <a:off x="2288785" y="2250674"/>
              <a:ext cx="1766" cy="1546230"/>
            </a:xfrm>
            <a:prstGeom prst="straightConnector1">
              <a:avLst/>
            </a:prstGeom>
            <a:ln w="19050" cap="rnd">
              <a:headEnd type="none"/>
              <a:tailEnd type="none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057F0B66-DA5A-0C66-5451-4B8F7734435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234296" y="3778564"/>
              <a:ext cx="108976" cy="45720"/>
            </a:xfrm>
            <a:prstGeom prst="ellipse">
              <a:avLst/>
            </a:prstGeom>
            <a:solidFill>
              <a:schemeClr val="accent1">
                <a:alpha val="70000"/>
              </a:schemeClr>
            </a:solidFill>
            <a:ln w="63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>
                <a:solidFill>
                  <a:prstClr val="white"/>
                </a:solidFill>
                <a:latin typeface="Arial" panose="020B0604020202020204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A368D1B-9BC1-44F9-947C-AB05332B55BE}"/>
              </a:ext>
            </a:extLst>
          </p:cNvPr>
          <p:cNvGrpSpPr/>
          <p:nvPr/>
        </p:nvGrpSpPr>
        <p:grpSpPr>
          <a:xfrm>
            <a:off x="3014647" y="2595188"/>
            <a:ext cx="1123061" cy="1959568"/>
            <a:chOff x="3015433" y="2594971"/>
            <a:chExt cx="1123354" cy="1960078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13BB20E5-8ECA-8B50-8A38-8FCE68D12F35}"/>
                </a:ext>
              </a:extLst>
            </p:cNvPr>
            <p:cNvSpPr txBox="1"/>
            <p:nvPr/>
          </p:nvSpPr>
          <p:spPr>
            <a:xfrm>
              <a:off x="3015433" y="2594971"/>
              <a:ext cx="1123354" cy="784830"/>
            </a:xfrm>
            <a:prstGeom prst="rect">
              <a:avLst/>
            </a:prstGeom>
            <a:noFill/>
          </p:spPr>
          <p:txBody>
            <a:bodyPr wrap="square" lIns="45708" tIns="91416" rIns="45708" bIns="45708" rtlCol="0">
              <a:spAutoFit/>
            </a:bodyPr>
            <a:lstStyle/>
            <a:p>
              <a:pPr defTabSz="914126">
                <a:defRPr/>
              </a:pPr>
              <a:r>
                <a:rPr lang="en-GB" sz="1799" u="sng">
                  <a:solidFill>
                    <a:srgbClr val="002060"/>
                  </a:solidFill>
                  <a:latin typeface="Arial" panose="020B0604020202020204"/>
                </a:rPr>
                <a:t>1993</a:t>
              </a:r>
            </a:p>
            <a:p>
              <a:pPr defTabSz="914126">
                <a:defRPr/>
              </a:pPr>
              <a:r>
                <a:rPr lang="en-GB" sz="1200" b="1">
                  <a:solidFill>
                    <a:srgbClr val="000000"/>
                  </a:solidFill>
                  <a:latin typeface="Arial" panose="020B0604020202020204"/>
                </a:rPr>
                <a:t>Approval of rhGH for CRI</a:t>
              </a:r>
              <a:r>
                <a:rPr lang="en-GB" sz="1200" b="1" baseline="30000">
                  <a:solidFill>
                    <a:srgbClr val="000000"/>
                  </a:solidFill>
                  <a:latin typeface="Arial" panose="020B0604020202020204"/>
                </a:rPr>
                <a:t>1</a:t>
              </a:r>
              <a:endParaRPr lang="en-GB" sz="1200" b="1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81D62CD8-A16C-E570-108E-2372A485952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388451" y="4396752"/>
              <a:ext cx="377318" cy="158297"/>
            </a:xfrm>
            <a:prstGeom prst="ellipse">
              <a:avLst/>
            </a:prstGeom>
            <a:solidFill>
              <a:srgbClr val="FFFFFF">
                <a:alpha val="71000"/>
              </a:srgbClr>
            </a:solidFill>
            <a:ln w="9525">
              <a:solidFill>
                <a:schemeClr val="bg1"/>
              </a:solidFill>
            </a:ln>
            <a:effectLst>
              <a:outerShdw blurRad="50800" dist="25400" dir="7200000" algn="bl" rotWithShape="0">
                <a:prstClr val="black">
                  <a:alpha val="3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>
                <a:solidFill>
                  <a:prstClr val="white"/>
                </a:solidFill>
                <a:latin typeface="Arial" panose="020B0604020202020204"/>
              </a:endParaRPr>
            </a:p>
          </p:txBody>
        </p: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9D8BE929-F817-3AE0-1A7E-C23FA8342E98}"/>
                </a:ext>
              </a:extLst>
            </p:cNvPr>
            <p:cNvCxnSpPr>
              <a:cxnSpLocks/>
              <a:stCxn id="19" idx="2"/>
            </p:cNvCxnSpPr>
            <p:nvPr/>
          </p:nvCxnSpPr>
          <p:spPr>
            <a:xfrm flipH="1">
              <a:off x="3576472" y="3379801"/>
              <a:ext cx="638" cy="1093493"/>
            </a:xfrm>
            <a:prstGeom prst="straightConnector1">
              <a:avLst/>
            </a:prstGeom>
            <a:ln w="22225" cap="rnd">
              <a:headEnd type="none"/>
              <a:tailEnd type="none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774676A8-2110-FC91-46FB-032F5DDAF80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11827" y="4451085"/>
              <a:ext cx="129694" cy="54412"/>
            </a:xfrm>
            <a:prstGeom prst="ellipse">
              <a:avLst/>
            </a:prstGeom>
            <a:solidFill>
              <a:schemeClr val="accent1">
                <a:alpha val="7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>
                <a:solidFill>
                  <a:prstClr val="white"/>
                </a:solidFill>
                <a:latin typeface="Arial" panose="020B0604020202020204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CC85C89-02D4-135E-EA17-8B23FE4AD4F1}"/>
              </a:ext>
            </a:extLst>
          </p:cNvPr>
          <p:cNvGrpSpPr/>
          <p:nvPr/>
        </p:nvGrpSpPr>
        <p:grpSpPr>
          <a:xfrm>
            <a:off x="4134994" y="1694653"/>
            <a:ext cx="1266730" cy="3372897"/>
            <a:chOff x="4136072" y="1694201"/>
            <a:chExt cx="1267060" cy="3373776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05AB0C4-B884-508C-14B6-1D764A6491B0}"/>
                </a:ext>
              </a:extLst>
            </p:cNvPr>
            <p:cNvSpPr txBox="1"/>
            <p:nvPr/>
          </p:nvSpPr>
          <p:spPr>
            <a:xfrm>
              <a:off x="4136072" y="1694201"/>
              <a:ext cx="1267060" cy="784830"/>
            </a:xfrm>
            <a:prstGeom prst="rect">
              <a:avLst/>
            </a:prstGeom>
            <a:noFill/>
          </p:spPr>
          <p:txBody>
            <a:bodyPr wrap="square" lIns="45708" tIns="91416" rIns="45708" bIns="45708" rtlCol="0">
              <a:spAutoFit/>
            </a:bodyPr>
            <a:lstStyle/>
            <a:p>
              <a:pPr defTabSz="914126">
                <a:defRPr/>
              </a:pPr>
              <a:r>
                <a:rPr lang="en-GB" sz="1799" u="sng">
                  <a:solidFill>
                    <a:srgbClr val="002060"/>
                  </a:solidFill>
                  <a:latin typeface="Arial" panose="020B0604020202020204"/>
                </a:rPr>
                <a:t>1996</a:t>
              </a:r>
            </a:p>
            <a:p>
              <a:pPr defTabSz="914126">
                <a:defRPr/>
              </a:pPr>
              <a:r>
                <a:rPr lang="en-GB" sz="1200" b="1">
                  <a:solidFill>
                    <a:srgbClr val="000000"/>
                  </a:solidFill>
                  <a:latin typeface="Arial" panose="020B0604020202020204"/>
                </a:rPr>
                <a:t>Approval of rhGH for AGHD</a:t>
              </a:r>
              <a:r>
                <a:rPr lang="en-GB" sz="1200" b="1" baseline="30000">
                  <a:solidFill>
                    <a:srgbClr val="000000"/>
                  </a:solidFill>
                  <a:latin typeface="Arial" panose="020B0604020202020204"/>
                </a:rPr>
                <a:t>1</a:t>
              </a:r>
              <a:endParaRPr lang="en-GB" sz="1200" b="1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285CEE28-DBE0-D738-391B-4A4B9CA9F27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507127" y="4847743"/>
              <a:ext cx="524950" cy="220234"/>
            </a:xfrm>
            <a:prstGeom prst="ellipse">
              <a:avLst/>
            </a:prstGeom>
            <a:solidFill>
              <a:srgbClr val="FFFFFF">
                <a:alpha val="71000"/>
              </a:srgbClr>
            </a:solidFill>
            <a:ln w="12700">
              <a:solidFill>
                <a:schemeClr val="bg1"/>
              </a:solidFill>
            </a:ln>
            <a:effectLst>
              <a:outerShdw blurRad="50800" dist="25400" dir="7200000" algn="bl" rotWithShape="0">
                <a:prstClr val="black">
                  <a:alpha val="3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>
                <a:solidFill>
                  <a:prstClr val="white"/>
                </a:solidFill>
                <a:latin typeface="Arial" panose="020B0604020202020204"/>
              </a:endParaRPr>
            </a:p>
          </p:txBody>
        </p: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7337A2E7-88EA-0818-CB4C-215FE9A361E4}"/>
                </a:ext>
              </a:extLst>
            </p:cNvPr>
            <p:cNvCxnSpPr>
              <a:cxnSpLocks/>
              <a:stCxn id="24" idx="2"/>
            </p:cNvCxnSpPr>
            <p:nvPr/>
          </p:nvCxnSpPr>
          <p:spPr>
            <a:xfrm flipH="1">
              <a:off x="4769166" y="2479031"/>
              <a:ext cx="436" cy="2487203"/>
            </a:xfrm>
            <a:prstGeom prst="straightConnector1">
              <a:avLst/>
            </a:prstGeom>
            <a:ln w="25400" cap="rnd">
              <a:headEnd type="none"/>
              <a:tailEnd type="none" w="sm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17131C19-91DE-F124-A81B-86A111263E0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89329" y="4926756"/>
              <a:ext cx="159674" cy="66988"/>
            </a:xfrm>
            <a:prstGeom prst="ellipse">
              <a:avLst/>
            </a:prstGeom>
            <a:solidFill>
              <a:schemeClr val="accent1">
                <a:alpha val="70000"/>
              </a:schemeClr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>
                <a:solidFill>
                  <a:prstClr val="white"/>
                </a:solidFill>
                <a:latin typeface="Arial" panose="020B0604020202020204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77CB1A9-79E8-155B-FAC9-EDC57B022329}"/>
              </a:ext>
            </a:extLst>
          </p:cNvPr>
          <p:cNvGrpSpPr/>
          <p:nvPr/>
        </p:nvGrpSpPr>
        <p:grpSpPr>
          <a:xfrm>
            <a:off x="5160129" y="2936407"/>
            <a:ext cx="1039031" cy="2422901"/>
            <a:chOff x="5161473" y="2936279"/>
            <a:chExt cx="1039302" cy="2423532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6501630B-EC3A-EF9E-3D9E-712CBD29170C}"/>
                </a:ext>
              </a:extLst>
            </p:cNvPr>
            <p:cNvSpPr txBox="1"/>
            <p:nvPr/>
          </p:nvSpPr>
          <p:spPr>
            <a:xfrm>
              <a:off x="5161473" y="2936279"/>
              <a:ext cx="1039302" cy="784830"/>
            </a:xfrm>
            <a:prstGeom prst="rect">
              <a:avLst/>
            </a:prstGeom>
            <a:noFill/>
          </p:spPr>
          <p:txBody>
            <a:bodyPr wrap="square" lIns="45708" tIns="91416" rIns="45708" bIns="45708" rtlCol="0">
              <a:spAutoFit/>
            </a:bodyPr>
            <a:lstStyle/>
            <a:p>
              <a:pPr defTabSz="914126">
                <a:defRPr/>
              </a:pPr>
              <a:r>
                <a:rPr lang="en-GB" sz="1799" u="sng">
                  <a:solidFill>
                    <a:srgbClr val="002060"/>
                  </a:solidFill>
                  <a:latin typeface="Arial" panose="020B0604020202020204"/>
                </a:rPr>
                <a:t>1997</a:t>
              </a:r>
            </a:p>
            <a:p>
              <a:pPr defTabSz="914126">
                <a:defRPr/>
              </a:pPr>
              <a:r>
                <a:rPr lang="en-GB" sz="1200" b="1">
                  <a:solidFill>
                    <a:srgbClr val="000000"/>
                  </a:solidFill>
                  <a:latin typeface="Arial" panose="020B0604020202020204"/>
                </a:rPr>
                <a:t>Approval of rhGH for TS</a:t>
              </a:r>
              <a:r>
                <a:rPr lang="en-GB" sz="1200" b="1" baseline="30000">
                  <a:solidFill>
                    <a:srgbClr val="000000"/>
                  </a:solidFill>
                  <a:latin typeface="Arial" panose="020B0604020202020204"/>
                </a:rPr>
                <a:t>1</a:t>
              </a:r>
              <a:endParaRPr lang="en-GB" sz="1200" b="1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6CD74BC5-9214-F444-FF09-9BB54092B12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86989" y="5113013"/>
              <a:ext cx="588270" cy="246798"/>
            </a:xfrm>
            <a:prstGeom prst="ellipse">
              <a:avLst/>
            </a:prstGeom>
            <a:solidFill>
              <a:srgbClr val="FFFFFF">
                <a:alpha val="71000"/>
              </a:srgbClr>
            </a:solidFill>
            <a:ln w="12700">
              <a:solidFill>
                <a:schemeClr val="bg1"/>
              </a:solidFill>
            </a:ln>
            <a:effectLst>
              <a:outerShdw blurRad="50800" dist="25400" dir="7200000" algn="bl" rotWithShape="0">
                <a:prstClr val="black">
                  <a:alpha val="3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>
                <a:solidFill>
                  <a:prstClr val="white"/>
                </a:solidFill>
                <a:latin typeface="Arial" panose="020B0604020202020204"/>
              </a:endParaRPr>
            </a:p>
          </p:txBody>
        </p:sp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id="{625F1AF0-0FDC-B139-4DBB-F00CB9BC8D99}"/>
                </a:ext>
              </a:extLst>
            </p:cNvPr>
            <p:cNvCxnSpPr>
              <a:cxnSpLocks/>
              <a:stCxn id="29" idx="2"/>
            </p:cNvCxnSpPr>
            <p:nvPr/>
          </p:nvCxnSpPr>
          <p:spPr>
            <a:xfrm flipH="1">
              <a:off x="5679330" y="3721109"/>
              <a:ext cx="1794" cy="1508472"/>
            </a:xfrm>
            <a:prstGeom prst="straightConnector1">
              <a:avLst/>
            </a:prstGeom>
            <a:ln w="25400" cap="rnd">
              <a:headEnd type="none"/>
              <a:tailEnd type="none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03001D15-BC1D-E926-86CB-531FB81C5D0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91222" y="5201268"/>
              <a:ext cx="178932" cy="75068"/>
            </a:xfrm>
            <a:prstGeom prst="ellipse">
              <a:avLst/>
            </a:prstGeom>
            <a:solidFill>
              <a:schemeClr val="accent1">
                <a:alpha val="70000"/>
              </a:schemeClr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>
                <a:solidFill>
                  <a:prstClr val="white"/>
                </a:solidFill>
                <a:latin typeface="Arial" panose="020B0604020202020204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C611A19D-566A-444C-7A5D-35EA6E52FE16}"/>
              </a:ext>
            </a:extLst>
          </p:cNvPr>
          <p:cNvGrpSpPr/>
          <p:nvPr/>
        </p:nvGrpSpPr>
        <p:grpSpPr>
          <a:xfrm>
            <a:off x="6220462" y="1634486"/>
            <a:ext cx="1266729" cy="3997746"/>
            <a:chOff x="6222082" y="1634018"/>
            <a:chExt cx="1267059" cy="3998787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5EBEF100-7BEF-D714-8298-1A43B778F561}"/>
                </a:ext>
              </a:extLst>
            </p:cNvPr>
            <p:cNvSpPr txBox="1"/>
            <p:nvPr/>
          </p:nvSpPr>
          <p:spPr>
            <a:xfrm>
              <a:off x="6222082" y="1634018"/>
              <a:ext cx="1267059" cy="784830"/>
            </a:xfrm>
            <a:prstGeom prst="rect">
              <a:avLst/>
            </a:prstGeom>
            <a:noFill/>
          </p:spPr>
          <p:txBody>
            <a:bodyPr wrap="square" lIns="45708" tIns="91416" rIns="45708" bIns="45708" rtlCol="0">
              <a:spAutoFit/>
            </a:bodyPr>
            <a:lstStyle/>
            <a:p>
              <a:pPr defTabSz="914126">
                <a:defRPr/>
              </a:pPr>
              <a:r>
                <a:rPr lang="en-GB" sz="1799" u="sng">
                  <a:solidFill>
                    <a:srgbClr val="002060"/>
                  </a:solidFill>
                  <a:latin typeface="Arial" panose="020B0604020202020204"/>
                </a:rPr>
                <a:t>2000</a:t>
              </a:r>
            </a:p>
            <a:p>
              <a:pPr defTabSz="914126">
                <a:defRPr/>
              </a:pPr>
              <a:r>
                <a:rPr lang="en-GB" sz="1200" b="1">
                  <a:solidFill>
                    <a:srgbClr val="000000"/>
                  </a:solidFill>
                  <a:latin typeface="Arial" panose="020B0604020202020204"/>
                </a:rPr>
                <a:t>Approval of rhGH for PWS</a:t>
              </a:r>
              <a:r>
                <a:rPr lang="en-GB" sz="1200" b="1" baseline="30000">
                  <a:solidFill>
                    <a:srgbClr val="000000"/>
                  </a:solidFill>
                  <a:latin typeface="Arial" panose="020B0604020202020204"/>
                </a:rPr>
                <a:t>1</a:t>
              </a:r>
              <a:endParaRPr lang="en-GB" sz="1200" b="1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991A9912-FDD9-6445-B6F7-8442E698F37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14145" y="5346293"/>
              <a:ext cx="682933" cy="286512"/>
            </a:xfrm>
            <a:prstGeom prst="ellipse">
              <a:avLst/>
            </a:prstGeom>
            <a:solidFill>
              <a:srgbClr val="FFFFFF">
                <a:alpha val="71000"/>
              </a:srgbClr>
            </a:solidFill>
            <a:ln w="15875">
              <a:solidFill>
                <a:schemeClr val="bg1"/>
              </a:solidFill>
            </a:ln>
            <a:effectLst>
              <a:outerShdw blurRad="50800" dist="25400" dir="7200000" algn="bl" rotWithShape="0">
                <a:prstClr val="black">
                  <a:alpha val="3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>
                <a:solidFill>
                  <a:prstClr val="white"/>
                </a:solidFill>
                <a:latin typeface="Arial" panose="020B0604020202020204"/>
              </a:endParaRPr>
            </a:p>
          </p:txBody>
        </p: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695E177A-B0A6-2343-31A8-29E16800DC9D}"/>
                </a:ext>
              </a:extLst>
            </p:cNvPr>
            <p:cNvCxnSpPr>
              <a:cxnSpLocks/>
              <a:stCxn id="34" idx="2"/>
            </p:cNvCxnSpPr>
            <p:nvPr/>
          </p:nvCxnSpPr>
          <p:spPr>
            <a:xfrm>
              <a:off x="6855612" y="2418848"/>
              <a:ext cx="0" cy="3068749"/>
            </a:xfrm>
            <a:prstGeom prst="straightConnector1">
              <a:avLst/>
            </a:prstGeom>
            <a:ln w="25400" cap="rnd">
              <a:headEnd type="none"/>
              <a:tailEnd type="none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AAB4C4BB-6EAC-FB2B-0879-88DE4DA9567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751314" y="5448366"/>
              <a:ext cx="207724" cy="87146"/>
            </a:xfrm>
            <a:prstGeom prst="ellipse">
              <a:avLst/>
            </a:prstGeom>
            <a:solidFill>
              <a:schemeClr val="accent1">
                <a:alpha val="70000"/>
              </a:schemeClr>
            </a:solidFill>
            <a:ln w="158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>
                <a:solidFill>
                  <a:prstClr val="white"/>
                </a:solidFill>
                <a:latin typeface="Arial" panose="020B0604020202020204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94B3589-33E8-DDF7-ABEA-800F036DF7E2}"/>
              </a:ext>
            </a:extLst>
          </p:cNvPr>
          <p:cNvGrpSpPr/>
          <p:nvPr/>
        </p:nvGrpSpPr>
        <p:grpSpPr>
          <a:xfrm>
            <a:off x="7252367" y="3170214"/>
            <a:ext cx="1169637" cy="2590769"/>
            <a:chOff x="7254256" y="3170147"/>
            <a:chExt cx="1169942" cy="2591444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A5B295A3-2C56-D1E4-D4C8-55EF1DC16AA3}"/>
                </a:ext>
              </a:extLst>
            </p:cNvPr>
            <p:cNvSpPr txBox="1"/>
            <p:nvPr/>
          </p:nvSpPr>
          <p:spPr>
            <a:xfrm>
              <a:off x="7254256" y="3170147"/>
              <a:ext cx="1169942" cy="784830"/>
            </a:xfrm>
            <a:prstGeom prst="rect">
              <a:avLst/>
            </a:prstGeom>
            <a:noFill/>
          </p:spPr>
          <p:txBody>
            <a:bodyPr wrap="square" lIns="45708" tIns="91416" rIns="45708" bIns="45708" rtlCol="0">
              <a:spAutoFit/>
            </a:bodyPr>
            <a:lstStyle/>
            <a:p>
              <a:pPr defTabSz="914126">
                <a:defRPr/>
              </a:pPr>
              <a:r>
                <a:rPr lang="en-GB" sz="1799" u="sng">
                  <a:solidFill>
                    <a:srgbClr val="002060"/>
                  </a:solidFill>
                  <a:latin typeface="Arial" panose="020B0604020202020204"/>
                </a:rPr>
                <a:t>2001</a:t>
              </a:r>
            </a:p>
            <a:p>
              <a:pPr defTabSz="914126">
                <a:defRPr/>
              </a:pPr>
              <a:r>
                <a:rPr lang="en-GB" sz="1200" b="1">
                  <a:solidFill>
                    <a:srgbClr val="000000"/>
                  </a:solidFill>
                  <a:latin typeface="Arial" panose="020B0604020202020204"/>
                </a:rPr>
                <a:t>Approval of rhGH for SGA</a:t>
              </a:r>
              <a:r>
                <a:rPr lang="en-GB" sz="1200" b="1" baseline="30000">
                  <a:solidFill>
                    <a:srgbClr val="000000"/>
                  </a:solidFill>
                  <a:latin typeface="Arial" panose="020B0604020202020204"/>
                </a:rPr>
                <a:t>1</a:t>
              </a:r>
              <a:endParaRPr lang="en-GB" sz="1200" b="1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B584B364-CB27-FE9D-5520-E1A5562C650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479903" y="5460095"/>
              <a:ext cx="718649" cy="301496"/>
            </a:xfrm>
            <a:prstGeom prst="ellipse">
              <a:avLst/>
            </a:prstGeom>
            <a:solidFill>
              <a:srgbClr val="FFFFFF">
                <a:alpha val="71000"/>
              </a:srgbClr>
            </a:solidFill>
            <a:ln w="15875">
              <a:solidFill>
                <a:schemeClr val="bg1"/>
              </a:solidFill>
            </a:ln>
            <a:effectLst>
              <a:outerShdw blurRad="50800" dist="25400" dir="7200000" algn="bl" rotWithShape="0">
                <a:prstClr val="black">
                  <a:alpha val="3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>
                <a:solidFill>
                  <a:prstClr val="white"/>
                </a:solidFill>
                <a:latin typeface="Arial" panose="020B0604020202020204"/>
              </a:endParaRPr>
            </a:p>
          </p:txBody>
        </p:sp>
        <p:cxnSp>
          <p:nvCxnSpPr>
            <p:cNvPr id="41" name="Straight Arrow Connector 40">
              <a:extLst>
                <a:ext uri="{FF2B5EF4-FFF2-40B4-BE49-F238E27FC236}">
                  <a16:creationId xmlns:a16="http://schemas.microsoft.com/office/drawing/2014/main" id="{2208EEA3-2FDC-2EB8-9ECA-BFEAB1415B42}"/>
                </a:ext>
              </a:extLst>
            </p:cNvPr>
            <p:cNvCxnSpPr>
              <a:cxnSpLocks/>
              <a:stCxn id="39" idx="2"/>
            </p:cNvCxnSpPr>
            <p:nvPr/>
          </p:nvCxnSpPr>
          <p:spPr>
            <a:xfrm>
              <a:off x="7839227" y="3954977"/>
              <a:ext cx="1" cy="1653461"/>
            </a:xfrm>
            <a:prstGeom prst="straightConnector1">
              <a:avLst/>
            </a:prstGeom>
            <a:ln w="25400" cap="rnd">
              <a:headEnd type="none"/>
              <a:tailEnd type="none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3D46D5C4-7389-F7C4-DB24-4B6B9691914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729497" y="5567381"/>
              <a:ext cx="218590" cy="91704"/>
            </a:xfrm>
            <a:prstGeom prst="ellipse">
              <a:avLst/>
            </a:prstGeom>
            <a:solidFill>
              <a:schemeClr val="accent1">
                <a:alpha val="70000"/>
              </a:schemeClr>
            </a:solidFill>
            <a:ln w="158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>
                <a:solidFill>
                  <a:prstClr val="white"/>
                </a:solidFill>
                <a:latin typeface="Arial" panose="020B0604020202020204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A67C1230-DDE5-B76F-A497-3D553F4C24F4}"/>
              </a:ext>
            </a:extLst>
          </p:cNvPr>
          <p:cNvGrpSpPr/>
          <p:nvPr/>
        </p:nvGrpSpPr>
        <p:grpSpPr>
          <a:xfrm>
            <a:off x="8403131" y="2003664"/>
            <a:ext cx="1123061" cy="3806989"/>
            <a:chOff x="8405320" y="2003292"/>
            <a:chExt cx="1123354" cy="3807981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23251D3F-D9E2-EA56-DA15-8EDB3E88102B}"/>
                </a:ext>
              </a:extLst>
            </p:cNvPr>
            <p:cNvSpPr txBox="1"/>
            <p:nvPr/>
          </p:nvSpPr>
          <p:spPr>
            <a:xfrm>
              <a:off x="8405320" y="2003292"/>
              <a:ext cx="1123354" cy="784830"/>
            </a:xfrm>
            <a:prstGeom prst="rect">
              <a:avLst/>
            </a:prstGeom>
            <a:noFill/>
          </p:spPr>
          <p:txBody>
            <a:bodyPr wrap="square" lIns="45708" tIns="91416" rIns="45708" bIns="45708" rtlCol="0">
              <a:spAutoFit/>
            </a:bodyPr>
            <a:lstStyle/>
            <a:p>
              <a:pPr defTabSz="914126">
                <a:defRPr/>
              </a:pPr>
              <a:r>
                <a:rPr lang="en-GB" sz="1799" u="sng">
                  <a:solidFill>
                    <a:srgbClr val="002060"/>
                  </a:solidFill>
                  <a:latin typeface="Arial" panose="020B0604020202020204"/>
                </a:rPr>
                <a:t>2003</a:t>
              </a:r>
            </a:p>
            <a:p>
              <a:pPr defTabSz="914126">
                <a:defRPr/>
              </a:pPr>
              <a:r>
                <a:rPr lang="en-GB" sz="1200" b="1">
                  <a:solidFill>
                    <a:srgbClr val="000000"/>
                  </a:solidFill>
                  <a:latin typeface="Arial" panose="020B0604020202020204"/>
                </a:rPr>
                <a:t>Approval of rhGH for ISS</a:t>
              </a:r>
              <a:r>
                <a:rPr lang="en-GB" sz="1200" b="1" baseline="30000">
                  <a:solidFill>
                    <a:srgbClr val="000000"/>
                  </a:solidFill>
                  <a:latin typeface="Arial" panose="020B0604020202020204"/>
                </a:rPr>
                <a:t>1</a:t>
              </a:r>
              <a:endParaRPr lang="en-GB" sz="1200" b="1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B3CB2551-AF74-E7E4-861D-21293FB1329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82778" y="5488889"/>
              <a:ext cx="768439" cy="322384"/>
            </a:xfrm>
            <a:prstGeom prst="ellipse">
              <a:avLst/>
            </a:prstGeom>
            <a:solidFill>
              <a:srgbClr val="FFFFFF">
                <a:alpha val="71000"/>
              </a:srgbClr>
            </a:solidFill>
            <a:ln w="15875">
              <a:solidFill>
                <a:schemeClr val="bg1"/>
              </a:solidFill>
            </a:ln>
            <a:effectLst>
              <a:outerShdw blurRad="50800" dist="25400" dir="7200000" algn="bl" rotWithShape="0">
                <a:prstClr val="black">
                  <a:alpha val="3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>
                <a:solidFill>
                  <a:prstClr val="white"/>
                </a:solidFill>
                <a:latin typeface="Arial" panose="020B0604020202020204"/>
              </a:endParaRPr>
            </a:p>
          </p:txBody>
        </p:sp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id="{2CC2808A-0CBF-2A9B-468C-C383603DF868}"/>
                </a:ext>
              </a:extLst>
            </p:cNvPr>
            <p:cNvCxnSpPr>
              <a:cxnSpLocks/>
              <a:stCxn id="44" idx="2"/>
            </p:cNvCxnSpPr>
            <p:nvPr/>
          </p:nvCxnSpPr>
          <p:spPr>
            <a:xfrm flipH="1">
              <a:off x="8964285" y="2788122"/>
              <a:ext cx="2712" cy="2861959"/>
            </a:xfrm>
            <a:prstGeom prst="straightConnector1">
              <a:avLst/>
            </a:prstGeom>
            <a:ln w="25400" cap="rnd">
              <a:headEnd type="none"/>
              <a:tailEnd type="none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C7F1F90A-FB01-93A3-5BDB-A2D7B860362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849695" y="5603442"/>
              <a:ext cx="233734" cy="98058"/>
            </a:xfrm>
            <a:prstGeom prst="ellipse">
              <a:avLst/>
            </a:prstGeom>
            <a:solidFill>
              <a:schemeClr val="accent1">
                <a:alpha val="70000"/>
              </a:schemeClr>
            </a:solidFill>
            <a:ln w="158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>
                <a:solidFill>
                  <a:prstClr val="white"/>
                </a:solidFill>
                <a:latin typeface="Arial" panose="020B0604020202020204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25821284-EE5A-FAA0-5002-28EFB12B50B6}"/>
              </a:ext>
            </a:extLst>
          </p:cNvPr>
          <p:cNvGrpSpPr/>
          <p:nvPr/>
        </p:nvGrpSpPr>
        <p:grpSpPr>
          <a:xfrm>
            <a:off x="9539122" y="2940000"/>
            <a:ext cx="1040397" cy="2758528"/>
            <a:chOff x="9541607" y="2939872"/>
            <a:chExt cx="1040668" cy="2759247"/>
          </a:xfrm>
        </p:grpSpPr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A5C0E1EA-50B6-A3B6-9451-0AAE07B8564E}"/>
                </a:ext>
              </a:extLst>
            </p:cNvPr>
            <p:cNvSpPr txBox="1"/>
            <p:nvPr/>
          </p:nvSpPr>
          <p:spPr>
            <a:xfrm>
              <a:off x="9541607" y="2939872"/>
              <a:ext cx="1040668" cy="1154162"/>
            </a:xfrm>
            <a:prstGeom prst="rect">
              <a:avLst/>
            </a:prstGeom>
            <a:noFill/>
          </p:spPr>
          <p:txBody>
            <a:bodyPr wrap="square" lIns="45708" tIns="91416" rIns="45708" bIns="45708" rtlCol="0">
              <a:spAutoFit/>
            </a:bodyPr>
            <a:lstStyle/>
            <a:p>
              <a:pPr defTabSz="914126">
                <a:defRPr/>
              </a:pPr>
              <a:r>
                <a:rPr lang="en-GB" sz="1799" u="sng">
                  <a:solidFill>
                    <a:srgbClr val="002060"/>
                  </a:solidFill>
                  <a:latin typeface="Arial" panose="020B0604020202020204"/>
                </a:rPr>
                <a:t>2006</a:t>
              </a:r>
            </a:p>
            <a:p>
              <a:pPr defTabSz="914126">
                <a:defRPr/>
              </a:pPr>
              <a:r>
                <a:rPr lang="en-GB" sz="1200" b="1">
                  <a:solidFill>
                    <a:srgbClr val="000000"/>
                  </a:solidFill>
                  <a:latin typeface="Arial" panose="020B0604020202020204"/>
                </a:rPr>
                <a:t>Approval of rhGH for SHOX deficiency</a:t>
              </a:r>
              <a:r>
                <a:rPr lang="en-GB" sz="1200" b="1" baseline="30000">
                  <a:solidFill>
                    <a:srgbClr val="000000"/>
                  </a:solidFill>
                  <a:latin typeface="Arial" panose="020B0604020202020204"/>
                </a:rPr>
                <a:t>1</a:t>
              </a:r>
              <a:endParaRPr lang="en-GB" sz="1200" b="1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13BB40CE-7350-6B6C-F652-7247F27F5A3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88064" y="5385411"/>
              <a:ext cx="747755" cy="313708"/>
            </a:xfrm>
            <a:prstGeom prst="ellipse">
              <a:avLst/>
            </a:prstGeom>
            <a:solidFill>
              <a:srgbClr val="FFFFFF">
                <a:alpha val="71000"/>
              </a:srgbClr>
            </a:solidFill>
            <a:ln w="15875">
              <a:solidFill>
                <a:schemeClr val="bg1"/>
              </a:solidFill>
            </a:ln>
            <a:effectLst>
              <a:outerShdw blurRad="50800" dist="25400" dir="7200000" algn="bl" rotWithShape="0">
                <a:prstClr val="black">
                  <a:alpha val="3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>
                <a:solidFill>
                  <a:prstClr val="white"/>
                </a:solidFill>
                <a:latin typeface="Arial" panose="020B0604020202020204"/>
              </a:endParaRPr>
            </a:p>
          </p:txBody>
        </p:sp>
        <p:cxnSp>
          <p:nvCxnSpPr>
            <p:cNvPr id="51" name="Straight Arrow Connector 50">
              <a:extLst>
                <a:ext uri="{FF2B5EF4-FFF2-40B4-BE49-F238E27FC236}">
                  <a16:creationId xmlns:a16="http://schemas.microsoft.com/office/drawing/2014/main" id="{13F18A7E-12A7-79E5-BF3A-DFFBF6C4A906}"/>
                </a:ext>
              </a:extLst>
            </p:cNvPr>
            <p:cNvCxnSpPr>
              <a:cxnSpLocks/>
              <a:stCxn id="49" idx="2"/>
            </p:cNvCxnSpPr>
            <p:nvPr/>
          </p:nvCxnSpPr>
          <p:spPr>
            <a:xfrm>
              <a:off x="10061941" y="4094034"/>
              <a:ext cx="1" cy="1435533"/>
            </a:xfrm>
            <a:prstGeom prst="straightConnector1">
              <a:avLst/>
            </a:prstGeom>
            <a:ln w="25400" cap="rnd">
              <a:headEnd type="none"/>
              <a:tailEnd type="none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A9EB1985-4DFE-8854-8EA2-5D090AFA7A2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947784" y="5496945"/>
              <a:ext cx="227444" cy="95420"/>
            </a:xfrm>
            <a:prstGeom prst="ellipse">
              <a:avLst/>
            </a:prstGeom>
            <a:solidFill>
              <a:schemeClr val="accent1">
                <a:alpha val="70000"/>
              </a:schemeClr>
            </a:solidFill>
            <a:ln w="158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>
                <a:solidFill>
                  <a:prstClr val="white"/>
                </a:solidFill>
                <a:latin typeface="Arial" panose="020B0604020202020204"/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E2A8914-EA81-EA53-F047-50CFAA6EBC06}"/>
              </a:ext>
            </a:extLst>
          </p:cNvPr>
          <p:cNvGrpSpPr/>
          <p:nvPr/>
        </p:nvGrpSpPr>
        <p:grpSpPr>
          <a:xfrm>
            <a:off x="10462586" y="1309896"/>
            <a:ext cx="1078707" cy="4212636"/>
            <a:chOff x="10465312" y="1309344"/>
            <a:chExt cx="1078988" cy="4213733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C6F2432D-B01C-CA54-A08F-D39B017E6328}"/>
                </a:ext>
              </a:extLst>
            </p:cNvPr>
            <p:cNvSpPr txBox="1"/>
            <p:nvPr/>
          </p:nvSpPr>
          <p:spPr>
            <a:xfrm>
              <a:off x="10465312" y="1309344"/>
              <a:ext cx="1078988" cy="1154162"/>
            </a:xfrm>
            <a:prstGeom prst="rect">
              <a:avLst/>
            </a:prstGeom>
            <a:noFill/>
          </p:spPr>
          <p:txBody>
            <a:bodyPr wrap="square" lIns="45708" tIns="91416" rIns="45708" bIns="45708" rtlCol="0">
              <a:spAutoFit/>
            </a:bodyPr>
            <a:lstStyle/>
            <a:p>
              <a:pPr defTabSz="914126">
                <a:defRPr/>
              </a:pPr>
              <a:r>
                <a:rPr lang="en-GB" sz="1799" u="sng">
                  <a:solidFill>
                    <a:srgbClr val="002060"/>
                  </a:solidFill>
                  <a:latin typeface="Arial" panose="020B0604020202020204"/>
                </a:rPr>
                <a:t>2007</a:t>
              </a:r>
            </a:p>
            <a:p>
              <a:pPr defTabSz="914126">
                <a:defRPr/>
              </a:pPr>
              <a:r>
                <a:rPr lang="en-GB" sz="1200" b="1">
                  <a:solidFill>
                    <a:srgbClr val="000000"/>
                  </a:solidFill>
                  <a:latin typeface="Arial" panose="020B0604020202020204"/>
                </a:rPr>
                <a:t>Approval of rhGH for Noonan syndrome</a:t>
              </a:r>
              <a:r>
                <a:rPr lang="en-GB" sz="1200" b="1" baseline="30000">
                  <a:solidFill>
                    <a:srgbClr val="000000"/>
                  </a:solidFill>
                  <a:latin typeface="Arial" panose="020B0604020202020204"/>
                </a:rPr>
                <a:t>1</a:t>
              </a:r>
              <a:endParaRPr lang="en-GB" sz="1200" b="1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9A07237D-CDE3-37AB-1DB2-E56CFD7A298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611094" y="5192728"/>
              <a:ext cx="787424" cy="330349"/>
            </a:xfrm>
            <a:prstGeom prst="ellipse">
              <a:avLst/>
            </a:prstGeom>
            <a:solidFill>
              <a:srgbClr val="FFFFFF">
                <a:alpha val="71000"/>
              </a:srgbClr>
            </a:solidFill>
            <a:ln w="15875">
              <a:solidFill>
                <a:schemeClr val="bg1"/>
              </a:solidFill>
            </a:ln>
            <a:effectLst>
              <a:outerShdw blurRad="50800" dist="25400" dir="7200000" algn="bl" rotWithShape="0">
                <a:prstClr val="black">
                  <a:alpha val="3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>
                <a:solidFill>
                  <a:prstClr val="white"/>
                </a:solidFill>
                <a:latin typeface="Arial" panose="020B0604020202020204"/>
              </a:endParaRPr>
            </a:p>
          </p:txBody>
        </p:sp>
        <p:cxnSp>
          <p:nvCxnSpPr>
            <p:cNvPr id="56" name="Straight Arrow Connector 55">
              <a:extLst>
                <a:ext uri="{FF2B5EF4-FFF2-40B4-BE49-F238E27FC236}">
                  <a16:creationId xmlns:a16="http://schemas.microsoft.com/office/drawing/2014/main" id="{352626F1-A06C-CD06-D236-B7E6CA32B6CE}"/>
                </a:ext>
              </a:extLst>
            </p:cNvPr>
            <p:cNvCxnSpPr>
              <a:cxnSpLocks/>
              <a:stCxn id="54" idx="2"/>
            </p:cNvCxnSpPr>
            <p:nvPr/>
          </p:nvCxnSpPr>
          <p:spPr>
            <a:xfrm>
              <a:off x="11004806" y="2463506"/>
              <a:ext cx="0" cy="2894396"/>
            </a:xfrm>
            <a:prstGeom prst="straightConnector1">
              <a:avLst/>
            </a:prstGeom>
            <a:ln w="25400" cap="rnd">
              <a:headEnd type="none"/>
              <a:tailEnd type="none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03F1A5C9-C016-6B7D-1E09-4DA216B8F81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84614" y="5310052"/>
              <a:ext cx="239512" cy="100482"/>
            </a:xfrm>
            <a:prstGeom prst="ellipse">
              <a:avLst/>
            </a:prstGeom>
            <a:solidFill>
              <a:schemeClr val="accent1">
                <a:alpha val="70000"/>
              </a:schemeClr>
            </a:solidFill>
            <a:ln w="158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>
                <a:solidFill>
                  <a:prstClr val="white"/>
                </a:solidFill>
                <a:latin typeface="Arial" panose="020B0604020202020204"/>
              </a:endParaRPr>
            </a:p>
          </p:txBody>
        </p:sp>
      </p:grp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C6C20EBD-EFD6-B415-1375-7BB5865CF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69432" y="6127540"/>
            <a:ext cx="8189820" cy="558332"/>
          </a:xfrm>
        </p:spPr>
        <p:txBody>
          <a:bodyPr/>
          <a:lstStyle/>
          <a:p>
            <a:r>
              <a:rPr lang="en-US" sz="800"/>
              <a:t>AGHD=adult growth hormone deficiency; CRI=chronic renal insufficiency; ISS=idiopathic short stature; PGHD=pediatric growth hormone deficiency; rhGH=recombinant human growth hormone; SGA=small for gestational age; SHOX=short stature homeobox-containing gene; TS=Turner syndrome.</a:t>
            </a:r>
          </a:p>
          <a:p>
            <a:r>
              <a:rPr lang="en-US" sz="800"/>
              <a:t>1. Ayyar VS. </a:t>
            </a:r>
            <a:r>
              <a:rPr lang="en-US" sz="800" i="1"/>
              <a:t>Indian J Endocrinol Metab</a:t>
            </a:r>
            <a:r>
              <a:rPr lang="en-US" sz="800"/>
              <a:t>. 2011;15(suppl3):S162-S165.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8246344-880E-3295-011E-336D1033FFA1}"/>
              </a:ext>
            </a:extLst>
          </p:cNvPr>
          <p:cNvSpPr txBox="1"/>
          <p:nvPr/>
        </p:nvSpPr>
        <p:spPr>
          <a:xfrm>
            <a:off x="10233342" y="6028553"/>
            <a:ext cx="1865971" cy="2461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>
              <a:defRPr/>
            </a:pPr>
            <a:r>
              <a:rPr lang="pl-PL" sz="1000" b="0" i="0" dirty="0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Adaptacja według </a:t>
            </a:r>
            <a:r>
              <a:rPr lang="pl-PL" sz="1000" b="0" i="0" dirty="0" err="1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Ayyar</a:t>
            </a:r>
            <a:r>
              <a:rPr lang="pl-PL" sz="1000" b="0" i="0" dirty="0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 et al.</a:t>
            </a:r>
            <a:endParaRPr lang="en-US" sz="1000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5" name="Tytuł 1">
            <a:extLst>
              <a:ext uri="{FF2B5EF4-FFF2-40B4-BE49-F238E27FC236}">
                <a16:creationId xmlns:a16="http://schemas.microsoft.com/office/drawing/2014/main" id="{9CFDAB01-60A7-4FC9-4D82-52B710DC5575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47992" y="187665"/>
            <a:ext cx="11292840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126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699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l-PL" sz="4800" b="1" err="1">
                <a:solidFill>
                  <a:srgbClr val="0000CA"/>
                </a:solidFill>
                <a:latin typeface="Pfizer Tomorrow"/>
              </a:rPr>
              <a:t>rhGH</a:t>
            </a:r>
            <a:r>
              <a:rPr lang="pl-PL" sz="4800" b="1">
                <a:solidFill>
                  <a:srgbClr val="0000CA"/>
                </a:solidFill>
                <a:latin typeface="Pfizer Tomorrow"/>
              </a:rPr>
              <a:t>: 30 lat doświadczenia klinicznego</a:t>
            </a:r>
            <a:endParaRPr lang="pl-PL"/>
          </a:p>
        </p:txBody>
      </p:sp>
      <p:pic>
        <p:nvPicPr>
          <p:cNvPr id="59" name="Obraz 58">
            <a:extLst>
              <a:ext uri="{FF2B5EF4-FFF2-40B4-BE49-F238E27FC236}">
                <a16:creationId xmlns:a16="http://schemas.microsoft.com/office/drawing/2014/main" id="{99E477CF-2807-2E26-368A-D1C2B18BCD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848" y="6140423"/>
            <a:ext cx="3600953" cy="600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9128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35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3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7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3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2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3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7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3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2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3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7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3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2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3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7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3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2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3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FA1951CB-D5D5-D102-0A90-DBCEACCE2692}"/>
              </a:ext>
            </a:extLst>
          </p:cNvPr>
          <p:cNvSpPr txBox="1">
            <a:spLocks/>
          </p:cNvSpPr>
          <p:nvPr/>
        </p:nvSpPr>
        <p:spPr>
          <a:xfrm>
            <a:off x="3701943" y="5765447"/>
            <a:ext cx="8486882" cy="109255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126">
              <a:defRPr/>
            </a:pPr>
            <a:r>
              <a:rPr lang="en-US" sz="1100">
                <a:solidFill>
                  <a:srgbClr val="4D4D4F"/>
                </a:solidFill>
                <a:latin typeface="Arial" panose="020B0604020202020204"/>
              </a:rPr>
              <a:t>rhGH: recombinant human growth hormone</a:t>
            </a:r>
            <a:endParaRPr lang="el-GR" sz="1100">
              <a:solidFill>
                <a:srgbClr val="4D4D4F"/>
              </a:solidFill>
              <a:latin typeface="Arial" panose="020B0604020202020204"/>
            </a:endParaRPr>
          </a:p>
          <a:p>
            <a:pPr defTabSz="914126">
              <a:defRPr/>
            </a:pPr>
            <a:r>
              <a:rPr lang="it-IT" sz="1100">
                <a:solidFill>
                  <a:srgbClr val="4D4D4F"/>
                </a:solidFill>
                <a:latin typeface="Arial" panose="020B0604020202020204"/>
              </a:rPr>
              <a:t>ANSWER, </a:t>
            </a:r>
            <a:r>
              <a:rPr lang="en-US" sz="1100">
                <a:solidFill>
                  <a:srgbClr val="4D4D4F"/>
                </a:solidFill>
                <a:latin typeface="Arial" panose="020B0604020202020204"/>
              </a:rPr>
              <a:t>American </a:t>
            </a:r>
            <a:r>
              <a:rPr lang="en-US" sz="1100" err="1">
                <a:solidFill>
                  <a:srgbClr val="4D4D4F"/>
                </a:solidFill>
                <a:latin typeface="Arial" panose="020B0604020202020204"/>
              </a:rPr>
              <a:t>Norditropin</a:t>
            </a:r>
            <a:r>
              <a:rPr lang="en-US" sz="1100" baseline="30000">
                <a:solidFill>
                  <a:srgbClr val="4D4D4F"/>
                </a:solidFill>
                <a:latin typeface="Arial" panose="020B0604020202020204"/>
              </a:rPr>
              <a:t>®</a:t>
            </a:r>
            <a:r>
              <a:rPr lang="en-US" sz="1100">
                <a:solidFill>
                  <a:srgbClr val="4D4D4F"/>
                </a:solidFill>
                <a:latin typeface="Arial" panose="020B0604020202020204"/>
              </a:rPr>
              <a:t> Studies: Web Enabled Research Program Registry; </a:t>
            </a:r>
            <a:r>
              <a:rPr lang="it-IT" sz="1100">
                <a:solidFill>
                  <a:srgbClr val="4D4D4F"/>
                </a:solidFill>
                <a:latin typeface="Arial" panose="020B0604020202020204"/>
              </a:rPr>
              <a:t>ECOS, Easypod</a:t>
            </a:r>
            <a:r>
              <a:rPr lang="it-IT" sz="1100" baseline="30000">
                <a:solidFill>
                  <a:srgbClr val="4D4D4F"/>
                </a:solidFill>
                <a:latin typeface="Arial" panose="020B0604020202020204"/>
              </a:rPr>
              <a:t>™</a:t>
            </a:r>
            <a:r>
              <a:rPr lang="it-IT" sz="1100">
                <a:solidFill>
                  <a:srgbClr val="4D4D4F"/>
                </a:solidFill>
                <a:latin typeface="Arial" panose="020B0604020202020204"/>
              </a:rPr>
              <a:t> Connect Observational Study; GeNeSIS, </a:t>
            </a:r>
            <a:r>
              <a:rPr lang="en-US" sz="1100">
                <a:solidFill>
                  <a:srgbClr val="4D5156"/>
                </a:solidFill>
                <a:highlight>
                  <a:srgbClr val="FFFFFF"/>
                </a:highlight>
                <a:latin typeface="Arial" panose="020B0604020202020204" pitchFamily="34" charset="0"/>
              </a:rPr>
              <a:t>Genetics and Neuroendocrinology of </a:t>
            </a:r>
            <a:r>
              <a:rPr lang="en-US" sz="1100">
                <a:solidFill>
                  <a:srgbClr val="5F6368"/>
                </a:solidFill>
                <a:highlight>
                  <a:srgbClr val="FFFFFF"/>
                </a:highlight>
                <a:latin typeface="Arial" panose="020B0604020202020204" pitchFamily="34" charset="0"/>
              </a:rPr>
              <a:t>Short Stature</a:t>
            </a:r>
            <a:r>
              <a:rPr lang="en-US" sz="1100">
                <a:solidFill>
                  <a:srgbClr val="4D5156"/>
                </a:solidFill>
                <a:highlight>
                  <a:srgbClr val="FFFFFF"/>
                </a:highlight>
                <a:latin typeface="Arial" panose="020B0604020202020204" pitchFamily="34" charset="0"/>
              </a:rPr>
              <a:t> International </a:t>
            </a:r>
            <a:r>
              <a:rPr lang="en-US" sz="1100">
                <a:solidFill>
                  <a:srgbClr val="5F6368"/>
                </a:solidFill>
                <a:highlight>
                  <a:srgbClr val="FFFFFF"/>
                </a:highlight>
                <a:latin typeface="Arial" panose="020B0604020202020204" pitchFamily="34" charset="0"/>
              </a:rPr>
              <a:t>Study; </a:t>
            </a:r>
            <a:r>
              <a:rPr lang="it-IT" sz="1100">
                <a:solidFill>
                  <a:srgbClr val="4D4D4F"/>
                </a:solidFill>
                <a:latin typeface="Arial" panose="020B0604020202020204"/>
              </a:rPr>
              <a:t>GH, growth hormone; IOS, International Observational Study; KIGS, Kabi International Growth Study; NCGS, National Cooperative Growth Study; PATRO, Patients Treated with Omnitrope</a:t>
            </a:r>
            <a:r>
              <a:rPr lang="it-IT" sz="1100" baseline="30000">
                <a:solidFill>
                  <a:srgbClr val="4D4D4F"/>
                </a:solidFill>
                <a:latin typeface="Arial" panose="020B0604020202020204"/>
              </a:rPr>
              <a:t>®</a:t>
            </a:r>
            <a:r>
              <a:rPr lang="it-IT" sz="1100">
                <a:solidFill>
                  <a:srgbClr val="4D4D4F"/>
                </a:solidFill>
                <a:latin typeface="Arial" panose="020B0604020202020204"/>
              </a:rPr>
              <a:t>; SAGhE, </a:t>
            </a:r>
            <a:r>
              <a:rPr lang="en-US" sz="1100">
                <a:solidFill>
                  <a:srgbClr val="4D4D4F"/>
                </a:solidFill>
                <a:latin typeface="Arial" panose="020B0604020202020204"/>
              </a:rPr>
              <a:t>Safety and Appropriateness of Growth Hormone Treatments in Europe.</a:t>
            </a:r>
            <a:r>
              <a:rPr lang="el-GR" sz="1100">
                <a:solidFill>
                  <a:srgbClr val="4D4D4F"/>
                </a:solidFill>
                <a:latin typeface="Arial" panose="020B0604020202020204"/>
              </a:rPr>
              <a:t> </a:t>
            </a:r>
            <a:br>
              <a:rPr lang="it-IT" sz="1100">
                <a:solidFill>
                  <a:srgbClr val="4D4D4F"/>
                </a:solidFill>
                <a:latin typeface="Arial" panose="020B0604020202020204"/>
              </a:rPr>
            </a:br>
            <a:r>
              <a:rPr lang="it-IT" sz="1100">
                <a:solidFill>
                  <a:srgbClr val="4D4D4F"/>
                </a:solidFill>
                <a:latin typeface="Arial" panose="020B0604020202020204"/>
              </a:rPr>
              <a:t>Eslami J. </a:t>
            </a:r>
            <a:r>
              <a:rPr lang="it-IT" sz="1100" i="1">
                <a:solidFill>
                  <a:srgbClr val="4D4D4F"/>
                </a:solidFill>
                <a:latin typeface="Arial" panose="020B0604020202020204"/>
              </a:rPr>
              <a:t>J Pediatr Endocrinol Metab</a:t>
            </a:r>
            <a:r>
              <a:rPr lang="it-IT" sz="1100">
                <a:solidFill>
                  <a:srgbClr val="4D4D4F"/>
                </a:solidFill>
                <a:latin typeface="Arial" panose="020B0604020202020204"/>
              </a:rPr>
              <a:t> 2022;35(6):709–26</a:t>
            </a:r>
            <a:r>
              <a:rPr lang="en-US" sz="1100">
                <a:solidFill>
                  <a:srgbClr val="4D4D4F"/>
                </a:solidFill>
                <a:latin typeface="Arial" panose="020B0604020202020204"/>
              </a:rPr>
              <a:t>.</a:t>
            </a:r>
            <a:endParaRPr lang="it-IT" sz="1100">
              <a:solidFill>
                <a:srgbClr val="4D4D4F"/>
              </a:solidFill>
              <a:latin typeface="Arial" panose="020B0604020202020204"/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172E256B-A4F0-7FC1-EAC2-85EA2C19556C}"/>
              </a:ext>
            </a:extLst>
          </p:cNvPr>
          <p:cNvGraphicFramePr/>
          <p:nvPr/>
        </p:nvGraphicFramePr>
        <p:xfrm>
          <a:off x="380900" y="1590052"/>
          <a:ext cx="11659027" cy="39552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00978DB9-DD97-8EB7-C0B1-9744DF710F3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47107" y="5245863"/>
            <a:ext cx="907105" cy="268369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21C636A7-6B38-3445-A79D-2796B7376C76}"/>
              </a:ext>
            </a:extLst>
          </p:cNvPr>
          <p:cNvSpPr txBox="1">
            <a:spLocks/>
          </p:cNvSpPr>
          <p:nvPr/>
        </p:nvSpPr>
        <p:spPr>
          <a:xfrm>
            <a:off x="609441" y="1369955"/>
            <a:ext cx="11198483" cy="4227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bIns="45708" rtlCol="0" anchor="ctr" anchorCtr="0">
            <a:no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1600" b="1">
                <a:solidFill>
                  <a:schemeClr val="bg1"/>
                </a:solidFill>
              </a:defRPr>
            </a:lvl1pPr>
            <a:lvl2pPr marL="741363" indent="-284163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2000"/>
            </a:lvl3pPr>
            <a:lvl4pPr marL="1600200" indent="-228600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Font typeface="Courier New" panose="02070309020205020404" pitchFamily="49" charset="0"/>
              <a:buChar char="o"/>
            </a:lvl4pPr>
            <a:lvl5pPr marL="2057400" indent="-228600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–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914126">
              <a:defRPr/>
            </a:pPr>
            <a:r>
              <a:rPr lang="pl-PL" sz="2399" kern="0">
                <a:solidFill>
                  <a:srgbClr val="000000"/>
                </a:solidFill>
                <a:latin typeface="Arial" panose="020B0604020202020204"/>
              </a:rPr>
              <a:t>Rejestry </a:t>
            </a:r>
            <a:r>
              <a:rPr lang="pl-PL" sz="2800" kern="0">
                <a:solidFill>
                  <a:srgbClr val="242424"/>
                </a:solidFill>
                <a:latin typeface="Segoe UI" panose="020B0502040204020203" pitchFamily="34" charset="0"/>
              </a:rPr>
              <a:t>GH</a:t>
            </a:r>
            <a:endParaRPr lang="en-GB" sz="2399" kern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3" name="Tytuł 2">
            <a:extLst>
              <a:ext uri="{FF2B5EF4-FFF2-40B4-BE49-F238E27FC236}">
                <a16:creationId xmlns:a16="http://schemas.microsoft.com/office/drawing/2014/main" id="{0A82D118-E9E9-FC6C-8E4E-B7FDBF5B9BA0}"/>
              </a:ext>
            </a:extLst>
          </p:cNvPr>
          <p:cNvSpPr txBox="1">
            <a:spLocks/>
          </p:cNvSpPr>
          <p:nvPr/>
        </p:nvSpPr>
        <p:spPr bwMode="gray">
          <a:xfrm>
            <a:off x="-15974" y="243669"/>
            <a:ext cx="11823898" cy="1016237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126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699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l-PL" sz="3600" b="1" spc="-25">
                <a:solidFill>
                  <a:srgbClr val="0000CA"/>
                </a:solidFill>
                <a:latin typeface="Pfizer Tomorrow"/>
              </a:rPr>
              <a:t>Codzienne podawanie </a:t>
            </a:r>
            <a:r>
              <a:rPr lang="pl-PL" sz="3600" b="1" spc="-25" err="1">
                <a:solidFill>
                  <a:srgbClr val="0000CA"/>
                </a:solidFill>
                <a:latin typeface="Pfizer Tomorrow"/>
              </a:rPr>
              <a:t>rhGH</a:t>
            </a:r>
            <a:r>
              <a:rPr lang="pl-PL" sz="3600" b="1" spc="-25">
                <a:solidFill>
                  <a:srgbClr val="0000CA"/>
                </a:solidFill>
                <a:latin typeface="Pfizer Tomorrow"/>
              </a:rPr>
              <a:t> wykazało dobre profile bezpieczeństwa i skuteczności. </a:t>
            </a:r>
            <a:endParaRPr lang="pl-PL" sz="3600" b="1" spc="-25">
              <a:solidFill>
                <a:srgbClr val="0000CA"/>
              </a:solidFill>
              <a:latin typeface="Pfizer Tomorrow"/>
              <a:cs typeface="Arial"/>
            </a:endParaRPr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B571CECF-1D20-A8FB-39EC-5C7C0CF149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990" y="6014172"/>
            <a:ext cx="3600953" cy="600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2290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75458937-5585-C783-A16A-B4FBDD8B6E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00125" y="2624946"/>
            <a:ext cx="10972799" cy="1718742"/>
          </a:xfrm>
        </p:spPr>
        <p:txBody>
          <a:bodyPr vert="horz" lIns="45720" tIns="45720" rIns="45720" bIns="45720" rtlCol="0" anchor="t">
            <a:noAutofit/>
          </a:bodyPr>
          <a:lstStyle/>
          <a:p>
            <a:pPr marL="572770" lvl="1" indent="-285750"/>
            <a:r>
              <a:rPr lang="pl-PL" sz="180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Hormon wzrostu podawany </a:t>
            </a:r>
            <a:r>
              <a:rPr lang="pl-PL" sz="1800" b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raz dziennie </a:t>
            </a:r>
            <a:r>
              <a:rPr lang="pl-PL" sz="180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jako iniekcja podskórna</a:t>
            </a:r>
            <a:endParaRPr lang="pl-PL" sz="1800">
              <a:solidFill>
                <a:schemeClr val="accent1">
                  <a:lumMod val="75000"/>
                </a:schemeClr>
              </a:solidFill>
              <a:cs typeface="Arial" panose="020B0604020202020204"/>
            </a:endParaRPr>
          </a:p>
          <a:p>
            <a:pPr marL="572770" lvl="1" indent="-285750"/>
            <a:r>
              <a:rPr lang="pl-PL" sz="1800">
                <a:solidFill>
                  <a:schemeClr val="accent1">
                    <a:lumMod val="75000"/>
                  </a:schemeClr>
                </a:solidFill>
                <a:cs typeface="Arial" panose="020B0604020202020204"/>
              </a:rPr>
              <a:t>Posiada dobrze ugruntowany profil skuteczności i bezpieczeństwa</a:t>
            </a:r>
          </a:p>
          <a:p>
            <a:pPr marL="572770" lvl="1" indent="-285750"/>
            <a:r>
              <a:rPr lang="pl-PL" sz="1600">
                <a:solidFill>
                  <a:schemeClr val="accent1">
                    <a:lumMod val="75000"/>
                  </a:schemeClr>
                </a:solidFill>
                <a:cs typeface="Arial" panose="020B0604020202020204"/>
              </a:rPr>
              <a:t>Zanim rozpocznie się leczenie lekiem </a:t>
            </a:r>
            <a:r>
              <a:rPr lang="pl-PL" sz="1600" err="1">
                <a:solidFill>
                  <a:schemeClr val="accent1">
                    <a:lumMod val="75000"/>
                  </a:schemeClr>
                </a:solidFill>
                <a:cs typeface="Arial" panose="020B0604020202020204"/>
              </a:rPr>
              <a:t>Genotropin</a:t>
            </a:r>
            <a:r>
              <a:rPr lang="pl-PL" sz="1600">
                <a:solidFill>
                  <a:schemeClr val="accent1">
                    <a:lumMod val="75000"/>
                  </a:schemeClr>
                </a:solidFill>
                <a:cs typeface="Arial" panose="020B0604020202020204"/>
              </a:rPr>
              <a:t>, rozpoznanie choroby musi zostać potwierdzone.</a:t>
            </a:r>
          </a:p>
          <a:p>
            <a:pPr marL="572770" lvl="1" indent="-285750"/>
            <a:r>
              <a:rPr lang="pl-PL" sz="1600">
                <a:solidFill>
                  <a:schemeClr val="accent1">
                    <a:lumMod val="75000"/>
                  </a:schemeClr>
                </a:solidFill>
                <a:cs typeface="Arial" panose="020B0604020202020204"/>
              </a:rPr>
              <a:t>Leczenie może być prowadzone jedynie pod nadzorem lekarza posiadającego niezbędną wiedzę i doświadczenie.</a:t>
            </a:r>
          </a:p>
          <a:p>
            <a:pPr marL="572770" lvl="1" indent="-285750"/>
            <a:r>
              <a:rPr lang="pl-PL" sz="1800" err="1">
                <a:solidFill>
                  <a:schemeClr val="accent1">
                    <a:lumMod val="75000"/>
                  </a:schemeClr>
                </a:solidFill>
                <a:cs typeface="Arial"/>
              </a:rPr>
              <a:t>Genotropin</a:t>
            </a:r>
            <a:r>
              <a:rPr lang="pl-PL" sz="1800">
                <a:solidFill>
                  <a:schemeClr val="accent1">
                    <a:lumMod val="75000"/>
                  </a:schemeClr>
                </a:solidFill>
                <a:cs typeface="Arial"/>
              </a:rPr>
              <a:t> </a:t>
            </a:r>
            <a:r>
              <a:rPr lang="pl-PL" sz="1800" err="1">
                <a:solidFill>
                  <a:schemeClr val="accent1">
                    <a:lumMod val="75000"/>
                  </a:schemeClr>
                </a:solidFill>
                <a:cs typeface="Arial"/>
              </a:rPr>
              <a:t>GoQuick</a:t>
            </a:r>
            <a:r>
              <a:rPr lang="pl-PL" sz="1800">
                <a:solidFill>
                  <a:schemeClr val="accent1">
                    <a:lumMod val="75000"/>
                  </a:schemeClr>
                </a:solidFill>
                <a:cs typeface="Arial"/>
              </a:rPr>
              <a:t> </a:t>
            </a:r>
            <a:r>
              <a:rPr lang="pl-PL" sz="1800" b="1">
                <a:solidFill>
                  <a:srgbClr val="003FE2"/>
                </a:solidFill>
                <a:cs typeface="Arial"/>
              </a:rPr>
              <a:t>5,3 mg </a:t>
            </a:r>
            <a:r>
              <a:rPr lang="pl-PL" sz="1800">
                <a:solidFill>
                  <a:schemeClr val="accent1">
                    <a:lumMod val="75000"/>
                  </a:schemeClr>
                </a:solidFill>
                <a:cs typeface="Arial"/>
              </a:rPr>
              <a:t>oraz </a:t>
            </a:r>
            <a:r>
              <a:rPr lang="pl-PL" sz="1800" b="1">
                <a:solidFill>
                  <a:srgbClr val="7030A0"/>
                </a:solidFill>
                <a:cs typeface="Arial"/>
              </a:rPr>
              <a:t>12 mg</a:t>
            </a:r>
          </a:p>
        </p:txBody>
      </p:sp>
      <p:sp>
        <p:nvSpPr>
          <p:cNvPr id="5" name="Symbol zastępczy tekstu 4">
            <a:extLst>
              <a:ext uri="{FF2B5EF4-FFF2-40B4-BE49-F238E27FC236}">
                <a16:creationId xmlns:a16="http://schemas.microsoft.com/office/drawing/2014/main" id="{EA9716A9-5C4F-2442-0E61-9B88EE39378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53746" y="1994568"/>
            <a:ext cx="5782915" cy="415796"/>
          </a:xfrm>
        </p:spPr>
        <p:txBody>
          <a:bodyPr vert="horz" wrap="square" lIns="0" tIns="45720" rIns="0" bIns="45720" rtlCol="0" anchor="t">
            <a:noAutofit/>
          </a:bodyPr>
          <a:lstStyle/>
          <a:p>
            <a:pPr marL="179705"/>
            <a:r>
              <a:rPr lang="en-US" sz="3200" b="1" err="1">
                <a:solidFill>
                  <a:schemeClr val="accent1"/>
                </a:solidFill>
              </a:rPr>
              <a:t>Genotropi</a:t>
            </a:r>
            <a:r>
              <a:rPr lang="pl-PL" sz="3200" b="1">
                <a:solidFill>
                  <a:schemeClr val="accent1"/>
                </a:solidFill>
              </a:rPr>
              <a:t>n (</a:t>
            </a:r>
            <a:r>
              <a:rPr lang="pl-PL" sz="3200" err="1">
                <a:solidFill>
                  <a:schemeClr val="accent1"/>
                </a:solidFill>
              </a:rPr>
              <a:t>soma</a:t>
            </a:r>
            <a:r>
              <a:rPr lang="pl-PL" sz="3200" b="1" err="1">
                <a:solidFill>
                  <a:schemeClr val="accent1"/>
                </a:solidFill>
              </a:rPr>
              <a:t>tropina</a:t>
            </a:r>
            <a:r>
              <a:rPr lang="pl-PL" sz="2800" b="1">
                <a:solidFill>
                  <a:schemeClr val="accent1"/>
                </a:solidFill>
              </a:rPr>
              <a:t>)</a:t>
            </a:r>
            <a:endParaRPr lang="pl-PL" sz="2800" b="1" baseline="30000">
              <a:solidFill>
                <a:schemeClr val="accent1"/>
              </a:solidFill>
            </a:endParaRPr>
          </a:p>
        </p:txBody>
      </p:sp>
      <p:sp>
        <p:nvSpPr>
          <p:cNvPr id="3" name="Tytuł 2">
            <a:extLst>
              <a:ext uri="{FF2B5EF4-FFF2-40B4-BE49-F238E27FC236}">
                <a16:creationId xmlns:a16="http://schemas.microsoft.com/office/drawing/2014/main" id="{9E49545B-CE58-A9D6-441D-F2A71D6A6B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227" y="216163"/>
            <a:ext cx="11823898" cy="1016237"/>
          </a:xfrm>
        </p:spPr>
        <p:txBody>
          <a:bodyPr/>
          <a:lstStyle/>
          <a:p>
            <a:pPr algn="ctr"/>
            <a:r>
              <a:rPr lang="pl-PL" sz="3600" b="1" spc="-25">
                <a:solidFill>
                  <a:srgbClr val="0000CA"/>
                </a:solidFill>
                <a:latin typeface="Pfizer Tomorrow"/>
              </a:rPr>
              <a:t>Pfizer pomógł rosnąć tysiącom dzieci z zaburzeniami wzrostu przez ponad 30 lat</a:t>
            </a:r>
            <a:endParaRPr lang="pl-PL" sz="3600" b="1" spc="-25">
              <a:solidFill>
                <a:srgbClr val="0000CA"/>
              </a:solidFill>
              <a:latin typeface="Pfizer Tomorrow"/>
              <a:cs typeface="Arial"/>
            </a:endParaRPr>
          </a:p>
        </p:txBody>
      </p:sp>
      <p:sp>
        <p:nvSpPr>
          <p:cNvPr id="2" name="Arrow: Down 1">
            <a:extLst>
              <a:ext uri="{FF2B5EF4-FFF2-40B4-BE49-F238E27FC236}">
                <a16:creationId xmlns:a16="http://schemas.microsoft.com/office/drawing/2014/main" id="{6F75E2EF-CBC7-AB1C-A645-3A63829CD26F}"/>
              </a:ext>
            </a:extLst>
          </p:cNvPr>
          <p:cNvSpPr/>
          <p:nvPr/>
        </p:nvSpPr>
        <p:spPr bwMode="gray">
          <a:xfrm>
            <a:off x="5730395" y="1291709"/>
            <a:ext cx="481780" cy="609600"/>
          </a:xfrm>
          <a:prstGeom prst="downArrow">
            <a:avLst/>
          </a:prstGeom>
          <a:solidFill>
            <a:srgbClr val="003FE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en-US">
              <a:ln w="0"/>
              <a:solidFill>
                <a:srgbClr val="003FE2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+mj-lt"/>
            </a:endParaRPr>
          </a:p>
        </p:txBody>
      </p:sp>
      <p:pic>
        <p:nvPicPr>
          <p:cNvPr id="6" name="Picture 10">
            <a:extLst>
              <a:ext uri="{FF2B5EF4-FFF2-40B4-BE49-F238E27FC236}">
                <a16:creationId xmlns:a16="http://schemas.microsoft.com/office/drawing/2014/main" id="{14F57BDE-C9DC-2DA5-CFEF-48A036F585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7989" y="4616968"/>
            <a:ext cx="4282406" cy="1898646"/>
          </a:xfrm>
          <a:prstGeom prst="rect">
            <a:avLst/>
          </a:prstGeom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2B88DBB4-B875-3192-8EA0-C9783EEF49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57652" y="4558271"/>
            <a:ext cx="3688122" cy="2083566"/>
          </a:xfrm>
          <a:prstGeom prst="rect">
            <a:avLst/>
          </a:prstGeom>
        </p:spPr>
      </p:pic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23DE7CD-9037-BA12-C634-233616B324A7}"/>
              </a:ext>
            </a:extLst>
          </p:cNvPr>
          <p:cNvSpPr txBox="1">
            <a:spLocks/>
          </p:cNvSpPr>
          <p:nvPr/>
        </p:nvSpPr>
        <p:spPr>
          <a:xfrm>
            <a:off x="8595234" y="6641837"/>
            <a:ext cx="3593591" cy="214583"/>
          </a:xfrm>
          <a:prstGeom prst="rect">
            <a:avLst/>
          </a:prstGeom>
        </p:spPr>
        <p:txBody>
          <a:bodyPr vert="horz" lIns="91416" tIns="45708" rIns="91416" bIns="45708" rtlCol="0" anchor="b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126">
              <a:buClr>
                <a:srgbClr val="CE0056"/>
              </a:buClr>
              <a:defRPr/>
            </a:pPr>
            <a:r>
              <a:rPr lang="pl-PL" sz="900" dirty="0">
                <a:solidFill>
                  <a:srgbClr val="000000"/>
                </a:solidFill>
              </a:rPr>
              <a:t>Charakterystyka Produktu Leczniczego </a:t>
            </a:r>
            <a:r>
              <a:rPr lang="pl-PL" sz="900" dirty="0" err="1">
                <a:solidFill>
                  <a:srgbClr val="000000"/>
                </a:solidFill>
              </a:rPr>
              <a:t>Genotropin</a:t>
            </a:r>
            <a:r>
              <a:rPr lang="pl-PL" sz="900" dirty="0">
                <a:solidFill>
                  <a:srgbClr val="000000"/>
                </a:solidFill>
              </a:rPr>
              <a:t> 10.05.2024r.</a:t>
            </a:r>
            <a:endParaRPr lang="en-US" sz="900" dirty="0">
              <a:solidFill>
                <a:srgbClr val="000000"/>
              </a:solidFill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89615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94" name="Text Placeholder 3">
            <a:extLst>
              <a:ext uri="{FF2B5EF4-FFF2-40B4-BE49-F238E27FC236}">
                <a16:creationId xmlns:a16="http://schemas.microsoft.com/office/drawing/2014/main" id="{7755BB8A-80E5-CE0B-3910-506B7526C3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8055" y="1112643"/>
            <a:ext cx="11292840" cy="396947"/>
          </a:xfrm>
        </p:spPr>
        <p:txBody>
          <a:bodyPr/>
          <a:lstStyle/>
          <a:p>
            <a:r>
              <a:rPr lang="pl-PL"/>
              <a:t>U kogo stosuje się </a:t>
            </a:r>
            <a:r>
              <a:rPr lang="pl-PL" err="1"/>
              <a:t>Genotropin</a:t>
            </a:r>
            <a:r>
              <a:rPr lang="pl-PL"/>
              <a:t>? </a:t>
            </a:r>
            <a:endParaRPr lang="en-US"/>
          </a:p>
        </p:txBody>
      </p:sp>
      <p:sp>
        <p:nvSpPr>
          <p:cNvPr id="41986" name="Tytuł 1">
            <a:extLst>
              <a:ext uri="{FF2B5EF4-FFF2-40B4-BE49-F238E27FC236}">
                <a16:creationId xmlns:a16="http://schemas.microsoft.com/office/drawing/2014/main" id="{9AD301C2-0026-3A1E-68DE-E00152622A8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447930" y="455787"/>
            <a:ext cx="11076104" cy="850392"/>
          </a:xfrm>
        </p:spPr>
        <p:txBody>
          <a:bodyPr anchor="t">
            <a:normAutofit/>
          </a:bodyPr>
          <a:lstStyle/>
          <a:p>
            <a:r>
              <a:rPr lang="pl-PL" sz="3600" b="1" spc="-25" err="1">
                <a:solidFill>
                  <a:srgbClr val="0000CA"/>
                </a:solidFill>
                <a:latin typeface="Pfizer Tomorrow"/>
              </a:rPr>
              <a:t>Genotropin</a:t>
            </a:r>
            <a:r>
              <a:rPr lang="pl-PL" sz="3600" b="1" spc="-25">
                <a:solidFill>
                  <a:srgbClr val="0000CA"/>
                </a:solidFill>
                <a:latin typeface="Pfizer Tomorrow"/>
              </a:rPr>
              <a:t> - Wskazania</a:t>
            </a:r>
            <a:endParaRPr lang="pl-PL" sz="3200" b="1" spc="-25"/>
          </a:p>
        </p:txBody>
      </p:sp>
      <p:sp>
        <p:nvSpPr>
          <p:cNvPr id="41996" name="Text Placeholder 5">
            <a:extLst>
              <a:ext uri="{FF2B5EF4-FFF2-40B4-BE49-F238E27FC236}">
                <a16:creationId xmlns:a16="http://schemas.microsoft.com/office/drawing/2014/main" id="{AE6D42FE-416E-38C9-BAD6-FEAD5AEA3A0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8055" y="1801368"/>
            <a:ext cx="11292840" cy="521208"/>
          </a:xfrm>
        </p:spPr>
        <p:txBody>
          <a:bodyPr/>
          <a:lstStyle/>
          <a:p>
            <a:r>
              <a:rPr lang="pl-PL"/>
              <a:t>U dzieci</a:t>
            </a:r>
            <a:endParaRPr lang="en-US"/>
          </a:p>
        </p:txBody>
      </p:sp>
      <p:graphicFrame>
        <p:nvGraphicFramePr>
          <p:cNvPr id="41988" name="Symbol zastępczy zawartości 2">
            <a:extLst>
              <a:ext uri="{FF2B5EF4-FFF2-40B4-BE49-F238E27FC236}">
                <a16:creationId xmlns:a16="http://schemas.microsoft.com/office/drawing/2014/main" id="{C38C83E7-0C95-E1E4-F879-4AB24E234EF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26644759"/>
              </p:ext>
            </p:extLst>
          </p:nvPr>
        </p:nvGraphicFramePr>
        <p:xfrm>
          <a:off x="517067" y="2104845"/>
          <a:ext cx="11291583" cy="17668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4C5BC592-B44D-6498-1905-7017DE5386A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75653" y="4334990"/>
            <a:ext cx="1992402" cy="2427639"/>
          </a:xfrm>
          <a:prstGeom prst="rect">
            <a:avLst/>
          </a:prstGeom>
        </p:spPr>
      </p:pic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A21FE1E8-E00D-20F3-F006-28869EACB134}"/>
              </a:ext>
            </a:extLst>
          </p:cNvPr>
          <p:cNvSpPr txBox="1">
            <a:spLocks/>
          </p:cNvSpPr>
          <p:nvPr/>
        </p:nvSpPr>
        <p:spPr bwMode="gray">
          <a:xfrm>
            <a:off x="515810" y="3998862"/>
            <a:ext cx="11292840" cy="374730"/>
          </a:xfrm>
          <a:prstGeom prst="rect">
            <a:avLst/>
          </a:prstGeo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vert="horz" lIns="0" tIns="91440" rIns="0" bIns="45720" rtlCol="0">
            <a:noAutofit/>
          </a:bodyPr>
          <a:lstStyle>
            <a:lvl1pPr marL="228531" indent="-228531" algn="l" defTabSz="914126" rtl="0" eaLnBrk="1" latinLnBrk="0" hangingPunct="1">
              <a:lnSpc>
                <a:spcPct val="90000"/>
              </a:lnSpc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defRPr lang="en-US" sz="1799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063" indent="-169812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594" indent="-171399" algn="l" defTabSz="914126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126" indent="-171399" algn="l" defTabSz="914126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8698" indent="-114266" algn="l" defTabSz="914126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846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/>
              <a:t>U dorosłych</a:t>
            </a:r>
          </a:p>
        </p:txBody>
      </p:sp>
      <p:graphicFrame>
        <p:nvGraphicFramePr>
          <p:cNvPr id="26" name="Symbol zastępczy zawartości 2">
            <a:extLst>
              <a:ext uri="{FF2B5EF4-FFF2-40B4-BE49-F238E27FC236}">
                <a16:creationId xmlns:a16="http://schemas.microsoft.com/office/drawing/2014/main" id="{5827436B-181E-3299-9709-8DFC7790169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30545265"/>
              </p:ext>
            </p:extLst>
          </p:nvPr>
        </p:nvGraphicFramePr>
        <p:xfrm>
          <a:off x="381432" y="4283054"/>
          <a:ext cx="11291583" cy="17668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475A1B73-BC94-E66E-1483-B46082CB7CF3}"/>
              </a:ext>
            </a:extLst>
          </p:cNvPr>
          <p:cNvSpPr txBox="1">
            <a:spLocks/>
          </p:cNvSpPr>
          <p:nvPr/>
        </p:nvSpPr>
        <p:spPr>
          <a:xfrm>
            <a:off x="6586317" y="6485327"/>
            <a:ext cx="3800079" cy="329238"/>
          </a:xfrm>
          <a:prstGeom prst="rect">
            <a:avLst/>
          </a:prstGeom>
        </p:spPr>
        <p:txBody>
          <a:bodyPr vert="horz" lIns="91416" tIns="45708" rIns="91416" bIns="45708" rtlCol="0" anchor="b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126">
              <a:buClr>
                <a:srgbClr val="CE0056"/>
              </a:buClr>
              <a:defRPr/>
            </a:pPr>
            <a:r>
              <a:rPr lang="pl-PL" sz="900" dirty="0">
                <a:solidFill>
                  <a:srgbClr val="000000"/>
                </a:solidFill>
              </a:rPr>
              <a:t>Charakterystyka Produktu Leczniczego </a:t>
            </a:r>
            <a:r>
              <a:rPr lang="pl-PL" sz="900" dirty="0" err="1">
                <a:solidFill>
                  <a:srgbClr val="000000"/>
                </a:solidFill>
              </a:rPr>
              <a:t>Genotropin</a:t>
            </a:r>
            <a:r>
              <a:rPr lang="pl-PL" sz="900" dirty="0">
                <a:solidFill>
                  <a:srgbClr val="000000"/>
                </a:solidFill>
              </a:rPr>
              <a:t> 10.05.2024r.</a:t>
            </a:r>
            <a:endParaRPr lang="en-US" sz="900" dirty="0">
              <a:solidFill>
                <a:srgbClr val="000000"/>
              </a:solidFill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Obraz 2">
            <a:extLst>
              <a:ext uri="{FF2B5EF4-FFF2-40B4-BE49-F238E27FC236}">
                <a16:creationId xmlns:a16="http://schemas.microsoft.com/office/drawing/2014/main" id="{6DCFE300-160A-765F-F16A-D45528CC760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35848" y="6140423"/>
            <a:ext cx="3600953" cy="600159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2762077B-9806-F575-D200-0CCD637186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165B3B60-E56F-D91B-1714-FDD41252182E}"/>
              </a:ext>
            </a:extLst>
          </p:cNvPr>
          <p:cNvSpPr txBox="1"/>
          <p:nvPr/>
        </p:nvSpPr>
        <p:spPr>
          <a:xfrm>
            <a:off x="4327985" y="6610951"/>
            <a:ext cx="3761395" cy="24615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914126">
              <a:defRPr/>
            </a:pPr>
            <a:endParaRPr lang="en-US" sz="1000">
              <a:solidFill>
                <a:srgbClr val="434343"/>
              </a:solidFill>
              <a:latin typeface="Arial" panose="020B0604020202020204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BEEC117-28E3-A429-4733-34490AFEC9CB}"/>
              </a:ext>
            </a:extLst>
          </p:cNvPr>
          <p:cNvSpPr txBox="1"/>
          <p:nvPr/>
        </p:nvSpPr>
        <p:spPr>
          <a:xfrm>
            <a:off x="598360" y="3383292"/>
            <a:ext cx="2676002" cy="24615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914126">
              <a:defRPr/>
            </a:pPr>
            <a:endParaRPr lang="en-US" sz="100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2" name="Tytuł 2">
            <a:extLst>
              <a:ext uri="{FF2B5EF4-FFF2-40B4-BE49-F238E27FC236}">
                <a16:creationId xmlns:a16="http://schemas.microsoft.com/office/drawing/2014/main" id="{5E004CBE-6F78-CC28-5DE9-63BFE212DD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992" y="322962"/>
            <a:ext cx="5006742" cy="564104"/>
          </a:xfrm>
        </p:spPr>
        <p:txBody>
          <a:bodyPr/>
          <a:lstStyle/>
          <a:p>
            <a:r>
              <a:rPr lang="pl-PL" sz="4000" b="1" spc="-25" err="1">
                <a:solidFill>
                  <a:srgbClr val="0000CA"/>
                </a:solidFill>
                <a:latin typeface="Pfizer Tomorrow"/>
              </a:rPr>
              <a:t>Genotropin</a:t>
            </a:r>
            <a:r>
              <a:rPr lang="pl-PL" sz="4000" b="1" spc="-25">
                <a:solidFill>
                  <a:srgbClr val="0000CA"/>
                </a:solidFill>
                <a:latin typeface="Pfizer Tomorrow"/>
              </a:rPr>
              <a:t> </a:t>
            </a:r>
            <a:r>
              <a:rPr lang="pl-PL" sz="4000" b="1" spc="-25" err="1">
                <a:solidFill>
                  <a:srgbClr val="0000CA"/>
                </a:solidFill>
                <a:latin typeface="Pfizer Tomorrow"/>
              </a:rPr>
              <a:t>GoQuick</a:t>
            </a:r>
            <a:endParaRPr lang="pl-PL" sz="4000" spc="-25">
              <a:solidFill>
                <a:srgbClr val="0000CA"/>
              </a:solidFill>
              <a:latin typeface="Pfizer Tomorrow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2760F69-3611-B804-3375-F1AD66F6833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8682" y="3724463"/>
            <a:ext cx="5646768" cy="1437319"/>
          </a:xfrm>
          <a:ln w="22225">
            <a:solidFill>
              <a:schemeClr val="tx1"/>
            </a:solidFill>
          </a:ln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l-PL" sz="1600" b="0" err="1">
                <a:solidFill>
                  <a:srgbClr val="000000"/>
                </a:solidFill>
              </a:rPr>
              <a:t>GoQuick</a:t>
            </a:r>
            <a:r>
              <a:rPr lang="pl-PL" sz="1600" b="0">
                <a:solidFill>
                  <a:srgbClr val="000000"/>
                </a:solidFill>
              </a:rPr>
              <a:t> 12mg zawiera </a:t>
            </a:r>
            <a:r>
              <a:rPr lang="pl-PL" sz="1600">
                <a:solidFill>
                  <a:srgbClr val="7030A0"/>
                </a:solidFill>
                <a:latin typeface="Arial" panose="020B0604020202020204"/>
              </a:rPr>
              <a:t>12</a:t>
            </a:r>
            <a:r>
              <a:rPr lang="en-US" sz="1600">
                <a:solidFill>
                  <a:srgbClr val="7030A0"/>
                </a:solidFill>
                <a:latin typeface="Arial" panose="020B0604020202020204"/>
              </a:rPr>
              <a:t> </a:t>
            </a:r>
            <a:r>
              <a:rPr lang="el-GR" sz="1600">
                <a:solidFill>
                  <a:srgbClr val="7030A0"/>
                </a:solidFill>
                <a:latin typeface="Arial" panose="020B0604020202020204"/>
              </a:rPr>
              <a:t>mg </a:t>
            </a:r>
            <a:r>
              <a:rPr lang="pl-PL" sz="1600" err="1">
                <a:solidFill>
                  <a:srgbClr val="7030A0"/>
                </a:solidFill>
                <a:latin typeface="Arial" panose="020B0604020202020204"/>
              </a:rPr>
              <a:t>somatropiny</a:t>
            </a:r>
            <a:r>
              <a:rPr lang="pl-PL" sz="1600"/>
              <a:t>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pl-PL" sz="1600" b="0">
                <a:solidFill>
                  <a:schemeClr val="tx1"/>
                </a:solidFill>
              </a:rPr>
              <a:t>Wkład zawiera w przedniej komorze 13,8 mg (41,4 j.m.) </a:t>
            </a:r>
            <a:r>
              <a:rPr lang="pl-PL" sz="1600" b="0" err="1">
                <a:solidFill>
                  <a:schemeClr val="tx1"/>
                </a:solidFill>
              </a:rPr>
              <a:t>somatropiny</a:t>
            </a:r>
            <a:r>
              <a:rPr lang="pl-PL" sz="1600" b="0">
                <a:solidFill>
                  <a:schemeClr val="tx1"/>
                </a:solidFill>
              </a:rPr>
              <a:t> i rozpuszczalnik (1 ml) w tylnej komorze. Po rozpuszczeniu, w 1 mililitrze gotowego do użycia roztworu znajduje się </a:t>
            </a:r>
            <a:r>
              <a:rPr lang="pl-PL" sz="1600">
                <a:solidFill>
                  <a:srgbClr val="7030A0"/>
                </a:solidFill>
              </a:rPr>
              <a:t>12 mg (36 j.m.) </a:t>
            </a:r>
            <a:r>
              <a:rPr lang="pl-PL" sz="1600" err="1">
                <a:solidFill>
                  <a:srgbClr val="7030A0"/>
                </a:solidFill>
              </a:rPr>
              <a:t>somatropiny</a:t>
            </a:r>
            <a:r>
              <a:rPr lang="pl-PL" sz="1600" b="0">
                <a:solidFill>
                  <a:schemeClr val="tx1"/>
                </a:solidFill>
              </a:rPr>
              <a:t>.</a:t>
            </a:r>
            <a:endParaRPr lang="pl-PL" sz="1600" b="0">
              <a:solidFill>
                <a:schemeClr val="tx1"/>
              </a:solidFill>
              <a:latin typeface="Arial" panose="020B0604020202020204"/>
            </a:endParaRP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E38AE31-09EE-A27F-0635-3776D6D0A19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3375" y="3719931"/>
            <a:ext cx="5684187" cy="1437319"/>
          </a:xfrm>
          <a:ln w="22225">
            <a:solidFill>
              <a:schemeClr val="tx1"/>
            </a:solidFill>
          </a:ln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l-PL" sz="1600" b="0" err="1">
                <a:solidFill>
                  <a:srgbClr val="000000"/>
                </a:solidFill>
              </a:rPr>
              <a:t>GoQuick</a:t>
            </a:r>
            <a:r>
              <a:rPr lang="pl-PL" sz="1600" b="0">
                <a:solidFill>
                  <a:srgbClr val="000000"/>
                </a:solidFill>
              </a:rPr>
              <a:t> 5,3 mg zawiera </a:t>
            </a:r>
            <a:r>
              <a:rPr lang="pl-PL" sz="1600">
                <a:solidFill>
                  <a:srgbClr val="003FE2"/>
                </a:solidFill>
                <a:latin typeface="Arial" panose="020B0604020202020204"/>
              </a:rPr>
              <a:t>5,3 mg</a:t>
            </a:r>
            <a:r>
              <a:rPr lang="el-GR" sz="1600">
                <a:solidFill>
                  <a:srgbClr val="003FE2"/>
                </a:solidFill>
                <a:latin typeface="Arial" panose="020B0604020202020204"/>
              </a:rPr>
              <a:t> </a:t>
            </a:r>
            <a:r>
              <a:rPr lang="pl-PL" sz="1600">
                <a:solidFill>
                  <a:srgbClr val="003FE2"/>
                </a:solidFill>
                <a:latin typeface="Arial" panose="020B0604020202020204"/>
              </a:rPr>
              <a:t>s</a:t>
            </a:r>
            <a:r>
              <a:rPr lang="en-US" sz="1600" err="1">
                <a:solidFill>
                  <a:srgbClr val="003FE2"/>
                </a:solidFill>
                <a:latin typeface="Arial" panose="020B0604020202020204"/>
              </a:rPr>
              <a:t>omatr</a:t>
            </a:r>
            <a:r>
              <a:rPr lang="pl-PL" sz="1600" err="1">
                <a:solidFill>
                  <a:srgbClr val="003FE2"/>
                </a:solidFill>
                <a:latin typeface="Arial" panose="020B0604020202020204"/>
              </a:rPr>
              <a:t>opiny</a:t>
            </a:r>
            <a:r>
              <a:rPr lang="pl-PL" sz="1600">
                <a:solidFill>
                  <a:srgbClr val="003FE2"/>
                </a:solidFill>
                <a:latin typeface="Arial" panose="020B0604020202020204"/>
              </a:rPr>
              <a:t>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pl-PL" sz="1600" b="0">
                <a:solidFill>
                  <a:schemeClr val="tx1"/>
                </a:solidFill>
                <a:latin typeface="Arial" panose="020B0604020202020204"/>
              </a:rPr>
              <a:t>Wkład zawiera w przedniej komorze 6,1 mg (18,4 j.m.) </a:t>
            </a:r>
            <a:r>
              <a:rPr lang="pl-PL" sz="1600" b="0" err="1">
                <a:solidFill>
                  <a:schemeClr val="tx1"/>
                </a:solidFill>
                <a:latin typeface="Arial" panose="020B0604020202020204"/>
              </a:rPr>
              <a:t>somatropiny</a:t>
            </a:r>
            <a:r>
              <a:rPr lang="pl-PL" sz="1600" b="0">
                <a:solidFill>
                  <a:schemeClr val="tx1"/>
                </a:solidFill>
                <a:latin typeface="Arial" panose="020B0604020202020204"/>
              </a:rPr>
              <a:t> i rozpuszczalnik (1 ml) w tylnej komorze. Po rozpuszczeniu, w 1 mililitrze gotowego do użycia roztworu znajduje się </a:t>
            </a:r>
            <a:r>
              <a:rPr lang="pl-PL" sz="1600">
                <a:solidFill>
                  <a:srgbClr val="003FE2"/>
                </a:solidFill>
                <a:latin typeface="Arial" panose="020B0604020202020204"/>
              </a:rPr>
              <a:t>5,3 mg (16 j.m.) </a:t>
            </a:r>
            <a:r>
              <a:rPr lang="pl-PL" sz="1600" err="1">
                <a:solidFill>
                  <a:srgbClr val="003FE2"/>
                </a:solidFill>
                <a:latin typeface="Arial" panose="020B0604020202020204"/>
              </a:rPr>
              <a:t>somatropiny</a:t>
            </a:r>
            <a:r>
              <a:rPr lang="pl-PL" sz="1600" b="0">
                <a:solidFill>
                  <a:schemeClr val="tx1"/>
                </a:solidFill>
                <a:latin typeface="Arial" panose="020B0604020202020204"/>
              </a:rPr>
              <a:t>.</a:t>
            </a:r>
            <a:endParaRPr lang="en-US">
              <a:solidFill>
                <a:srgbClr val="003FE2"/>
              </a:solidFill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A5DC1E89-1A9C-29C9-A385-F1D6A09058DF}"/>
              </a:ext>
            </a:extLst>
          </p:cNvPr>
          <p:cNvSpPr txBox="1">
            <a:spLocks/>
          </p:cNvSpPr>
          <p:nvPr/>
        </p:nvSpPr>
        <p:spPr bwMode="gray">
          <a:xfrm>
            <a:off x="447992" y="1038679"/>
            <a:ext cx="11292840" cy="396947"/>
          </a:xfrm>
          <a:prstGeom prst="rect">
            <a:avLst/>
          </a:prstGeom>
          <a:noFill/>
        </p:spPr>
        <p:txBody>
          <a:bodyPr vert="horz" wrap="square" lIns="0" tIns="45720" rIns="0" bIns="45720" rtlCol="0">
            <a:noAutofit/>
          </a:bodyPr>
          <a:lstStyle>
            <a:lvl1pPr marL="0" indent="0" algn="l" defTabSz="91412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063" indent="-169812" algn="l" defTabSz="91412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685594" indent="-171399" algn="l" defTabSz="91412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914126" indent="-171399" algn="l" defTabSz="91412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088698" indent="-114266" algn="l" defTabSz="91412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3846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/>
              <a:t>Napełniony fabrycznie, wielodawkowy, jednorazowy </a:t>
            </a:r>
            <a:r>
              <a:rPr lang="pl-PL" err="1"/>
              <a:t>wstrzykiwacz</a:t>
            </a:r>
            <a:endParaRPr lang="pl-PL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06A313C8-50E7-3410-1653-0691D5DC515E}"/>
              </a:ext>
            </a:extLst>
          </p:cNvPr>
          <p:cNvSpPr txBox="1">
            <a:spLocks/>
          </p:cNvSpPr>
          <p:nvPr/>
        </p:nvSpPr>
        <p:spPr bwMode="gray">
          <a:xfrm>
            <a:off x="501342" y="5420241"/>
            <a:ext cx="11032440" cy="761558"/>
          </a:xfrm>
          <a:prstGeom prst="rect">
            <a:avLst/>
          </a:prstGeom>
          <a:noFill/>
        </p:spPr>
        <p:txBody>
          <a:bodyPr vert="horz" wrap="square" lIns="0" tIns="45720" rIns="0" bIns="45720" rtlCol="0">
            <a:noAutofit/>
          </a:bodyPr>
          <a:lstStyle>
            <a:lvl1pPr marL="0" indent="0" algn="l" defTabSz="91412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063" indent="-169812" algn="l" defTabSz="91412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685594" indent="-171399" algn="l" defTabSz="91412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914126" indent="-171399" algn="l" defTabSz="91412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088698" indent="-114266" algn="l" defTabSz="91412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3846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2770" indent="-285750">
              <a:spcBef>
                <a:spcPts val="1998"/>
              </a:spcBef>
              <a:buFont typeface="Arial" panose="020B0604020202020204" pitchFamily="34" charset="0"/>
              <a:buChar char="•"/>
            </a:pPr>
            <a:r>
              <a:rPr lang="pl-PL" sz="16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Umieszczony fabrycznie we </a:t>
            </a:r>
            <a:r>
              <a:rPr lang="pl-PL" sz="160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wstrzykiwaczu</a:t>
            </a:r>
            <a:r>
              <a:rPr lang="pl-PL" sz="16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dwukomorowy wkład zawiera GH i rozpuszczalnik</a:t>
            </a:r>
            <a:r>
              <a:rPr lang="pl-PL" sz="16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. </a:t>
            </a:r>
            <a:r>
              <a:rPr lang="pl-PL" sz="16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Wymieszanie hormonu wzrostu i rozpuszczalnika następuje poprzez wkręcenie wkładu we </a:t>
            </a:r>
            <a:r>
              <a:rPr lang="pl-PL" sz="160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wstrzykiwaczu</a:t>
            </a:r>
            <a:r>
              <a:rPr lang="pl-PL" sz="16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. Następnie należy rozpuścić proszek poprzez delikatne przechylanie </a:t>
            </a:r>
            <a:r>
              <a:rPr lang="pl-PL" sz="1600" dirty="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wstrzykiwacza</a:t>
            </a:r>
            <a:r>
              <a:rPr lang="pl-PL" sz="16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, aż do całkowitego rozpuszczenia proszku. </a:t>
            </a:r>
            <a:r>
              <a:rPr lang="pl-PL" sz="16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WAŻNE: </a:t>
            </a:r>
            <a:r>
              <a:rPr lang="pl-PL" sz="160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Nie wstrząsać</a:t>
            </a:r>
          </a:p>
          <a:p>
            <a:endParaRPr lang="pl-PL" dirty="0"/>
          </a:p>
          <a:p>
            <a:endParaRPr lang="pl-PL" dirty="0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4191FE81-B4D9-CCA7-DB94-72F84656984F}"/>
              </a:ext>
            </a:extLst>
          </p:cNvPr>
          <p:cNvSpPr txBox="1">
            <a:spLocks/>
          </p:cNvSpPr>
          <p:nvPr/>
        </p:nvSpPr>
        <p:spPr>
          <a:xfrm>
            <a:off x="8562515" y="6494961"/>
            <a:ext cx="3800079" cy="329238"/>
          </a:xfrm>
          <a:prstGeom prst="rect">
            <a:avLst/>
          </a:prstGeom>
        </p:spPr>
        <p:txBody>
          <a:bodyPr vert="horz" lIns="91416" tIns="45708" rIns="91416" bIns="45708" rtlCol="0" anchor="b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126">
              <a:buClr>
                <a:srgbClr val="CE0056"/>
              </a:buClr>
              <a:defRPr/>
            </a:pPr>
            <a:r>
              <a:rPr lang="pl-PL" sz="900" dirty="0">
                <a:solidFill>
                  <a:srgbClr val="000000"/>
                </a:solidFill>
              </a:rPr>
              <a:t>Charakterystyka Produktu Leczniczego </a:t>
            </a:r>
            <a:r>
              <a:rPr lang="pl-PL" sz="900" dirty="0" err="1">
                <a:solidFill>
                  <a:srgbClr val="000000"/>
                </a:solidFill>
              </a:rPr>
              <a:t>Genotropin</a:t>
            </a:r>
            <a:r>
              <a:rPr lang="pl-PL" sz="900" dirty="0">
                <a:solidFill>
                  <a:srgbClr val="000000"/>
                </a:solidFill>
              </a:rPr>
              <a:t> 10.05.2024r.</a:t>
            </a:r>
            <a:endParaRPr lang="en-US" sz="900" dirty="0">
              <a:solidFill>
                <a:srgbClr val="000000"/>
              </a:solidFill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Picture 10">
            <a:extLst>
              <a:ext uri="{FF2B5EF4-FFF2-40B4-BE49-F238E27FC236}">
                <a16:creationId xmlns:a16="http://schemas.microsoft.com/office/drawing/2014/main" id="{BE85D2B5-5431-8F3A-0736-F125FDCDD8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8770" y="1656456"/>
            <a:ext cx="4282406" cy="1898646"/>
          </a:xfrm>
          <a:prstGeom prst="rect">
            <a:avLst/>
          </a:prstGeom>
        </p:spPr>
      </p:pic>
      <p:pic>
        <p:nvPicPr>
          <p:cNvPr id="24" name="Obraz 23">
            <a:extLst>
              <a:ext uri="{FF2B5EF4-FFF2-40B4-BE49-F238E27FC236}">
                <a16:creationId xmlns:a16="http://schemas.microsoft.com/office/drawing/2014/main" id="{E7352971-B0A5-EB70-040C-63442673A3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7650" y="1563996"/>
            <a:ext cx="3688122" cy="2083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45998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489FB5A0-343B-C3A2-EED4-CDFE7130F1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EA995C15-D721-DE7D-388A-A855AD1C10CD}"/>
              </a:ext>
            </a:extLst>
          </p:cNvPr>
          <p:cNvSpPr txBox="1"/>
          <p:nvPr/>
        </p:nvSpPr>
        <p:spPr>
          <a:xfrm>
            <a:off x="4327985" y="6610951"/>
            <a:ext cx="3761395" cy="24615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914126">
              <a:defRPr/>
            </a:pPr>
            <a:endParaRPr lang="en-US" sz="1000">
              <a:solidFill>
                <a:srgbClr val="434343"/>
              </a:solidFill>
              <a:latin typeface="Arial" panose="020B0604020202020204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29DC17E-C2D7-CFB4-4AD7-4E32A9B95BA9}"/>
              </a:ext>
            </a:extLst>
          </p:cNvPr>
          <p:cNvSpPr txBox="1"/>
          <p:nvPr/>
        </p:nvSpPr>
        <p:spPr>
          <a:xfrm>
            <a:off x="598360" y="3383292"/>
            <a:ext cx="2676002" cy="24615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914126">
              <a:defRPr/>
            </a:pPr>
            <a:endParaRPr lang="en-US" sz="100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2" name="Tytuł 2">
            <a:extLst>
              <a:ext uri="{FF2B5EF4-FFF2-40B4-BE49-F238E27FC236}">
                <a16:creationId xmlns:a16="http://schemas.microsoft.com/office/drawing/2014/main" id="{A1A65FDA-F391-26F4-33B0-CEF4EC7F5F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697" y="461078"/>
            <a:ext cx="11449603" cy="564104"/>
          </a:xfrm>
        </p:spPr>
        <p:txBody>
          <a:bodyPr/>
          <a:lstStyle/>
          <a:p>
            <a:r>
              <a:rPr lang="pl-PL" sz="3600" b="1" spc="-25">
                <a:solidFill>
                  <a:srgbClr val="0000CA"/>
                </a:solidFill>
                <a:latin typeface="Pfizer Tomorrow"/>
              </a:rPr>
              <a:t>Specjalne środki ostrożności podczas przechowywania</a:t>
            </a:r>
            <a:endParaRPr lang="pl-PL" sz="3600" spc="-25">
              <a:solidFill>
                <a:srgbClr val="0000CA"/>
              </a:solidFill>
              <a:latin typeface="Pfizer Tomorrow"/>
            </a:endParaRPr>
          </a:p>
        </p:txBody>
      </p:sp>
      <p:sp>
        <p:nvSpPr>
          <p:cNvPr id="18" name="Symbol zastępczy zawartości 3">
            <a:extLst>
              <a:ext uri="{FF2B5EF4-FFF2-40B4-BE49-F238E27FC236}">
                <a16:creationId xmlns:a16="http://schemas.microsoft.com/office/drawing/2014/main" id="{2C61D7AB-0551-D189-C938-7171CB2AD804}"/>
              </a:ext>
            </a:extLst>
          </p:cNvPr>
          <p:cNvSpPr txBox="1">
            <a:spLocks/>
          </p:cNvSpPr>
          <p:nvPr/>
        </p:nvSpPr>
        <p:spPr bwMode="gray">
          <a:xfrm>
            <a:off x="345373" y="1714510"/>
            <a:ext cx="10698908" cy="4400360"/>
          </a:xfrm>
          <a:prstGeom prst="rect">
            <a:avLst/>
          </a:prstGeom>
        </p:spPr>
        <p:txBody>
          <a:bodyPr vert="horz" lIns="45720" tIns="45720" rIns="45720" bIns="45720" rtlCol="0" anchor="t">
            <a:noAutofit/>
          </a:bodyPr>
          <a:lstStyle>
            <a:lvl1pPr marL="228531" indent="-228531" algn="l" defTabSz="914126" rtl="0" eaLnBrk="1" latinLnBrk="0" hangingPunct="1">
              <a:lnSpc>
                <a:spcPct val="90000"/>
              </a:lnSpc>
              <a:spcBef>
                <a:spcPts val="1999"/>
              </a:spcBef>
              <a:buClrTx/>
              <a:buSzPct val="100000"/>
              <a:buFont typeface="Arial" panose="020B0604020202020204" pitchFamily="34" charset="0"/>
              <a:buChar char="•"/>
              <a:defRPr lang="en-US" sz="1999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63" indent="-169812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594" indent="-171399" algn="l" defTabSz="914126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126" indent="-171399" algn="l" defTabSz="914126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8698" indent="-114266" algn="l" defTabSz="914126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846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2770" lvl="1" indent="-285750">
              <a:lnSpc>
                <a:spcPct val="150000"/>
              </a:lnSpc>
              <a:buSzPct val="100000"/>
            </a:pPr>
            <a:r>
              <a:rPr lang="pl-PL" sz="1600" err="1">
                <a:solidFill>
                  <a:schemeClr val="accent1">
                    <a:lumMod val="75000"/>
                  </a:schemeClr>
                </a:solidFill>
                <a:cs typeface="Arial"/>
              </a:rPr>
              <a:t>Genotropin</a:t>
            </a:r>
            <a:r>
              <a:rPr lang="pl-PL" sz="1600">
                <a:solidFill>
                  <a:schemeClr val="accent1">
                    <a:lumMod val="75000"/>
                  </a:schemeClr>
                </a:solidFill>
                <a:cs typeface="Arial"/>
              </a:rPr>
              <a:t> należy przechowywać w temperaturze 2°C-8°C (w lodówce), nie zamrażać. Produkt leczniczy może być przechowywany w temperaturze poniżej 25ºC przez jeden miesiąc. Przechowywać w opakowaniu zewnętrznym w celu ochrony przed światłem</a:t>
            </a:r>
          </a:p>
          <a:p>
            <a:pPr marL="572770" lvl="1" indent="-285750">
              <a:lnSpc>
                <a:spcPct val="150000"/>
              </a:lnSpc>
              <a:buSzPct val="100000"/>
            </a:pPr>
            <a:r>
              <a:rPr lang="pl-PL" sz="1600" b="1">
                <a:solidFill>
                  <a:schemeClr val="accent1">
                    <a:lumMod val="75000"/>
                  </a:schemeClr>
                </a:solidFill>
                <a:cs typeface="Arial"/>
              </a:rPr>
              <a:t>Po </a:t>
            </a:r>
            <a:r>
              <a:rPr lang="pl-PL" sz="1600" b="1" err="1">
                <a:solidFill>
                  <a:schemeClr val="accent1">
                    <a:lumMod val="75000"/>
                  </a:schemeClr>
                </a:solidFill>
                <a:cs typeface="Arial"/>
              </a:rPr>
              <a:t>rekonstytucji</a:t>
            </a:r>
            <a:r>
              <a:rPr lang="pl-PL" sz="1600" b="1">
                <a:solidFill>
                  <a:schemeClr val="accent1">
                    <a:lumMod val="75000"/>
                  </a:schemeClr>
                </a:solidFill>
                <a:cs typeface="Arial"/>
              </a:rPr>
              <a:t>: </a:t>
            </a:r>
            <a:r>
              <a:rPr lang="pl-PL" sz="1600">
                <a:solidFill>
                  <a:schemeClr val="accent1">
                    <a:lumMod val="75000"/>
                  </a:schemeClr>
                </a:solidFill>
                <a:cs typeface="Arial"/>
              </a:rPr>
              <a:t>Roztwór należy przechowywać w temperaturze 2°C-8°C (w lodówce), nie zamrażać. Przechowywać w opakowaniu zewnętrznym w celu ochrony przed światłem. </a:t>
            </a:r>
          </a:p>
          <a:p>
            <a:pPr marL="801301" lvl="2" indent="-285750">
              <a:lnSpc>
                <a:spcPct val="150000"/>
              </a:lnSpc>
              <a:buSzPct val="100000"/>
            </a:pPr>
            <a:r>
              <a:rPr lang="pl-PL" sz="1401">
                <a:solidFill>
                  <a:schemeClr val="accent1">
                    <a:lumMod val="75000"/>
                  </a:schemeClr>
                </a:solidFill>
                <a:cs typeface="Arial"/>
              </a:rPr>
              <a:t>Produkt leczniczy może być przechowywany po </a:t>
            </a:r>
            <a:r>
              <a:rPr lang="pl-PL" sz="1401" err="1">
                <a:solidFill>
                  <a:schemeClr val="accent1">
                    <a:lumMod val="75000"/>
                  </a:schemeClr>
                </a:solidFill>
                <a:cs typeface="Arial"/>
              </a:rPr>
              <a:t>rekonstytucji</a:t>
            </a:r>
            <a:r>
              <a:rPr lang="pl-PL" sz="1401">
                <a:solidFill>
                  <a:schemeClr val="accent1">
                    <a:lumMod val="75000"/>
                  </a:schemeClr>
                </a:solidFill>
                <a:cs typeface="Arial"/>
              </a:rPr>
              <a:t> </a:t>
            </a:r>
            <a:r>
              <a:rPr lang="pl-PL" sz="1401" b="1">
                <a:solidFill>
                  <a:schemeClr val="accent1">
                    <a:lumMod val="75000"/>
                  </a:schemeClr>
                </a:solidFill>
                <a:cs typeface="Arial"/>
              </a:rPr>
              <a:t>przez 28 dni w temperaturze 2°C-8°C</a:t>
            </a:r>
            <a:r>
              <a:rPr lang="pl-PL" sz="1401">
                <a:solidFill>
                  <a:schemeClr val="accent1">
                    <a:lumMod val="75000"/>
                  </a:schemeClr>
                </a:solidFill>
                <a:cs typeface="Arial"/>
              </a:rPr>
              <a:t>.</a:t>
            </a:r>
          </a:p>
          <a:p>
            <a:pPr marL="572770" lvl="1" indent="-285750">
              <a:buSzPct val="100000"/>
            </a:pPr>
            <a:endParaRPr lang="pl-PL" sz="1601">
              <a:solidFill>
                <a:schemeClr val="accent1">
                  <a:lumMod val="75000"/>
                </a:schemeClr>
              </a:solidFill>
              <a:cs typeface="Arial"/>
            </a:endParaRPr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B9588E50-927B-41B6-295D-42C36E7915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848" y="6140423"/>
            <a:ext cx="3600953" cy="600159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2F415EB-E3FF-438F-67B4-1421F9AE9261}"/>
              </a:ext>
            </a:extLst>
          </p:cNvPr>
          <p:cNvSpPr txBox="1">
            <a:spLocks/>
          </p:cNvSpPr>
          <p:nvPr/>
        </p:nvSpPr>
        <p:spPr>
          <a:xfrm>
            <a:off x="8587872" y="6472239"/>
            <a:ext cx="3600953" cy="331959"/>
          </a:xfrm>
          <a:prstGeom prst="rect">
            <a:avLst/>
          </a:prstGeom>
        </p:spPr>
        <p:txBody>
          <a:bodyPr vert="horz" lIns="91416" tIns="45708" rIns="91416" bIns="45708" rtlCol="0" anchor="b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126">
              <a:buClr>
                <a:srgbClr val="CE0056"/>
              </a:buClr>
              <a:defRPr/>
            </a:pPr>
            <a:r>
              <a:rPr lang="pl-PL" sz="900" dirty="0">
                <a:solidFill>
                  <a:srgbClr val="000000"/>
                </a:solidFill>
              </a:rPr>
              <a:t>Charakterystyka Produktu Leczniczego </a:t>
            </a:r>
            <a:r>
              <a:rPr lang="pl-PL" sz="900" dirty="0" err="1">
                <a:solidFill>
                  <a:srgbClr val="000000"/>
                </a:solidFill>
              </a:rPr>
              <a:t>Genotropin</a:t>
            </a:r>
            <a:r>
              <a:rPr lang="pl-PL" sz="900" dirty="0">
                <a:solidFill>
                  <a:srgbClr val="000000"/>
                </a:solidFill>
              </a:rPr>
              <a:t> 10.05.2024r.</a:t>
            </a:r>
            <a:endParaRPr lang="en-US" sz="900" dirty="0">
              <a:solidFill>
                <a:srgbClr val="000000"/>
              </a:solidFill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50975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AA7D42B0-61AE-193D-DD37-968D5D721C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FF6A6480-59AF-19FC-360D-041696C91E8B}"/>
              </a:ext>
            </a:extLst>
          </p:cNvPr>
          <p:cNvSpPr txBox="1"/>
          <p:nvPr/>
        </p:nvSpPr>
        <p:spPr bwMode="gray">
          <a:xfrm>
            <a:off x="1618735" y="6368990"/>
            <a:ext cx="1977081" cy="340729"/>
          </a:xfrm>
          <a:prstGeom prst="rect">
            <a:avLst/>
          </a:prstGeom>
          <a:solidFill>
            <a:schemeClr val="bg1"/>
          </a:solidFill>
        </p:spPr>
        <p:txBody>
          <a:bodyPr wrap="square" lIns="45720" tIns="45720" rIns="45720" bIns="45720" rtlCol="0">
            <a:noAutofit/>
          </a:bodyPr>
          <a:lstStyle/>
          <a:p>
            <a:pPr marL="171450" indent="-17145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IE" sz="1600" err="1"/>
          </a:p>
        </p:txBody>
      </p:sp>
      <p:sp>
        <p:nvSpPr>
          <p:cNvPr id="3" name="Tytuł 2">
            <a:extLst>
              <a:ext uri="{FF2B5EF4-FFF2-40B4-BE49-F238E27FC236}">
                <a16:creationId xmlns:a16="http://schemas.microsoft.com/office/drawing/2014/main" id="{AC623CCD-C03B-4950-2B79-839F7A77AD06}"/>
              </a:ext>
            </a:extLst>
          </p:cNvPr>
          <p:cNvSpPr txBox="1">
            <a:spLocks/>
          </p:cNvSpPr>
          <p:nvPr/>
        </p:nvSpPr>
        <p:spPr bwMode="gray">
          <a:xfrm>
            <a:off x="560717" y="345724"/>
            <a:ext cx="11079156" cy="564104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126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699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4000" b="1" spc="-25">
                <a:solidFill>
                  <a:srgbClr val="0000CA"/>
                </a:solidFill>
                <a:latin typeface="Pfizer Tomorrow"/>
              </a:rPr>
              <a:t>Igły</a:t>
            </a:r>
            <a:endParaRPr lang="pl-PL" sz="4000" spc="-25">
              <a:solidFill>
                <a:srgbClr val="0000CA"/>
              </a:solidFill>
              <a:latin typeface="Pfizer Tomorrow"/>
            </a:endParaRPr>
          </a:p>
        </p:txBody>
      </p:sp>
      <p:sp>
        <p:nvSpPr>
          <p:cNvPr id="8" name="Symbol zastępczy zawartości 3">
            <a:extLst>
              <a:ext uri="{FF2B5EF4-FFF2-40B4-BE49-F238E27FC236}">
                <a16:creationId xmlns:a16="http://schemas.microsoft.com/office/drawing/2014/main" id="{5C10E9A1-CD31-5A74-CD0C-96D72F9C3DEB}"/>
              </a:ext>
            </a:extLst>
          </p:cNvPr>
          <p:cNvSpPr txBox="1">
            <a:spLocks/>
          </p:cNvSpPr>
          <p:nvPr/>
        </p:nvSpPr>
        <p:spPr bwMode="gray">
          <a:xfrm>
            <a:off x="448055" y="2036745"/>
            <a:ext cx="10325820" cy="3732483"/>
          </a:xfrm>
          <a:prstGeom prst="rect">
            <a:avLst/>
          </a:prstGeom>
        </p:spPr>
        <p:txBody>
          <a:bodyPr vert="horz" lIns="45720" tIns="45720" rIns="45720" bIns="45720" rtlCol="0" anchor="t">
            <a:noAutofit/>
          </a:bodyPr>
          <a:lstStyle>
            <a:lvl1pPr marL="228531" indent="-228531" algn="l" defTabSz="914126" rtl="0" eaLnBrk="1" latinLnBrk="0" hangingPunct="1">
              <a:lnSpc>
                <a:spcPct val="90000"/>
              </a:lnSpc>
              <a:spcBef>
                <a:spcPts val="1999"/>
              </a:spcBef>
              <a:buClrTx/>
              <a:buSzPct val="100000"/>
              <a:buFont typeface="Arial" panose="020B0604020202020204" pitchFamily="34" charset="0"/>
              <a:buChar char="•"/>
              <a:defRPr lang="en-US" sz="1999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63" indent="-169812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594" indent="-171399" algn="l" defTabSz="914126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126" indent="-171399" algn="l" defTabSz="914126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8698" indent="-114266" algn="l" defTabSz="914126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846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7020" lvl="1" indent="0">
              <a:buSzPct val="100000"/>
              <a:buNone/>
            </a:pPr>
            <a:r>
              <a:rPr lang="pl-PL" sz="180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Igły do stosowania ze </a:t>
            </a:r>
            <a:r>
              <a:rPr lang="pl-PL" sz="180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wstrzykiwaczem</a:t>
            </a:r>
            <a:r>
              <a:rPr lang="pl-PL" sz="180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pl-PL" sz="180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GoQuick</a:t>
            </a:r>
            <a:r>
              <a:rPr lang="pl-PL" sz="180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:</a:t>
            </a:r>
          </a:p>
          <a:p>
            <a:pPr marL="572770" lvl="1" indent="-285750">
              <a:buSzPct val="100000"/>
            </a:pPr>
            <a:r>
              <a:rPr lang="pl-PL" sz="180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o 31 G lub 32 G (</a:t>
            </a:r>
            <a:r>
              <a:rPr lang="pl-PL" sz="180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Becton</a:t>
            </a:r>
            <a:r>
              <a:rPr lang="pl-PL" sz="180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Dickinson and Company)</a:t>
            </a:r>
          </a:p>
          <a:p>
            <a:pPr marL="572770" lvl="1" indent="-285750">
              <a:buSzPct val="100000"/>
            </a:pPr>
            <a:r>
              <a:rPr lang="pl-PL" sz="180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o 31 G lub 32 G (Novo Nordisk®)</a:t>
            </a:r>
          </a:p>
          <a:p>
            <a:pPr marL="572770" lvl="1" indent="-285750">
              <a:buSzPct val="100000"/>
            </a:pPr>
            <a:r>
              <a:rPr lang="pl-PL" sz="180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o 32,5 G lub 34 G (</a:t>
            </a:r>
            <a:r>
              <a:rPr lang="pl-PL" sz="1800" err="1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Terumo</a:t>
            </a:r>
            <a:r>
              <a:rPr lang="pl-PL" sz="180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)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212798A4-25BE-24DF-329F-5119C601EE74}"/>
              </a:ext>
            </a:extLst>
          </p:cNvPr>
          <p:cNvSpPr txBox="1">
            <a:spLocks/>
          </p:cNvSpPr>
          <p:nvPr/>
        </p:nvSpPr>
        <p:spPr bwMode="gray">
          <a:xfrm>
            <a:off x="560717" y="1238509"/>
            <a:ext cx="11292840" cy="396947"/>
          </a:xfrm>
          <a:prstGeom prst="rect">
            <a:avLst/>
          </a:prstGeom>
          <a:noFill/>
        </p:spPr>
        <p:txBody>
          <a:bodyPr vert="horz" wrap="square" lIns="0" tIns="45720" rIns="0" bIns="45720" rtlCol="0">
            <a:noAutofit/>
          </a:bodyPr>
          <a:lstStyle>
            <a:lvl1pPr marL="0" indent="0" algn="l" defTabSz="91412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063" indent="-169812" algn="l" defTabSz="91412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685594" indent="-171399" algn="l" defTabSz="91412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914126" indent="-171399" algn="l" defTabSz="91412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088698" indent="-114266" algn="l" defTabSz="91412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3846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/>
              <a:t>Igły nie są dołączone do </a:t>
            </a:r>
            <a:r>
              <a:rPr lang="pl-PL" err="1"/>
              <a:t>wstrzykiwacza</a:t>
            </a:r>
            <a:r>
              <a:rPr lang="pl-PL"/>
              <a:t> </a:t>
            </a:r>
            <a:r>
              <a:rPr lang="pl-PL" err="1"/>
              <a:t>GoQuick</a:t>
            </a:r>
            <a:r>
              <a:rPr lang="pl-PL"/>
              <a:t>. Igły o długości </a:t>
            </a:r>
            <a:r>
              <a:rPr lang="pl-PL" b="1"/>
              <a:t>do 8 mm </a:t>
            </a:r>
            <a:r>
              <a:rPr lang="pl-PL"/>
              <a:t>należy kupić w aptece. 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EAC598EE-1F60-EFDF-F259-502DA57ADD70}"/>
              </a:ext>
            </a:extLst>
          </p:cNvPr>
          <p:cNvSpPr txBox="1">
            <a:spLocks/>
          </p:cNvSpPr>
          <p:nvPr/>
        </p:nvSpPr>
        <p:spPr>
          <a:xfrm>
            <a:off x="9891656" y="6440502"/>
            <a:ext cx="2106247" cy="329238"/>
          </a:xfrm>
          <a:prstGeom prst="rect">
            <a:avLst/>
          </a:prstGeom>
        </p:spPr>
        <p:txBody>
          <a:bodyPr vert="horz" lIns="91416" tIns="45708" rIns="91416" bIns="45708" rtlCol="0" anchor="b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126">
              <a:buClr>
                <a:srgbClr val="CE0056"/>
              </a:buClr>
              <a:defRPr/>
            </a:pPr>
            <a:r>
              <a:rPr lang="pl-PL" sz="900" dirty="0">
                <a:solidFill>
                  <a:srgbClr val="000000"/>
                </a:solidFill>
              </a:rPr>
              <a:t>Ulotka </a:t>
            </a:r>
            <a:r>
              <a:rPr lang="pl-PL" sz="900" dirty="0" err="1">
                <a:solidFill>
                  <a:srgbClr val="000000"/>
                </a:solidFill>
              </a:rPr>
              <a:t>Genotropin</a:t>
            </a:r>
            <a:r>
              <a:rPr lang="pl-PL" sz="900" dirty="0">
                <a:solidFill>
                  <a:srgbClr val="000000"/>
                </a:solidFill>
              </a:rPr>
              <a:t> </a:t>
            </a:r>
            <a:r>
              <a:rPr lang="pl-PL" sz="900" dirty="0" err="1">
                <a:solidFill>
                  <a:srgbClr val="000000"/>
                </a:solidFill>
              </a:rPr>
              <a:t>GoQuick</a:t>
            </a:r>
            <a:r>
              <a:rPr lang="pl-PL" sz="900" dirty="0">
                <a:solidFill>
                  <a:srgbClr val="000000"/>
                </a:solidFill>
              </a:rPr>
              <a:t> 05.2024</a:t>
            </a:r>
            <a:endParaRPr lang="en-US" sz="900" dirty="0">
              <a:solidFill>
                <a:srgbClr val="000000"/>
              </a:solidFill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31F30997-C2A1-DC9E-A204-F7F0F72DD3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848" y="6140423"/>
            <a:ext cx="3600953" cy="600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9628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SLIDE_COUNT" val="1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8_Office Theme">
  <a:themeElements>
    <a:clrScheme name="Custom 9">
      <a:dk1>
        <a:srgbClr val="000000"/>
      </a:dk1>
      <a:lt1>
        <a:srgbClr val="FFFFFF"/>
      </a:lt1>
      <a:dk2>
        <a:srgbClr val="3E74EA"/>
      </a:dk2>
      <a:lt2>
        <a:srgbClr val="F3DDBA"/>
      </a:lt2>
      <a:accent1>
        <a:srgbClr val="0000C8"/>
      </a:accent1>
      <a:accent2>
        <a:srgbClr val="0095FF"/>
      </a:accent2>
      <a:accent3>
        <a:srgbClr val="89BE68"/>
      </a:accent3>
      <a:accent4>
        <a:srgbClr val="C782FF"/>
      </a:accent4>
      <a:accent5>
        <a:srgbClr val="64C3D9"/>
      </a:accent5>
      <a:accent6>
        <a:srgbClr val="FF8947"/>
      </a:accent6>
      <a:hlink>
        <a:srgbClr val="3869E9"/>
      </a:hlink>
      <a:folHlink>
        <a:srgbClr val="A1AAB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>
            <a:lumMod val="95000"/>
          </a:schemeClr>
        </a:solidFill>
        <a:ln w="28575" cap="flat" cmpd="sng" algn="ctr">
          <a:noFill/>
          <a:prstDash val="solid"/>
          <a:miter lim="800000"/>
          <a:headEnd type="none" w="med" len="med"/>
          <a:tailEnd type="none" w="med" len="med"/>
        </a:ln>
        <a:effectLst/>
      </a:spPr>
      <a:bodyPr vert="horz" wrap="square" lIns="91429" tIns="45715" rIns="91429" bIns="45715" numCol="1" rtlCol="0" anchor="ctr" anchorCtr="0" compatLnSpc="1">
        <a:prstTxWarp prst="textNoShape">
          <a:avLst/>
        </a:prstTxWarp>
        <a:noAutofit/>
      </a:bodyPr>
      <a:lstStyle>
        <a:defPPr algn="ctr" fontAlgn="base">
          <a:lnSpc>
            <a:spcPct val="90000"/>
          </a:lnSpc>
          <a:spcAft>
            <a:spcPct val="0"/>
          </a:spcAft>
          <a:buClr>
            <a:schemeClr val="accent2"/>
          </a:buClr>
          <a:buSzPct val="90000"/>
          <a:defRPr b="1" dirty="0">
            <a:solidFill>
              <a:schemeClr val="accent1"/>
            </a:solidFill>
            <a:latin typeface="+mj-lt"/>
          </a:defRPr>
        </a:defPPr>
      </a:lstStyle>
    </a:spDef>
    <a:lnDef>
      <a:spPr bwMode="gray">
        <a:noFill/>
        <a:ln w="12700" cap="rnd">
          <a:solidFill>
            <a:schemeClr val="bg1">
              <a:lumMod val="75000"/>
            </a:schemeClr>
          </a:solidFill>
          <a:prstDash val="solid"/>
          <a:round/>
          <a:headEnd/>
          <a:tailEnd/>
        </a:ln>
        <a:effectLst/>
      </a:spPr>
      <a:bodyPr/>
      <a:lstStyle/>
    </a:lnDef>
    <a:txDef>
      <a:spPr bwMode="gray"/>
      <a:bodyPr wrap="square" lIns="45720" tIns="45720" rIns="45720" bIns="45720" rtlCol="0">
        <a:noAutofit/>
      </a:bodyPr>
      <a:lstStyle>
        <a:defPPr marL="171450" indent="-171450" algn="l">
          <a:lnSpc>
            <a:spcPct val="90000"/>
          </a:lnSpc>
          <a:spcBef>
            <a:spcPts val="100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fizer-PurposeBlueprint-PowerPoint-Template-16x9.potx" id="{2BDA3E54-97F4-4126-8CBC-9260892DB294}" vid="{9D4DE4BD-DC6D-4310-877B-233A8E339FDE}"/>
    </a:ext>
  </a:extLst>
</a:theme>
</file>

<file path=ppt/theme/theme2.xml><?xml version="1.0" encoding="utf-8"?>
<a:theme xmlns:a="http://schemas.openxmlformats.org/drawingml/2006/main" name="Somatrogon SMP 2021">
  <a:themeElements>
    <a:clrScheme name="Pillar Pallette 01">
      <a:dk1>
        <a:srgbClr val="434343"/>
      </a:dk1>
      <a:lt1>
        <a:sysClr val="window" lastClr="FFFFFF"/>
      </a:lt1>
      <a:dk2>
        <a:srgbClr val="AB5592"/>
      </a:dk2>
      <a:lt2>
        <a:srgbClr val="D5D9D9"/>
      </a:lt2>
      <a:accent1>
        <a:srgbClr val="6E7DC8"/>
      </a:accent1>
      <a:accent2>
        <a:srgbClr val="813F6E"/>
      </a:accent2>
      <a:accent3>
        <a:srgbClr val="529470"/>
      </a:accent3>
      <a:accent4>
        <a:srgbClr val="3D6D95"/>
      </a:accent4>
      <a:accent5>
        <a:srgbClr val="A0CD31"/>
      </a:accent5>
      <a:accent6>
        <a:srgbClr val="E5A627"/>
      </a:accent6>
      <a:hlink>
        <a:srgbClr val="3D6D95"/>
      </a:hlink>
      <a:folHlink>
        <a:srgbClr val="75336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lank StandardTemplate16-9.pptx" id="{839C07BC-7203-4BE8-B0DD-9D0E458451A7}" vid="{D44C476A-3CE4-48A6-BE9D-6DE372925290}"/>
    </a:ext>
  </a:extLst>
</a:theme>
</file>

<file path=ppt/theme/theme3.xml><?xml version="1.0" encoding="utf-8"?>
<a:theme xmlns:a="http://schemas.openxmlformats.org/drawingml/2006/main" name="Office Theme">
  <a:themeElements>
    <a:clrScheme name="PFE New Brand 2021">
      <a:dk1>
        <a:srgbClr val="000000"/>
      </a:dk1>
      <a:lt1>
        <a:srgbClr val="FFFFFF"/>
      </a:lt1>
      <a:dk2>
        <a:srgbClr val="F49C34"/>
      </a:dk2>
      <a:lt2>
        <a:srgbClr val="F8DF5A"/>
      </a:lt2>
      <a:accent1>
        <a:srgbClr val="0000C9"/>
      </a:accent1>
      <a:accent2>
        <a:srgbClr val="0095FF"/>
      </a:accent2>
      <a:accent3>
        <a:srgbClr val="0DBDBA"/>
      </a:accent3>
      <a:accent4>
        <a:srgbClr val="67BB6E"/>
      </a:accent4>
      <a:accent5>
        <a:srgbClr val="9D73F7"/>
      </a:accent5>
      <a:accent6>
        <a:srgbClr val="D95776"/>
      </a:accent6>
      <a:hlink>
        <a:srgbClr val="0095FF"/>
      </a:hlink>
      <a:folHlink>
        <a:srgbClr val="A1AAB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PFE New Brand 2021">
      <a:dk1>
        <a:srgbClr val="000000"/>
      </a:dk1>
      <a:lt1>
        <a:srgbClr val="FFFFFF"/>
      </a:lt1>
      <a:dk2>
        <a:srgbClr val="F49C34"/>
      </a:dk2>
      <a:lt2>
        <a:srgbClr val="F8DF5A"/>
      </a:lt2>
      <a:accent1>
        <a:srgbClr val="0000C9"/>
      </a:accent1>
      <a:accent2>
        <a:srgbClr val="0095FF"/>
      </a:accent2>
      <a:accent3>
        <a:srgbClr val="0DBDBA"/>
      </a:accent3>
      <a:accent4>
        <a:srgbClr val="67BB6E"/>
      </a:accent4>
      <a:accent5>
        <a:srgbClr val="9D73F7"/>
      </a:accent5>
      <a:accent6>
        <a:srgbClr val="D95776"/>
      </a:accent6>
      <a:hlink>
        <a:srgbClr val="0095FF"/>
      </a:hlink>
      <a:folHlink>
        <a:srgbClr val="A1AAB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Ngenla">
    <a:dk1>
      <a:srgbClr val="000000"/>
    </a:dk1>
    <a:lt1>
      <a:srgbClr val="FFFFFF"/>
    </a:lt1>
    <a:dk2>
      <a:srgbClr val="919191"/>
    </a:dk2>
    <a:lt2>
      <a:srgbClr val="FEFFFF"/>
    </a:lt2>
    <a:accent1>
      <a:srgbClr val="151F6D"/>
    </a:accent1>
    <a:accent2>
      <a:srgbClr val="CE0056"/>
    </a:accent2>
    <a:accent3>
      <a:srgbClr val="CFDE00"/>
    </a:accent3>
    <a:accent4>
      <a:srgbClr val="4C4C4F"/>
    </a:accent4>
    <a:accent5>
      <a:srgbClr val="415EA6"/>
    </a:accent5>
    <a:accent6>
      <a:srgbClr val="8BC5DE"/>
    </a:accent6>
    <a:hlink>
      <a:srgbClr val="0000FF"/>
    </a:hlink>
    <a:folHlink>
      <a:srgbClr val="800080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Them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9C55C27DB9D6E4C81C81883C75CE298" ma:contentTypeVersion="8" ma:contentTypeDescription="Create a new document." ma:contentTypeScope="" ma:versionID="4860ba995a4d463dd0284232a0238869">
  <xsd:schema xmlns:xsd="http://www.w3.org/2001/XMLSchema" xmlns:xs="http://www.w3.org/2001/XMLSchema" xmlns:p="http://schemas.microsoft.com/office/2006/metadata/properties" xmlns:ns2="69b7fb19-8693-4d15-89f6-95eda78bbe92" targetNamespace="http://schemas.microsoft.com/office/2006/metadata/properties" ma:root="true" ma:fieldsID="d0e780a70dc39eb4a839842284d314ac" ns2:_="">
    <xsd:import namespace="69b7fb19-8693-4d15-89f6-95eda78bbe9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b7fb19-8693-4d15-89f6-95eda78bbe9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DA73EB7-5812-470E-996F-17EAAD19B17C}">
  <ds:schemaRefs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69b7fb19-8693-4d15-89f6-95eda78bbe92"/>
    <ds:schemaRef ds:uri="http://purl.org/dc/terms/"/>
    <ds:schemaRef ds:uri="http://www.w3.org/XML/1998/namespace"/>
    <ds:schemaRef ds:uri="http://purl.org/dc/dcmitype/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6FCEA913-C908-4CD6-8181-36CEB390D46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9b7fb19-8693-4d15-89f6-95eda78bbe9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3CF6234-8BBC-4584-A4ED-44BD18058C6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fizer-PurposeBlueprint-PowerPoint-Template-16x9-Reduced</Template>
  <TotalTime>26</TotalTime>
  <Words>975</Words>
  <Application>Microsoft Office PowerPoint</Application>
  <PresentationFormat>Niestandardowy</PresentationFormat>
  <Paragraphs>108</Paragraphs>
  <Slides>17</Slides>
  <Notes>6</Notes>
  <HiddenSlides>0</HiddenSlides>
  <MMClips>0</MMClips>
  <ScaleCrop>false</ScaleCrop>
  <HeadingPairs>
    <vt:vector size="8" baseType="variant">
      <vt:variant>
        <vt:lpstr>Używane czcionki</vt:lpstr>
      </vt:variant>
      <vt:variant>
        <vt:i4>11</vt:i4>
      </vt:variant>
      <vt:variant>
        <vt:lpstr>Motyw</vt:lpstr>
      </vt:variant>
      <vt:variant>
        <vt:i4>2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17</vt:i4>
      </vt:variant>
    </vt:vector>
  </HeadingPairs>
  <TitlesOfParts>
    <vt:vector size="31" baseType="lpstr">
      <vt:lpstr>MS PGothic</vt:lpstr>
      <vt:lpstr>-apple-system</vt:lpstr>
      <vt:lpstr>Arial</vt:lpstr>
      <vt:lpstr>Arial Narrow</vt:lpstr>
      <vt:lpstr>Calibri</vt:lpstr>
      <vt:lpstr>Pfizer Diatype</vt:lpstr>
      <vt:lpstr>Pfizer Diatype Medium</vt:lpstr>
      <vt:lpstr>Pfizer Tomorrow</vt:lpstr>
      <vt:lpstr>Poppins</vt:lpstr>
      <vt:lpstr>Segoe UI</vt:lpstr>
      <vt:lpstr>Wingdings</vt:lpstr>
      <vt:lpstr>8_Office Theme</vt:lpstr>
      <vt:lpstr>Somatrogon SMP 2021</vt:lpstr>
      <vt:lpstr>think-cell Slide</vt:lpstr>
      <vt:lpstr>Prezentacja programu PowerPoint</vt:lpstr>
      <vt:lpstr>Prezentacja programu PowerPoint</vt:lpstr>
      <vt:lpstr>Prezentacja programu PowerPoint</vt:lpstr>
      <vt:lpstr>Prezentacja programu PowerPoint</vt:lpstr>
      <vt:lpstr>Pfizer pomógł rosnąć tysiącom dzieci z zaburzeniami wzrostu przez ponad 30 lat</vt:lpstr>
      <vt:lpstr>Genotropin - Wskazania</vt:lpstr>
      <vt:lpstr>Genotropin GoQuick</vt:lpstr>
      <vt:lpstr>Specjalne środki ostrożności podczas przechowywania</vt:lpstr>
      <vt:lpstr>Prezentacja programu PowerPoint</vt:lpstr>
      <vt:lpstr>Prezentacja programu PowerPoint</vt:lpstr>
      <vt:lpstr>Działania  niepożądane</vt:lpstr>
      <vt:lpstr>Działania  niepożądane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subject>v365</dc:subject>
  <dc:creator>M@ciek Plebanek</dc:creator>
  <dc:description>P113901_Pfizer PowerPoint Template _Logo_Confidential_16x9</dc:description>
  <cp:lastModifiedBy>Kaczyńska, Katarzyna</cp:lastModifiedBy>
  <cp:revision>2</cp:revision>
  <cp:lastPrinted>2017-11-29T15:35:51Z</cp:lastPrinted>
  <dcterms:created xsi:type="dcterms:W3CDTF">2023-06-12T08:23:18Z</dcterms:created>
  <dcterms:modified xsi:type="dcterms:W3CDTF">2025-03-27T09:41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BD1316AA-ADAB-409D-BAE3-6BC0F6AF696D</vt:lpwstr>
  </property>
  <property fmtid="{D5CDD505-2E9C-101B-9397-08002B2CF9AE}" pid="3" name="ArticulatePath">
    <vt:lpwstr>Template-Template_v2007-10_2Dcharts_FLAT BOX_111213_445pm</vt:lpwstr>
  </property>
  <property fmtid="{D5CDD505-2E9C-101B-9397-08002B2CF9AE}" pid="4" name="ContentTypeId">
    <vt:lpwstr>0x01010099C55C27DB9D6E4C81C81883C75CE298</vt:lpwstr>
  </property>
  <property fmtid="{D5CDD505-2E9C-101B-9397-08002B2CF9AE}" pid="5" name="MSIP_Label_fa6f01b5-c24b-4fa8-8e8f-cee31f47fe31_Enabled">
    <vt:lpwstr>true</vt:lpwstr>
  </property>
  <property fmtid="{D5CDD505-2E9C-101B-9397-08002B2CF9AE}" pid="6" name="MSIP_Label_fa6f01b5-c24b-4fa8-8e8f-cee31f47fe31_SetDate">
    <vt:lpwstr>2023-06-12T08:25:00Z</vt:lpwstr>
  </property>
  <property fmtid="{D5CDD505-2E9C-101B-9397-08002B2CF9AE}" pid="7" name="MSIP_Label_fa6f01b5-c24b-4fa8-8e8f-cee31f47fe31_Method">
    <vt:lpwstr>Privileged</vt:lpwstr>
  </property>
  <property fmtid="{D5CDD505-2E9C-101B-9397-08002B2CF9AE}" pid="8" name="MSIP_Label_fa6f01b5-c24b-4fa8-8e8f-cee31f47fe31_Name">
    <vt:lpwstr>fa6f01b5-c24b-4fa8-8e8f-cee31f47fe31</vt:lpwstr>
  </property>
  <property fmtid="{D5CDD505-2E9C-101B-9397-08002B2CF9AE}" pid="9" name="MSIP_Label_fa6f01b5-c24b-4fa8-8e8f-cee31f47fe31_SiteId">
    <vt:lpwstr>7a916015-20ae-4ad1-9170-eefd915e9272</vt:lpwstr>
  </property>
  <property fmtid="{D5CDD505-2E9C-101B-9397-08002B2CF9AE}" pid="10" name="MSIP_Label_fa6f01b5-c24b-4fa8-8e8f-cee31f47fe31_ActionId">
    <vt:lpwstr>0a23bed6-859b-4534-aaac-459aa2370e99</vt:lpwstr>
  </property>
  <property fmtid="{D5CDD505-2E9C-101B-9397-08002B2CF9AE}" pid="11" name="MSIP_Label_fa6f01b5-c24b-4fa8-8e8f-cee31f47fe31_ContentBits">
    <vt:lpwstr>0</vt:lpwstr>
  </property>
  <property fmtid="{D5CDD505-2E9C-101B-9397-08002B2CF9AE}" pid="12" name="MediaServiceImageTags">
    <vt:lpwstr/>
  </property>
</Properties>
</file>